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wmf" ContentType="image/x-wmf"/>
  <Default Extension="wdp" ContentType="image/vnd.ms-photo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53" r:id="rId3"/>
    <p:sldMasterId id="2147483666" r:id="rId4"/>
    <p:sldMasterId id="2147483674" r:id="rId5"/>
    <p:sldMasterId id="2147483679" r:id="rId6"/>
    <p:sldMasterId id="2147483684" r:id="rId7"/>
    <p:sldMasterId id="2147483726" r:id="rId8"/>
  </p:sldMasterIdLst>
  <p:notesMasterIdLst>
    <p:notesMasterId r:id="rId12"/>
  </p:notesMasterIdLst>
  <p:sldIdLst>
    <p:sldId id="304" r:id="rId9"/>
    <p:sldId id="7829" r:id="rId10"/>
    <p:sldId id="7959" r:id="rId11"/>
    <p:sldId id="8005" r:id="rId13"/>
    <p:sldId id="8007" r:id="rId14"/>
    <p:sldId id="8008" r:id="rId15"/>
    <p:sldId id="8010" r:id="rId16"/>
    <p:sldId id="8009" r:id="rId17"/>
    <p:sldId id="8006" r:id="rId18"/>
    <p:sldId id="7825" r:id="rId19"/>
    <p:sldId id="7787" r:id="rId20"/>
    <p:sldId id="7834" r:id="rId21"/>
    <p:sldId id="7786" r:id="rId22"/>
    <p:sldId id="7849" r:id="rId23"/>
    <p:sldId id="7823" r:id="rId24"/>
    <p:sldId id="7846" r:id="rId25"/>
    <p:sldId id="7847" r:id="rId26"/>
    <p:sldId id="7796" r:id="rId27"/>
    <p:sldId id="7798" r:id="rId28"/>
    <p:sldId id="7820" r:id="rId29"/>
    <p:sldId id="7884" r:id="rId30"/>
    <p:sldId id="7799" r:id="rId31"/>
    <p:sldId id="7800" r:id="rId32"/>
    <p:sldId id="7921" r:id="rId33"/>
    <p:sldId id="7920" r:id="rId34"/>
    <p:sldId id="7802" r:id="rId35"/>
    <p:sldId id="7803" r:id="rId36"/>
    <p:sldId id="7822" r:id="rId37"/>
    <p:sldId id="7915" r:id="rId38"/>
    <p:sldId id="7805" r:id="rId39"/>
    <p:sldId id="7843" r:id="rId40"/>
    <p:sldId id="7845" r:id="rId41"/>
    <p:sldId id="7850" r:id="rId42"/>
    <p:sldId id="7844" r:id="rId43"/>
    <p:sldId id="7809" r:id="rId44"/>
    <p:sldId id="7886" r:id="rId45"/>
    <p:sldId id="7918" r:id="rId46"/>
    <p:sldId id="7811" r:id="rId47"/>
    <p:sldId id="7813" r:id="rId48"/>
    <p:sldId id="7851" r:id="rId49"/>
    <p:sldId id="7919" r:id="rId50"/>
    <p:sldId id="7916" r:id="rId51"/>
    <p:sldId id="7815" r:id="rId52"/>
    <p:sldId id="7816" r:id="rId53"/>
    <p:sldId id="7852" r:id="rId54"/>
    <p:sldId id="7922" r:id="rId55"/>
    <p:sldId id="7923" r:id="rId56"/>
    <p:sldId id="7952" r:id="rId57"/>
    <p:sldId id="7855" r:id="rId58"/>
    <p:sldId id="7854" r:id="rId59"/>
    <p:sldId id="7926" r:id="rId60"/>
    <p:sldId id="7853" r:id="rId61"/>
    <p:sldId id="7839" r:id="rId62"/>
    <p:sldId id="7840" r:id="rId63"/>
  </p:sldIdLst>
  <p:sldSz cx="12192000" cy="6858000"/>
  <p:notesSz cx="6735445" cy="9865995"/>
  <p:custDataLst>
    <p:tags r:id="rId68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WUZHIWEI230" initials="W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5A23"/>
    <a:srgbClr val="000000"/>
    <a:srgbClr val="FFFFFF"/>
    <a:srgbClr val="F3774B"/>
    <a:srgbClr val="FC6C1C"/>
    <a:srgbClr val="FECEAF"/>
    <a:srgbClr val="FFEBDF"/>
    <a:srgbClr val="FC5A04"/>
    <a:srgbClr val="5B9BD5"/>
    <a:srgbClr val="FCEA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24194" autoAdjust="0"/>
    <p:restoredTop sz="84896" autoAdjust="0"/>
  </p:normalViewPr>
  <p:slideViewPr>
    <p:cSldViewPr snapToGrid="0">
      <p:cViewPr varScale="1">
        <p:scale>
          <a:sx n="72" d="100"/>
          <a:sy n="72" d="100"/>
        </p:scale>
        <p:origin x="231" y="36"/>
      </p:cViewPr>
      <p:guideLst/>
    </p:cSldViewPr>
  </p:slideViewPr>
  <p:outlineViewPr>
    <p:cViewPr>
      <p:scale>
        <a:sx n="33" d="100"/>
        <a:sy n="33" d="100"/>
      </p:scale>
      <p:origin x="0" y="-132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3790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1.xml"/><Relationship Id="rId8" Type="http://schemas.openxmlformats.org/officeDocument/2006/relationships/slideMaster" Target="slideMasters/slideMaster7.xml"/><Relationship Id="rId7" Type="http://schemas.openxmlformats.org/officeDocument/2006/relationships/slideMaster" Target="slideMasters/slideMaster6.xml"/><Relationship Id="rId68" Type="http://schemas.openxmlformats.org/officeDocument/2006/relationships/tags" Target="tags/tag121.xml"/><Relationship Id="rId67" Type="http://schemas.openxmlformats.org/officeDocument/2006/relationships/commentAuthors" Target="commentAuthors.xml"/><Relationship Id="rId66" Type="http://schemas.openxmlformats.org/officeDocument/2006/relationships/tableStyles" Target="tableStyles.xml"/><Relationship Id="rId65" Type="http://schemas.openxmlformats.org/officeDocument/2006/relationships/viewProps" Target="viewProps.xml"/><Relationship Id="rId64" Type="http://schemas.openxmlformats.org/officeDocument/2006/relationships/presProps" Target="presProps.xml"/><Relationship Id="rId63" Type="http://schemas.openxmlformats.org/officeDocument/2006/relationships/slide" Target="slides/slide54.xml"/><Relationship Id="rId62" Type="http://schemas.openxmlformats.org/officeDocument/2006/relationships/slide" Target="slides/slide53.xml"/><Relationship Id="rId61" Type="http://schemas.openxmlformats.org/officeDocument/2006/relationships/slide" Target="slides/slide52.xml"/><Relationship Id="rId60" Type="http://schemas.openxmlformats.org/officeDocument/2006/relationships/slide" Target="slides/slide51.xml"/><Relationship Id="rId6" Type="http://schemas.openxmlformats.org/officeDocument/2006/relationships/slideMaster" Target="slideMasters/slideMaster5.xml"/><Relationship Id="rId59" Type="http://schemas.openxmlformats.org/officeDocument/2006/relationships/slide" Target="slides/slide50.xml"/><Relationship Id="rId58" Type="http://schemas.openxmlformats.org/officeDocument/2006/relationships/slide" Target="slides/slide49.xml"/><Relationship Id="rId57" Type="http://schemas.openxmlformats.org/officeDocument/2006/relationships/slide" Target="slides/slide48.xml"/><Relationship Id="rId56" Type="http://schemas.openxmlformats.org/officeDocument/2006/relationships/slide" Target="slides/slide47.xml"/><Relationship Id="rId55" Type="http://schemas.openxmlformats.org/officeDocument/2006/relationships/slide" Target="slides/slide46.xml"/><Relationship Id="rId54" Type="http://schemas.openxmlformats.org/officeDocument/2006/relationships/slide" Target="slides/slide45.xml"/><Relationship Id="rId53" Type="http://schemas.openxmlformats.org/officeDocument/2006/relationships/slide" Target="slides/slide44.xml"/><Relationship Id="rId52" Type="http://schemas.openxmlformats.org/officeDocument/2006/relationships/slide" Target="slides/slide43.xml"/><Relationship Id="rId51" Type="http://schemas.openxmlformats.org/officeDocument/2006/relationships/slide" Target="slides/slide42.xml"/><Relationship Id="rId50" Type="http://schemas.openxmlformats.org/officeDocument/2006/relationships/slide" Target="slides/slide41.xml"/><Relationship Id="rId5" Type="http://schemas.openxmlformats.org/officeDocument/2006/relationships/slideMaster" Target="slideMasters/slideMaster4.xml"/><Relationship Id="rId49" Type="http://schemas.openxmlformats.org/officeDocument/2006/relationships/slide" Target="slides/slide40.xml"/><Relationship Id="rId48" Type="http://schemas.openxmlformats.org/officeDocument/2006/relationships/slide" Target="slides/slide39.xml"/><Relationship Id="rId47" Type="http://schemas.openxmlformats.org/officeDocument/2006/relationships/slide" Target="slides/slide38.xml"/><Relationship Id="rId46" Type="http://schemas.openxmlformats.org/officeDocument/2006/relationships/slide" Target="slides/slide37.xml"/><Relationship Id="rId45" Type="http://schemas.openxmlformats.org/officeDocument/2006/relationships/slide" Target="slides/slide36.xml"/><Relationship Id="rId44" Type="http://schemas.openxmlformats.org/officeDocument/2006/relationships/slide" Target="slides/slide35.xml"/><Relationship Id="rId43" Type="http://schemas.openxmlformats.org/officeDocument/2006/relationships/slide" Target="slides/slide34.xml"/><Relationship Id="rId42" Type="http://schemas.openxmlformats.org/officeDocument/2006/relationships/slide" Target="slides/slide33.xml"/><Relationship Id="rId41" Type="http://schemas.openxmlformats.org/officeDocument/2006/relationships/slide" Target="slides/slide32.xml"/><Relationship Id="rId40" Type="http://schemas.openxmlformats.org/officeDocument/2006/relationships/slide" Target="slides/slide31.xml"/><Relationship Id="rId4" Type="http://schemas.openxmlformats.org/officeDocument/2006/relationships/slideMaster" Target="slideMasters/slideMaster3.xml"/><Relationship Id="rId39" Type="http://schemas.openxmlformats.org/officeDocument/2006/relationships/slide" Target="slides/slide30.xml"/><Relationship Id="rId38" Type="http://schemas.openxmlformats.org/officeDocument/2006/relationships/slide" Target="slides/slide29.xml"/><Relationship Id="rId37" Type="http://schemas.openxmlformats.org/officeDocument/2006/relationships/slide" Target="slides/slide28.xml"/><Relationship Id="rId36" Type="http://schemas.openxmlformats.org/officeDocument/2006/relationships/slide" Target="slides/slide27.xml"/><Relationship Id="rId35" Type="http://schemas.openxmlformats.org/officeDocument/2006/relationships/slide" Target="slides/slide26.xml"/><Relationship Id="rId34" Type="http://schemas.openxmlformats.org/officeDocument/2006/relationships/slide" Target="slides/slide25.xml"/><Relationship Id="rId33" Type="http://schemas.openxmlformats.org/officeDocument/2006/relationships/slide" Target="slides/slide24.xml"/><Relationship Id="rId32" Type="http://schemas.openxmlformats.org/officeDocument/2006/relationships/slide" Target="slides/slide23.xml"/><Relationship Id="rId31" Type="http://schemas.openxmlformats.org/officeDocument/2006/relationships/slide" Target="slides/slide22.xml"/><Relationship Id="rId30" Type="http://schemas.openxmlformats.org/officeDocument/2006/relationships/slide" Target="slides/slide21.xml"/><Relationship Id="rId3" Type="http://schemas.openxmlformats.org/officeDocument/2006/relationships/slideMaster" Target="slideMasters/slideMaster2.xml"/><Relationship Id="rId29" Type="http://schemas.openxmlformats.org/officeDocument/2006/relationships/slide" Target="slides/slide20.xml"/><Relationship Id="rId28" Type="http://schemas.openxmlformats.org/officeDocument/2006/relationships/slide" Target="slides/slide19.xml"/><Relationship Id="rId27" Type="http://schemas.openxmlformats.org/officeDocument/2006/relationships/slide" Target="slides/slide18.xml"/><Relationship Id="rId26" Type="http://schemas.openxmlformats.org/officeDocument/2006/relationships/slide" Target="slides/slide17.xml"/><Relationship Id="rId25" Type="http://schemas.openxmlformats.org/officeDocument/2006/relationships/slide" Target="slides/slide16.xml"/><Relationship Id="rId24" Type="http://schemas.openxmlformats.org/officeDocument/2006/relationships/slide" Target="slides/slide15.xml"/><Relationship Id="rId23" Type="http://schemas.openxmlformats.org/officeDocument/2006/relationships/slide" Target="slides/slide14.xml"/><Relationship Id="rId22" Type="http://schemas.openxmlformats.org/officeDocument/2006/relationships/slide" Target="slides/slide13.xml"/><Relationship Id="rId21" Type="http://schemas.openxmlformats.org/officeDocument/2006/relationships/slide" Target="slides/slide12.xml"/><Relationship Id="rId20" Type="http://schemas.openxmlformats.org/officeDocument/2006/relationships/slide" Target="slides/slide11.xml"/><Relationship Id="rId2" Type="http://schemas.openxmlformats.org/officeDocument/2006/relationships/theme" Target="theme/theme1.xml"/><Relationship Id="rId19" Type="http://schemas.openxmlformats.org/officeDocument/2006/relationships/slide" Target="slides/slide10.xml"/><Relationship Id="rId18" Type="http://schemas.openxmlformats.org/officeDocument/2006/relationships/slide" Target="slides/slide9.xml"/><Relationship Id="rId17" Type="http://schemas.openxmlformats.org/officeDocument/2006/relationships/slide" Target="slides/slide8.xml"/><Relationship Id="rId16" Type="http://schemas.openxmlformats.org/officeDocument/2006/relationships/slide" Target="slides/slide7.xml"/><Relationship Id="rId15" Type="http://schemas.openxmlformats.org/officeDocument/2006/relationships/slide" Target="slides/slide6.xml"/><Relationship Id="rId14" Type="http://schemas.openxmlformats.org/officeDocument/2006/relationships/slide" Target="slides/slide5.xml"/><Relationship Id="rId13" Type="http://schemas.openxmlformats.org/officeDocument/2006/relationships/slide" Target="slides/slide4.xml"/><Relationship Id="rId12" Type="http://schemas.openxmlformats.org/officeDocument/2006/relationships/notesMaster" Target="notesMasters/notesMaster1.xml"/><Relationship Id="rId11" Type="http://schemas.openxmlformats.org/officeDocument/2006/relationships/slide" Target="slides/slide3.xml"/><Relationship Id="rId10" Type="http://schemas.openxmlformats.org/officeDocument/2006/relationships/slide" Target="slides/slide2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image" Target="../media/image1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image" Target="../media/image1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png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2" Type="http://schemas.openxmlformats.org/officeDocument/2006/relationships/image" Target="../media/image34.wmf"/><Relationship Id="rId1" Type="http://schemas.openxmlformats.org/officeDocument/2006/relationships/image" Target="../media/image33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688417-6737-4F20-A22D-5038F03E2760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09FE43-54E4-4532-AB4E-D7044BDB6354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>
                <a:latin typeface="Arial" panose="020B0604020202090204" pitchFamily="34" charset="0"/>
              </a:rPr>
              <a:t>Notes view: </a:t>
            </a:r>
            <a:fld id="{128CEAFE-FA94-43E5-B0FF-D47E1CCDD1B4}" type="slidenum">
              <a:rPr lang="en-US" smtClean="0">
                <a:latin typeface="Arial" panose="020B0604020202090204" pitchFamily="34" charset="0"/>
              </a:rPr>
            </a:fld>
            <a:endParaRPr lang="en-US">
              <a:latin typeface="Arial" panose="020B0604020202090204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6a60aa4a-2f8a-4f2a-a649-68de78fb670d.source.default.zh-Hans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735503-9D21-443F-BC18-5459550EB72F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dbbbf44e-dbcb-4c54-9757-b1f991fce33d.source.default.zh-Hans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735503-9D21-443F-BC18-5459550EB72F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5245f52b-2e15-4f1e-81da-628c717355a6.source.3.zh-Hans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ED8765-8EF3-408C-9341-152904E414E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27a6a2c5-9de4-4657-8419-502e16d36375.source.default.zh-Hans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1E3519-AA41-4C8F-81B1-98F81BDCD14B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6da85851-eea6-4c1c-9fdd-c0c7fcd7c3a4.source.3.zh-Hans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735503-9D21-443F-BC18-5459550EB72F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AF9B2A1E-669E-456B-A33C-095540FA4F8A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AF9B2A1E-669E-456B-A33C-095540FA4F8A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70848c13-7681-44c3-be63-89952386c303.source.4.zh-Hans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4BAF2A-B706-447D-B949-457F7B61B2F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.vml"/><Relationship Id="rId5" Type="http://schemas.openxmlformats.org/officeDocument/2006/relationships/tags" Target="../tags/tag2.x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5" Type="http://schemas.openxmlformats.org/officeDocument/2006/relationships/image" Target="../media/image7.png"/><Relationship Id="rId4" Type="http://schemas.openxmlformats.org/officeDocument/2006/relationships/image" Target="../media/image6.png"/><Relationship Id="rId3" Type="http://schemas.microsoft.com/office/2007/relationships/hdphoto" Target="../media/image5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5.vml"/><Relationship Id="rId5" Type="http://schemas.openxmlformats.org/officeDocument/2006/relationships/tags" Target="../tags/tag10.xml"/><Relationship Id="rId4" Type="http://schemas.openxmlformats.org/officeDocument/2006/relationships/image" Target="../media/image2.emf"/><Relationship Id="rId3" Type="http://schemas.openxmlformats.org/officeDocument/2006/relationships/oleObject" Target="../embeddings/oleObject5.bin"/><Relationship Id="rId2" Type="http://schemas.openxmlformats.org/officeDocument/2006/relationships/tags" Target="../tags/tag9.xml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6.vml"/><Relationship Id="rId6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Relationship Id="rId3" Type="http://schemas.openxmlformats.org/officeDocument/2006/relationships/tags" Target="../tags/tag11.xml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7.vml"/><Relationship Id="rId6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Relationship Id="rId3" Type="http://schemas.openxmlformats.org/officeDocument/2006/relationships/tags" Target="../tags/tag13.xml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.vml"/><Relationship Id="rId5" Type="http://schemas.openxmlformats.org/officeDocument/2006/relationships/tags" Target="../tags/tag4.xml"/><Relationship Id="rId4" Type="http://schemas.openxmlformats.org/officeDocument/2006/relationships/image" Target="../media/image2.emf"/><Relationship Id="rId3" Type="http://schemas.openxmlformats.org/officeDocument/2006/relationships/oleObject" Target="../embeddings/oleObject2.bin"/><Relationship Id="rId2" Type="http://schemas.openxmlformats.org/officeDocument/2006/relationships/tags" Target="../tags/tag3.xml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8.vml"/><Relationship Id="rId5" Type="http://schemas.openxmlformats.org/officeDocument/2006/relationships/tags" Target="../tags/tag16.x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8.bin"/><Relationship Id="rId2" Type="http://schemas.openxmlformats.org/officeDocument/2006/relationships/tags" Target="../tags/tag15.xml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0.vml"/><Relationship Id="rId6" Type="http://schemas.openxmlformats.org/officeDocument/2006/relationships/image" Target="../media/image11.png"/><Relationship Id="rId5" Type="http://schemas.openxmlformats.org/officeDocument/2006/relationships/image" Target="../media/image16.png"/><Relationship Id="rId4" Type="http://schemas.openxmlformats.org/officeDocument/2006/relationships/image" Target="../media/image1.emf"/><Relationship Id="rId3" Type="http://schemas.openxmlformats.org/officeDocument/2006/relationships/oleObject" Target="../embeddings/oleObject10.bin"/><Relationship Id="rId2" Type="http://schemas.openxmlformats.org/officeDocument/2006/relationships/tags" Target="../tags/tag19.xml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1.vml"/><Relationship Id="rId6" Type="http://schemas.openxmlformats.org/officeDocument/2006/relationships/image" Target="../media/image17.png"/><Relationship Id="rId5" Type="http://schemas.openxmlformats.org/officeDocument/2006/relationships/tags" Target="../tags/tag21.x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11.bin"/><Relationship Id="rId2" Type="http://schemas.openxmlformats.org/officeDocument/2006/relationships/tags" Target="../tags/tag20.xml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9" Type="http://schemas.openxmlformats.org/officeDocument/2006/relationships/vmlDrawing" Target="../drawings/vmlDrawing12.vml"/><Relationship Id="rId8" Type="http://schemas.openxmlformats.org/officeDocument/2006/relationships/tags" Target="../tags/tag25.xml"/><Relationship Id="rId7" Type="http://schemas.openxmlformats.org/officeDocument/2006/relationships/oleObject" Target="../embeddings/oleObject13.bin"/><Relationship Id="rId6" Type="http://schemas.openxmlformats.org/officeDocument/2006/relationships/tags" Target="../tags/tag24.xml"/><Relationship Id="rId5" Type="http://schemas.openxmlformats.org/officeDocument/2006/relationships/tags" Target="../tags/tag23.x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12.bin"/><Relationship Id="rId2" Type="http://schemas.openxmlformats.org/officeDocument/2006/relationships/tags" Target="../tags/tag22.xml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3.vml"/><Relationship Id="rId5" Type="http://schemas.openxmlformats.org/officeDocument/2006/relationships/image" Target="../media/image16.png"/><Relationship Id="rId4" Type="http://schemas.openxmlformats.org/officeDocument/2006/relationships/image" Target="../media/image1.emf"/><Relationship Id="rId3" Type="http://schemas.openxmlformats.org/officeDocument/2006/relationships/oleObject" Target="../embeddings/oleObject14.bin"/><Relationship Id="rId2" Type="http://schemas.openxmlformats.org/officeDocument/2006/relationships/tags" Target="../tags/tag26.xml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5.vml"/><Relationship Id="rId6" Type="http://schemas.openxmlformats.org/officeDocument/2006/relationships/image" Target="../media/image11.png"/><Relationship Id="rId5" Type="http://schemas.openxmlformats.org/officeDocument/2006/relationships/image" Target="../media/image16.png"/><Relationship Id="rId4" Type="http://schemas.openxmlformats.org/officeDocument/2006/relationships/image" Target="../media/image1.emf"/><Relationship Id="rId3" Type="http://schemas.openxmlformats.org/officeDocument/2006/relationships/oleObject" Target="../embeddings/oleObject17.bin"/><Relationship Id="rId2" Type="http://schemas.openxmlformats.org/officeDocument/2006/relationships/tags" Target="../tags/tag30.xml"/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6.vml"/><Relationship Id="rId6" Type="http://schemas.openxmlformats.org/officeDocument/2006/relationships/image" Target="../media/image17.png"/><Relationship Id="rId5" Type="http://schemas.openxmlformats.org/officeDocument/2006/relationships/tags" Target="../tags/tag32.x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18.bin"/><Relationship Id="rId2" Type="http://schemas.openxmlformats.org/officeDocument/2006/relationships/tags" Target="../tags/tag31.xml"/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9" Type="http://schemas.openxmlformats.org/officeDocument/2006/relationships/vmlDrawing" Target="../drawings/vmlDrawing17.vml"/><Relationship Id="rId8" Type="http://schemas.openxmlformats.org/officeDocument/2006/relationships/tags" Target="../tags/tag36.xml"/><Relationship Id="rId7" Type="http://schemas.openxmlformats.org/officeDocument/2006/relationships/oleObject" Target="../embeddings/oleObject20.bin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19.bin"/><Relationship Id="rId2" Type="http://schemas.openxmlformats.org/officeDocument/2006/relationships/tags" Target="../tags/tag33.xml"/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8.vml"/><Relationship Id="rId5" Type="http://schemas.openxmlformats.org/officeDocument/2006/relationships/image" Target="../media/image16.png"/><Relationship Id="rId4" Type="http://schemas.openxmlformats.org/officeDocument/2006/relationships/image" Target="../media/image1.emf"/><Relationship Id="rId3" Type="http://schemas.openxmlformats.org/officeDocument/2006/relationships/oleObject" Target="../embeddings/oleObject21.bin"/><Relationship Id="rId2" Type="http://schemas.openxmlformats.org/officeDocument/2006/relationships/tags" Target="../tags/tag37.xml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0.vml"/><Relationship Id="rId5" Type="http://schemas.openxmlformats.org/officeDocument/2006/relationships/tags" Target="../tags/tag42.x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24.bin"/><Relationship Id="rId2" Type="http://schemas.openxmlformats.org/officeDocument/2006/relationships/tags" Target="../tags/tag41.xml"/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1.vml"/><Relationship Id="rId5" Type="http://schemas.openxmlformats.org/officeDocument/2006/relationships/tags" Target="../tags/tag44.xml"/><Relationship Id="rId4" Type="http://schemas.openxmlformats.org/officeDocument/2006/relationships/image" Target="../media/image2.emf"/><Relationship Id="rId3" Type="http://schemas.openxmlformats.org/officeDocument/2006/relationships/oleObject" Target="../embeddings/oleObject25.bin"/><Relationship Id="rId2" Type="http://schemas.openxmlformats.org/officeDocument/2006/relationships/tags" Target="../tags/tag43.xml"/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2.vml"/><Relationship Id="rId5" Type="http://schemas.openxmlformats.org/officeDocument/2006/relationships/tags" Target="../tags/tag46.x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26.bin"/><Relationship Id="rId2" Type="http://schemas.openxmlformats.org/officeDocument/2006/relationships/tags" Target="../tags/tag45.xml"/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5" Type="http://schemas.openxmlformats.org/officeDocument/2006/relationships/image" Target="../media/image7.png"/><Relationship Id="rId4" Type="http://schemas.openxmlformats.org/officeDocument/2006/relationships/image" Target="../media/image6.png"/><Relationship Id="rId3" Type="http://schemas.microsoft.com/office/2007/relationships/hdphoto" Target="../media/image5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3.vml"/><Relationship Id="rId5" Type="http://schemas.openxmlformats.org/officeDocument/2006/relationships/tags" Target="../tags/tag6.x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3.bin"/><Relationship Id="rId2" Type="http://schemas.openxmlformats.org/officeDocument/2006/relationships/tags" Target="../tags/tag5.xml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5" Type="http://schemas.openxmlformats.org/officeDocument/2006/relationships/image" Target="../media/image7.png"/><Relationship Id="rId4" Type="http://schemas.openxmlformats.org/officeDocument/2006/relationships/image" Target="../media/image6.png"/><Relationship Id="rId3" Type="http://schemas.microsoft.com/office/2007/relationships/hdphoto" Target="../media/image5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3" Type="http://schemas.microsoft.com/office/2007/relationships/hdphoto" Target="../media/image9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23.vml"/><Relationship Id="rId4" Type="http://schemas.openxmlformats.org/officeDocument/2006/relationships/image" Target="../media/image19.png"/><Relationship Id="rId3" Type="http://schemas.openxmlformats.org/officeDocument/2006/relationships/oleObject" Target="../embeddings/oleObject27.bin"/><Relationship Id="rId2" Type="http://schemas.openxmlformats.org/officeDocument/2006/relationships/tags" Target="../tags/tag47.xml"/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5.vml"/><Relationship Id="rId5" Type="http://schemas.openxmlformats.org/officeDocument/2006/relationships/tags" Target="../tags/tag51.x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29.bin"/><Relationship Id="rId2" Type="http://schemas.openxmlformats.org/officeDocument/2006/relationships/tags" Target="../tags/tag50.xml"/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6.vml"/><Relationship Id="rId5" Type="http://schemas.openxmlformats.org/officeDocument/2006/relationships/tags" Target="../tags/tag53.xml"/><Relationship Id="rId4" Type="http://schemas.openxmlformats.org/officeDocument/2006/relationships/image" Target="../media/image2.emf"/><Relationship Id="rId3" Type="http://schemas.openxmlformats.org/officeDocument/2006/relationships/oleObject" Target="../embeddings/oleObject30.bin"/><Relationship Id="rId2" Type="http://schemas.openxmlformats.org/officeDocument/2006/relationships/tags" Target="../tags/tag52.xml"/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7.vml"/><Relationship Id="rId5" Type="http://schemas.openxmlformats.org/officeDocument/2006/relationships/tags" Target="../tags/tag55.x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31.bin"/><Relationship Id="rId2" Type="http://schemas.openxmlformats.org/officeDocument/2006/relationships/tags" Target="../tags/tag54.xml"/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5" Type="http://schemas.openxmlformats.org/officeDocument/2006/relationships/image" Target="../media/image7.png"/><Relationship Id="rId4" Type="http://schemas.openxmlformats.org/officeDocument/2006/relationships/image" Target="../media/image6.png"/><Relationship Id="rId3" Type="http://schemas.microsoft.com/office/2007/relationships/hdphoto" Target="../media/image5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0封面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"/>
          <p:cNvSpPr/>
          <p:nvPr userDrawn="1"/>
        </p:nvSpPr>
        <p:spPr bwMode="auto">
          <a:xfrm flipH="1">
            <a:off x="0" y="3073313"/>
            <a:ext cx="10920534" cy="2262324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</p:txBody>
      </p:sp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0" name="对象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矩形 2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4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90204" pitchFamily="34" charset="0"/>
              <a:ea typeface="微软雅黑" panose="020B0503020204020204" charset="-122"/>
              <a:cs typeface="+mj-cs"/>
              <a:sym typeface="Arial" panose="020B0604020202090204" pitchFamily="34" charset="0"/>
            </a:endParaRPr>
          </a:p>
        </p:txBody>
      </p:sp>
      <p:sp>
        <p:nvSpPr>
          <p:cNvPr id="12" name="矩形 11"/>
          <p:cNvSpPr/>
          <p:nvPr userDrawn="1"/>
        </p:nvSpPr>
        <p:spPr>
          <a:xfrm>
            <a:off x="-1" y="5335637"/>
            <a:ext cx="12191999" cy="15223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-封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016697" y="2155"/>
            <a:ext cx="11168799" cy="6850806"/>
          </a:xfrm>
          <a:prstGeom prst="rect">
            <a:avLst/>
          </a:prstGeom>
          <a:ln w="12700">
            <a:miter lim="400000"/>
            <a:headEnd/>
            <a:tailEnd/>
          </a:ln>
        </p:spPr>
      </p:pic>
      <p:pic>
        <p:nvPicPr>
          <p:cNvPr id="4" name="图片 3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"/>
          <a:stretch>
            <a:fillRect/>
          </a:stretch>
        </p:blipFill>
        <p:spPr>
          <a:xfrm>
            <a:off x="1045815" y="5038"/>
            <a:ext cx="11146185" cy="6852961"/>
          </a:xfrm>
          <a:prstGeom prst="rect">
            <a:avLst/>
          </a:prstGeom>
        </p:spPr>
      </p:pic>
      <p:sp>
        <p:nvSpPr>
          <p:cNvPr id="8" name="矩形 7"/>
          <p:cNvSpPr/>
          <p:nvPr userDrawn="1"/>
        </p:nvSpPr>
        <p:spPr>
          <a:xfrm>
            <a:off x="3252" y="3597"/>
            <a:ext cx="12185496" cy="6850806"/>
          </a:xfrm>
          <a:prstGeom prst="rect">
            <a:avLst/>
          </a:prstGeom>
          <a:gradFill flip="none" rotWithShape="1">
            <a:gsLst>
              <a:gs pos="15000">
                <a:srgbClr val="FDF1ED">
                  <a:alpha val="97647"/>
                </a:srgbClr>
              </a:gs>
              <a:gs pos="27000">
                <a:srgbClr val="FEF8F6">
                  <a:alpha val="86000"/>
                </a:srgbClr>
              </a:gs>
              <a:gs pos="56000">
                <a:schemeClr val="bg1">
                  <a:alpha val="86000"/>
                </a:schemeClr>
              </a:gs>
              <a:gs pos="0">
                <a:srgbClr val="FDEAE3"/>
              </a:gs>
              <a:gs pos="100000">
                <a:schemeClr val="bg1">
                  <a:alpha val="64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3" name="任意多边形: 形状 12"/>
          <p:cNvSpPr/>
          <p:nvPr userDrawn="1"/>
        </p:nvSpPr>
        <p:spPr>
          <a:xfrm>
            <a:off x="0" y="0"/>
            <a:ext cx="690654" cy="745871"/>
          </a:xfrm>
          <a:custGeom>
            <a:avLst/>
            <a:gdLst>
              <a:gd name="connsiteX0" fmla="*/ 590479 w 631437"/>
              <a:gd name="connsiteY0" fmla="*/ 600003 h 681919"/>
              <a:gd name="connsiteX1" fmla="*/ 631437 w 631437"/>
              <a:gd name="connsiteY1" fmla="*/ 640961 h 681919"/>
              <a:gd name="connsiteX2" fmla="*/ 590479 w 631437"/>
              <a:gd name="connsiteY2" fmla="*/ 681919 h 681919"/>
              <a:gd name="connsiteX3" fmla="*/ 549521 w 631437"/>
              <a:gd name="connsiteY3" fmla="*/ 640961 h 681919"/>
              <a:gd name="connsiteX4" fmla="*/ 590479 w 631437"/>
              <a:gd name="connsiteY4" fmla="*/ 600003 h 681919"/>
              <a:gd name="connsiteX5" fmla="*/ 448555 w 631437"/>
              <a:gd name="connsiteY5" fmla="*/ 600003 h 681919"/>
              <a:gd name="connsiteX6" fmla="*/ 489513 w 631437"/>
              <a:gd name="connsiteY6" fmla="*/ 640961 h 681919"/>
              <a:gd name="connsiteX7" fmla="*/ 448555 w 631437"/>
              <a:gd name="connsiteY7" fmla="*/ 681919 h 681919"/>
              <a:gd name="connsiteX8" fmla="*/ 407597 w 631437"/>
              <a:gd name="connsiteY8" fmla="*/ 640961 h 681919"/>
              <a:gd name="connsiteX9" fmla="*/ 448555 w 631437"/>
              <a:gd name="connsiteY9" fmla="*/ 600003 h 681919"/>
              <a:gd name="connsiteX10" fmla="*/ 306633 w 631437"/>
              <a:gd name="connsiteY10" fmla="*/ 600003 h 681919"/>
              <a:gd name="connsiteX11" fmla="*/ 347591 w 631437"/>
              <a:gd name="connsiteY11" fmla="*/ 640961 h 681919"/>
              <a:gd name="connsiteX12" fmla="*/ 306633 w 631437"/>
              <a:gd name="connsiteY12" fmla="*/ 681919 h 681919"/>
              <a:gd name="connsiteX13" fmla="*/ 265675 w 631437"/>
              <a:gd name="connsiteY13" fmla="*/ 640961 h 681919"/>
              <a:gd name="connsiteX14" fmla="*/ 306633 w 631437"/>
              <a:gd name="connsiteY14" fmla="*/ 600003 h 681919"/>
              <a:gd name="connsiteX15" fmla="*/ 164711 w 631437"/>
              <a:gd name="connsiteY15" fmla="*/ 600003 h 681919"/>
              <a:gd name="connsiteX16" fmla="*/ 205669 w 631437"/>
              <a:gd name="connsiteY16" fmla="*/ 640961 h 681919"/>
              <a:gd name="connsiteX17" fmla="*/ 164711 w 631437"/>
              <a:gd name="connsiteY17" fmla="*/ 681919 h 681919"/>
              <a:gd name="connsiteX18" fmla="*/ 123753 w 631437"/>
              <a:gd name="connsiteY18" fmla="*/ 640961 h 681919"/>
              <a:gd name="connsiteX19" fmla="*/ 164711 w 631437"/>
              <a:gd name="connsiteY19" fmla="*/ 600003 h 681919"/>
              <a:gd name="connsiteX20" fmla="*/ 22789 w 631437"/>
              <a:gd name="connsiteY20" fmla="*/ 600003 h 681919"/>
              <a:gd name="connsiteX21" fmla="*/ 63747 w 631437"/>
              <a:gd name="connsiteY21" fmla="*/ 640961 h 681919"/>
              <a:gd name="connsiteX22" fmla="*/ 22789 w 631437"/>
              <a:gd name="connsiteY22" fmla="*/ 681919 h 681919"/>
              <a:gd name="connsiteX23" fmla="*/ 0 w 631437"/>
              <a:gd name="connsiteY23" fmla="*/ 672479 h 681919"/>
              <a:gd name="connsiteX24" fmla="*/ 0 w 631437"/>
              <a:gd name="connsiteY24" fmla="*/ 609443 h 681919"/>
              <a:gd name="connsiteX25" fmla="*/ 590479 w 631437"/>
              <a:gd name="connsiteY25" fmla="*/ 441888 h 681919"/>
              <a:gd name="connsiteX26" fmla="*/ 631437 w 631437"/>
              <a:gd name="connsiteY26" fmla="*/ 482846 h 681919"/>
              <a:gd name="connsiteX27" fmla="*/ 590479 w 631437"/>
              <a:gd name="connsiteY27" fmla="*/ 523804 h 681919"/>
              <a:gd name="connsiteX28" fmla="*/ 549521 w 631437"/>
              <a:gd name="connsiteY28" fmla="*/ 482846 h 681919"/>
              <a:gd name="connsiteX29" fmla="*/ 590479 w 631437"/>
              <a:gd name="connsiteY29" fmla="*/ 441888 h 681919"/>
              <a:gd name="connsiteX30" fmla="*/ 448555 w 631437"/>
              <a:gd name="connsiteY30" fmla="*/ 441888 h 681919"/>
              <a:gd name="connsiteX31" fmla="*/ 489513 w 631437"/>
              <a:gd name="connsiteY31" fmla="*/ 482846 h 681919"/>
              <a:gd name="connsiteX32" fmla="*/ 448555 w 631437"/>
              <a:gd name="connsiteY32" fmla="*/ 523804 h 681919"/>
              <a:gd name="connsiteX33" fmla="*/ 407597 w 631437"/>
              <a:gd name="connsiteY33" fmla="*/ 482846 h 681919"/>
              <a:gd name="connsiteX34" fmla="*/ 448555 w 631437"/>
              <a:gd name="connsiteY34" fmla="*/ 441888 h 681919"/>
              <a:gd name="connsiteX35" fmla="*/ 306633 w 631437"/>
              <a:gd name="connsiteY35" fmla="*/ 441888 h 681919"/>
              <a:gd name="connsiteX36" fmla="*/ 347591 w 631437"/>
              <a:gd name="connsiteY36" fmla="*/ 482846 h 681919"/>
              <a:gd name="connsiteX37" fmla="*/ 306633 w 631437"/>
              <a:gd name="connsiteY37" fmla="*/ 523804 h 681919"/>
              <a:gd name="connsiteX38" fmla="*/ 265675 w 631437"/>
              <a:gd name="connsiteY38" fmla="*/ 482846 h 681919"/>
              <a:gd name="connsiteX39" fmla="*/ 306633 w 631437"/>
              <a:gd name="connsiteY39" fmla="*/ 441888 h 681919"/>
              <a:gd name="connsiteX40" fmla="*/ 164711 w 631437"/>
              <a:gd name="connsiteY40" fmla="*/ 441888 h 681919"/>
              <a:gd name="connsiteX41" fmla="*/ 205669 w 631437"/>
              <a:gd name="connsiteY41" fmla="*/ 482846 h 681919"/>
              <a:gd name="connsiteX42" fmla="*/ 164711 w 631437"/>
              <a:gd name="connsiteY42" fmla="*/ 523804 h 681919"/>
              <a:gd name="connsiteX43" fmla="*/ 123753 w 631437"/>
              <a:gd name="connsiteY43" fmla="*/ 482846 h 681919"/>
              <a:gd name="connsiteX44" fmla="*/ 164711 w 631437"/>
              <a:gd name="connsiteY44" fmla="*/ 441888 h 681919"/>
              <a:gd name="connsiteX45" fmla="*/ 22789 w 631437"/>
              <a:gd name="connsiteY45" fmla="*/ 441888 h 681919"/>
              <a:gd name="connsiteX46" fmla="*/ 63747 w 631437"/>
              <a:gd name="connsiteY46" fmla="*/ 482846 h 681919"/>
              <a:gd name="connsiteX47" fmla="*/ 22789 w 631437"/>
              <a:gd name="connsiteY47" fmla="*/ 523804 h 681919"/>
              <a:gd name="connsiteX48" fmla="*/ 0 w 631437"/>
              <a:gd name="connsiteY48" fmla="*/ 514364 h 681919"/>
              <a:gd name="connsiteX49" fmla="*/ 0 w 631437"/>
              <a:gd name="connsiteY49" fmla="*/ 451328 h 681919"/>
              <a:gd name="connsiteX50" fmla="*/ 590479 w 631437"/>
              <a:gd name="connsiteY50" fmla="*/ 283773 h 681919"/>
              <a:gd name="connsiteX51" fmla="*/ 631437 w 631437"/>
              <a:gd name="connsiteY51" fmla="*/ 324731 h 681919"/>
              <a:gd name="connsiteX52" fmla="*/ 590479 w 631437"/>
              <a:gd name="connsiteY52" fmla="*/ 365689 h 681919"/>
              <a:gd name="connsiteX53" fmla="*/ 549521 w 631437"/>
              <a:gd name="connsiteY53" fmla="*/ 324731 h 681919"/>
              <a:gd name="connsiteX54" fmla="*/ 590479 w 631437"/>
              <a:gd name="connsiteY54" fmla="*/ 283773 h 681919"/>
              <a:gd name="connsiteX55" fmla="*/ 448555 w 631437"/>
              <a:gd name="connsiteY55" fmla="*/ 283773 h 681919"/>
              <a:gd name="connsiteX56" fmla="*/ 489513 w 631437"/>
              <a:gd name="connsiteY56" fmla="*/ 324731 h 681919"/>
              <a:gd name="connsiteX57" fmla="*/ 448555 w 631437"/>
              <a:gd name="connsiteY57" fmla="*/ 365689 h 681919"/>
              <a:gd name="connsiteX58" fmla="*/ 407597 w 631437"/>
              <a:gd name="connsiteY58" fmla="*/ 324731 h 681919"/>
              <a:gd name="connsiteX59" fmla="*/ 448555 w 631437"/>
              <a:gd name="connsiteY59" fmla="*/ 283773 h 681919"/>
              <a:gd name="connsiteX60" fmla="*/ 306633 w 631437"/>
              <a:gd name="connsiteY60" fmla="*/ 283773 h 681919"/>
              <a:gd name="connsiteX61" fmla="*/ 347591 w 631437"/>
              <a:gd name="connsiteY61" fmla="*/ 324731 h 681919"/>
              <a:gd name="connsiteX62" fmla="*/ 306633 w 631437"/>
              <a:gd name="connsiteY62" fmla="*/ 365689 h 681919"/>
              <a:gd name="connsiteX63" fmla="*/ 265675 w 631437"/>
              <a:gd name="connsiteY63" fmla="*/ 324731 h 681919"/>
              <a:gd name="connsiteX64" fmla="*/ 306633 w 631437"/>
              <a:gd name="connsiteY64" fmla="*/ 283773 h 681919"/>
              <a:gd name="connsiteX65" fmla="*/ 164711 w 631437"/>
              <a:gd name="connsiteY65" fmla="*/ 283773 h 681919"/>
              <a:gd name="connsiteX66" fmla="*/ 205669 w 631437"/>
              <a:gd name="connsiteY66" fmla="*/ 324731 h 681919"/>
              <a:gd name="connsiteX67" fmla="*/ 164711 w 631437"/>
              <a:gd name="connsiteY67" fmla="*/ 365689 h 681919"/>
              <a:gd name="connsiteX68" fmla="*/ 123753 w 631437"/>
              <a:gd name="connsiteY68" fmla="*/ 324731 h 681919"/>
              <a:gd name="connsiteX69" fmla="*/ 164711 w 631437"/>
              <a:gd name="connsiteY69" fmla="*/ 283773 h 681919"/>
              <a:gd name="connsiteX70" fmla="*/ 22789 w 631437"/>
              <a:gd name="connsiteY70" fmla="*/ 283773 h 681919"/>
              <a:gd name="connsiteX71" fmla="*/ 63747 w 631437"/>
              <a:gd name="connsiteY71" fmla="*/ 324731 h 681919"/>
              <a:gd name="connsiteX72" fmla="*/ 22789 w 631437"/>
              <a:gd name="connsiteY72" fmla="*/ 365689 h 681919"/>
              <a:gd name="connsiteX73" fmla="*/ 0 w 631437"/>
              <a:gd name="connsiteY73" fmla="*/ 356249 h 681919"/>
              <a:gd name="connsiteX74" fmla="*/ 0 w 631437"/>
              <a:gd name="connsiteY74" fmla="*/ 293213 h 681919"/>
              <a:gd name="connsiteX75" fmla="*/ 448555 w 631437"/>
              <a:gd name="connsiteY75" fmla="*/ 125658 h 681919"/>
              <a:gd name="connsiteX76" fmla="*/ 489513 w 631437"/>
              <a:gd name="connsiteY76" fmla="*/ 166616 h 681919"/>
              <a:gd name="connsiteX77" fmla="*/ 448555 w 631437"/>
              <a:gd name="connsiteY77" fmla="*/ 207574 h 681919"/>
              <a:gd name="connsiteX78" fmla="*/ 407597 w 631437"/>
              <a:gd name="connsiteY78" fmla="*/ 166616 h 681919"/>
              <a:gd name="connsiteX79" fmla="*/ 448555 w 631437"/>
              <a:gd name="connsiteY79" fmla="*/ 125658 h 681919"/>
              <a:gd name="connsiteX80" fmla="*/ 306633 w 631437"/>
              <a:gd name="connsiteY80" fmla="*/ 125658 h 681919"/>
              <a:gd name="connsiteX81" fmla="*/ 347591 w 631437"/>
              <a:gd name="connsiteY81" fmla="*/ 166616 h 681919"/>
              <a:gd name="connsiteX82" fmla="*/ 306633 w 631437"/>
              <a:gd name="connsiteY82" fmla="*/ 207574 h 681919"/>
              <a:gd name="connsiteX83" fmla="*/ 265675 w 631437"/>
              <a:gd name="connsiteY83" fmla="*/ 166616 h 681919"/>
              <a:gd name="connsiteX84" fmla="*/ 306633 w 631437"/>
              <a:gd name="connsiteY84" fmla="*/ 125658 h 681919"/>
              <a:gd name="connsiteX85" fmla="*/ 164711 w 631437"/>
              <a:gd name="connsiteY85" fmla="*/ 125658 h 681919"/>
              <a:gd name="connsiteX86" fmla="*/ 205669 w 631437"/>
              <a:gd name="connsiteY86" fmla="*/ 166616 h 681919"/>
              <a:gd name="connsiteX87" fmla="*/ 164711 w 631437"/>
              <a:gd name="connsiteY87" fmla="*/ 207574 h 681919"/>
              <a:gd name="connsiteX88" fmla="*/ 123753 w 631437"/>
              <a:gd name="connsiteY88" fmla="*/ 166616 h 681919"/>
              <a:gd name="connsiteX89" fmla="*/ 164711 w 631437"/>
              <a:gd name="connsiteY89" fmla="*/ 125658 h 681919"/>
              <a:gd name="connsiteX90" fmla="*/ 22789 w 631437"/>
              <a:gd name="connsiteY90" fmla="*/ 125658 h 681919"/>
              <a:gd name="connsiteX91" fmla="*/ 63747 w 631437"/>
              <a:gd name="connsiteY91" fmla="*/ 166616 h 681919"/>
              <a:gd name="connsiteX92" fmla="*/ 22789 w 631437"/>
              <a:gd name="connsiteY92" fmla="*/ 207574 h 681919"/>
              <a:gd name="connsiteX93" fmla="*/ 0 w 631437"/>
              <a:gd name="connsiteY93" fmla="*/ 198134 h 681919"/>
              <a:gd name="connsiteX94" fmla="*/ 0 w 631437"/>
              <a:gd name="connsiteY94" fmla="*/ 135098 h 681919"/>
              <a:gd name="connsiteX95" fmla="*/ 590479 w 631437"/>
              <a:gd name="connsiteY95" fmla="*/ 125658 h 681919"/>
              <a:gd name="connsiteX96" fmla="*/ 631437 w 631437"/>
              <a:gd name="connsiteY96" fmla="*/ 166616 h 681919"/>
              <a:gd name="connsiteX97" fmla="*/ 590479 w 631437"/>
              <a:gd name="connsiteY97" fmla="*/ 207574 h 681919"/>
              <a:gd name="connsiteX98" fmla="*/ 549521 w 631437"/>
              <a:gd name="connsiteY98" fmla="*/ 166616 h 681919"/>
              <a:gd name="connsiteX99" fmla="*/ 590479 w 631437"/>
              <a:gd name="connsiteY99" fmla="*/ 125658 h 681919"/>
              <a:gd name="connsiteX100" fmla="*/ 553042 w 631437"/>
              <a:gd name="connsiteY100" fmla="*/ 0 h 681919"/>
              <a:gd name="connsiteX101" fmla="*/ 627916 w 631437"/>
              <a:gd name="connsiteY101" fmla="*/ 0 h 681919"/>
              <a:gd name="connsiteX102" fmla="*/ 631437 w 631437"/>
              <a:gd name="connsiteY102" fmla="*/ 8501 h 681919"/>
              <a:gd name="connsiteX103" fmla="*/ 590479 w 631437"/>
              <a:gd name="connsiteY103" fmla="*/ 49459 h 681919"/>
              <a:gd name="connsiteX104" fmla="*/ 549521 w 631437"/>
              <a:gd name="connsiteY104" fmla="*/ 8501 h 681919"/>
              <a:gd name="connsiteX105" fmla="*/ 411118 w 631437"/>
              <a:gd name="connsiteY105" fmla="*/ 0 h 681919"/>
              <a:gd name="connsiteX106" fmla="*/ 485992 w 631437"/>
              <a:gd name="connsiteY106" fmla="*/ 0 h 681919"/>
              <a:gd name="connsiteX107" fmla="*/ 489513 w 631437"/>
              <a:gd name="connsiteY107" fmla="*/ 8501 h 681919"/>
              <a:gd name="connsiteX108" fmla="*/ 448555 w 631437"/>
              <a:gd name="connsiteY108" fmla="*/ 49459 h 681919"/>
              <a:gd name="connsiteX109" fmla="*/ 407597 w 631437"/>
              <a:gd name="connsiteY109" fmla="*/ 8501 h 681919"/>
              <a:gd name="connsiteX110" fmla="*/ 269196 w 631437"/>
              <a:gd name="connsiteY110" fmla="*/ 0 h 681919"/>
              <a:gd name="connsiteX111" fmla="*/ 344070 w 631437"/>
              <a:gd name="connsiteY111" fmla="*/ 0 h 681919"/>
              <a:gd name="connsiteX112" fmla="*/ 347591 w 631437"/>
              <a:gd name="connsiteY112" fmla="*/ 8501 h 681919"/>
              <a:gd name="connsiteX113" fmla="*/ 306633 w 631437"/>
              <a:gd name="connsiteY113" fmla="*/ 49459 h 681919"/>
              <a:gd name="connsiteX114" fmla="*/ 265675 w 631437"/>
              <a:gd name="connsiteY114" fmla="*/ 8501 h 681919"/>
              <a:gd name="connsiteX115" fmla="*/ 127274 w 631437"/>
              <a:gd name="connsiteY115" fmla="*/ 0 h 681919"/>
              <a:gd name="connsiteX116" fmla="*/ 202148 w 631437"/>
              <a:gd name="connsiteY116" fmla="*/ 0 h 681919"/>
              <a:gd name="connsiteX117" fmla="*/ 205669 w 631437"/>
              <a:gd name="connsiteY117" fmla="*/ 8501 h 681919"/>
              <a:gd name="connsiteX118" fmla="*/ 164711 w 631437"/>
              <a:gd name="connsiteY118" fmla="*/ 49459 h 681919"/>
              <a:gd name="connsiteX119" fmla="*/ 123753 w 631437"/>
              <a:gd name="connsiteY119" fmla="*/ 8501 h 681919"/>
              <a:gd name="connsiteX120" fmla="*/ 0 w 631437"/>
              <a:gd name="connsiteY120" fmla="*/ 0 h 681919"/>
              <a:gd name="connsiteX121" fmla="*/ 60226 w 631437"/>
              <a:gd name="connsiteY121" fmla="*/ 0 h 681919"/>
              <a:gd name="connsiteX122" fmla="*/ 63747 w 631437"/>
              <a:gd name="connsiteY122" fmla="*/ 8501 h 681919"/>
              <a:gd name="connsiteX123" fmla="*/ 22789 w 631437"/>
              <a:gd name="connsiteY123" fmla="*/ 49459 h 681919"/>
              <a:gd name="connsiteX124" fmla="*/ 0 w 631437"/>
              <a:gd name="connsiteY124" fmla="*/ 40019 h 6819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631437" h="681919">
                <a:moveTo>
                  <a:pt x="590479" y="600003"/>
                </a:moveTo>
                <a:cubicBezTo>
                  <a:pt x="613099" y="600003"/>
                  <a:pt x="631437" y="618341"/>
                  <a:pt x="631437" y="640961"/>
                </a:cubicBezTo>
                <a:cubicBezTo>
                  <a:pt x="631437" y="663581"/>
                  <a:pt x="613099" y="681919"/>
                  <a:pt x="590479" y="681919"/>
                </a:cubicBezTo>
                <a:cubicBezTo>
                  <a:pt x="567859" y="681919"/>
                  <a:pt x="549521" y="663581"/>
                  <a:pt x="549521" y="640961"/>
                </a:cubicBezTo>
                <a:cubicBezTo>
                  <a:pt x="549521" y="618341"/>
                  <a:pt x="567859" y="600003"/>
                  <a:pt x="590479" y="600003"/>
                </a:cubicBezTo>
                <a:close/>
                <a:moveTo>
                  <a:pt x="448555" y="600003"/>
                </a:moveTo>
                <a:cubicBezTo>
                  <a:pt x="471175" y="600003"/>
                  <a:pt x="489513" y="618341"/>
                  <a:pt x="489513" y="640961"/>
                </a:cubicBezTo>
                <a:cubicBezTo>
                  <a:pt x="489513" y="663581"/>
                  <a:pt x="471175" y="681919"/>
                  <a:pt x="448555" y="681919"/>
                </a:cubicBezTo>
                <a:cubicBezTo>
                  <a:pt x="425935" y="681919"/>
                  <a:pt x="407597" y="663581"/>
                  <a:pt x="407597" y="640961"/>
                </a:cubicBezTo>
                <a:cubicBezTo>
                  <a:pt x="407597" y="618341"/>
                  <a:pt x="425935" y="600003"/>
                  <a:pt x="448555" y="600003"/>
                </a:cubicBezTo>
                <a:close/>
                <a:moveTo>
                  <a:pt x="306633" y="600003"/>
                </a:moveTo>
                <a:cubicBezTo>
                  <a:pt x="329253" y="600003"/>
                  <a:pt x="347591" y="618341"/>
                  <a:pt x="347591" y="640961"/>
                </a:cubicBezTo>
                <a:cubicBezTo>
                  <a:pt x="347591" y="663581"/>
                  <a:pt x="329253" y="681919"/>
                  <a:pt x="306633" y="681919"/>
                </a:cubicBezTo>
                <a:cubicBezTo>
                  <a:pt x="284013" y="681919"/>
                  <a:pt x="265675" y="663581"/>
                  <a:pt x="265675" y="640961"/>
                </a:cubicBezTo>
                <a:cubicBezTo>
                  <a:pt x="265675" y="618341"/>
                  <a:pt x="284013" y="600003"/>
                  <a:pt x="306633" y="600003"/>
                </a:cubicBezTo>
                <a:close/>
                <a:moveTo>
                  <a:pt x="164711" y="600003"/>
                </a:moveTo>
                <a:cubicBezTo>
                  <a:pt x="187331" y="600003"/>
                  <a:pt x="205669" y="618341"/>
                  <a:pt x="205669" y="640961"/>
                </a:cubicBezTo>
                <a:cubicBezTo>
                  <a:pt x="205669" y="663581"/>
                  <a:pt x="187331" y="681919"/>
                  <a:pt x="164711" y="681919"/>
                </a:cubicBezTo>
                <a:cubicBezTo>
                  <a:pt x="142091" y="681919"/>
                  <a:pt x="123753" y="663581"/>
                  <a:pt x="123753" y="640961"/>
                </a:cubicBezTo>
                <a:cubicBezTo>
                  <a:pt x="123753" y="618341"/>
                  <a:pt x="142091" y="600003"/>
                  <a:pt x="164711" y="600003"/>
                </a:cubicBezTo>
                <a:close/>
                <a:moveTo>
                  <a:pt x="22789" y="600003"/>
                </a:moveTo>
                <a:cubicBezTo>
                  <a:pt x="45409" y="600003"/>
                  <a:pt x="63747" y="618341"/>
                  <a:pt x="63747" y="640961"/>
                </a:cubicBezTo>
                <a:cubicBezTo>
                  <a:pt x="63747" y="663581"/>
                  <a:pt x="45409" y="681919"/>
                  <a:pt x="22789" y="681919"/>
                </a:cubicBezTo>
                <a:lnTo>
                  <a:pt x="0" y="672479"/>
                </a:lnTo>
                <a:lnTo>
                  <a:pt x="0" y="609443"/>
                </a:lnTo>
                <a:close/>
                <a:moveTo>
                  <a:pt x="590479" y="441888"/>
                </a:moveTo>
                <a:cubicBezTo>
                  <a:pt x="613099" y="441888"/>
                  <a:pt x="631437" y="460226"/>
                  <a:pt x="631437" y="482846"/>
                </a:cubicBezTo>
                <a:cubicBezTo>
                  <a:pt x="631437" y="505466"/>
                  <a:pt x="613099" y="523804"/>
                  <a:pt x="590479" y="523804"/>
                </a:cubicBezTo>
                <a:cubicBezTo>
                  <a:pt x="567859" y="523804"/>
                  <a:pt x="549521" y="505466"/>
                  <a:pt x="549521" y="482846"/>
                </a:cubicBezTo>
                <a:cubicBezTo>
                  <a:pt x="549521" y="460226"/>
                  <a:pt x="567859" y="441888"/>
                  <a:pt x="590479" y="441888"/>
                </a:cubicBezTo>
                <a:close/>
                <a:moveTo>
                  <a:pt x="448555" y="441888"/>
                </a:moveTo>
                <a:cubicBezTo>
                  <a:pt x="471175" y="441888"/>
                  <a:pt x="489513" y="460226"/>
                  <a:pt x="489513" y="482846"/>
                </a:cubicBezTo>
                <a:cubicBezTo>
                  <a:pt x="489513" y="505466"/>
                  <a:pt x="471175" y="523804"/>
                  <a:pt x="448555" y="523804"/>
                </a:cubicBezTo>
                <a:cubicBezTo>
                  <a:pt x="425935" y="523804"/>
                  <a:pt x="407597" y="505466"/>
                  <a:pt x="407597" y="482846"/>
                </a:cubicBezTo>
                <a:cubicBezTo>
                  <a:pt x="407597" y="460226"/>
                  <a:pt x="425935" y="441888"/>
                  <a:pt x="448555" y="441888"/>
                </a:cubicBezTo>
                <a:close/>
                <a:moveTo>
                  <a:pt x="306633" y="441888"/>
                </a:moveTo>
                <a:cubicBezTo>
                  <a:pt x="329253" y="441888"/>
                  <a:pt x="347591" y="460226"/>
                  <a:pt x="347591" y="482846"/>
                </a:cubicBezTo>
                <a:cubicBezTo>
                  <a:pt x="347591" y="505466"/>
                  <a:pt x="329253" y="523804"/>
                  <a:pt x="306633" y="523804"/>
                </a:cubicBezTo>
                <a:cubicBezTo>
                  <a:pt x="284013" y="523804"/>
                  <a:pt x="265675" y="505466"/>
                  <a:pt x="265675" y="482846"/>
                </a:cubicBezTo>
                <a:cubicBezTo>
                  <a:pt x="265675" y="460226"/>
                  <a:pt x="284013" y="441888"/>
                  <a:pt x="306633" y="441888"/>
                </a:cubicBezTo>
                <a:close/>
                <a:moveTo>
                  <a:pt x="164711" y="441888"/>
                </a:moveTo>
                <a:cubicBezTo>
                  <a:pt x="187331" y="441888"/>
                  <a:pt x="205669" y="460226"/>
                  <a:pt x="205669" y="482846"/>
                </a:cubicBezTo>
                <a:cubicBezTo>
                  <a:pt x="205669" y="505466"/>
                  <a:pt x="187331" y="523804"/>
                  <a:pt x="164711" y="523804"/>
                </a:cubicBezTo>
                <a:cubicBezTo>
                  <a:pt x="142091" y="523804"/>
                  <a:pt x="123753" y="505466"/>
                  <a:pt x="123753" y="482846"/>
                </a:cubicBezTo>
                <a:cubicBezTo>
                  <a:pt x="123753" y="460226"/>
                  <a:pt x="142091" y="441888"/>
                  <a:pt x="164711" y="441888"/>
                </a:cubicBezTo>
                <a:close/>
                <a:moveTo>
                  <a:pt x="22789" y="441888"/>
                </a:moveTo>
                <a:cubicBezTo>
                  <a:pt x="45409" y="441888"/>
                  <a:pt x="63747" y="460226"/>
                  <a:pt x="63747" y="482846"/>
                </a:cubicBezTo>
                <a:cubicBezTo>
                  <a:pt x="63747" y="505466"/>
                  <a:pt x="45409" y="523804"/>
                  <a:pt x="22789" y="523804"/>
                </a:cubicBezTo>
                <a:lnTo>
                  <a:pt x="0" y="514364"/>
                </a:lnTo>
                <a:lnTo>
                  <a:pt x="0" y="451328"/>
                </a:lnTo>
                <a:close/>
                <a:moveTo>
                  <a:pt x="590479" y="283773"/>
                </a:moveTo>
                <a:cubicBezTo>
                  <a:pt x="613099" y="283773"/>
                  <a:pt x="631437" y="302111"/>
                  <a:pt x="631437" y="324731"/>
                </a:cubicBezTo>
                <a:cubicBezTo>
                  <a:pt x="631437" y="347351"/>
                  <a:pt x="613099" y="365689"/>
                  <a:pt x="590479" y="365689"/>
                </a:cubicBezTo>
                <a:cubicBezTo>
                  <a:pt x="567859" y="365689"/>
                  <a:pt x="549521" y="347351"/>
                  <a:pt x="549521" y="324731"/>
                </a:cubicBezTo>
                <a:cubicBezTo>
                  <a:pt x="549521" y="302111"/>
                  <a:pt x="567859" y="283773"/>
                  <a:pt x="590479" y="283773"/>
                </a:cubicBezTo>
                <a:close/>
                <a:moveTo>
                  <a:pt x="448555" y="283773"/>
                </a:moveTo>
                <a:cubicBezTo>
                  <a:pt x="471175" y="283773"/>
                  <a:pt x="489513" y="302111"/>
                  <a:pt x="489513" y="324731"/>
                </a:cubicBezTo>
                <a:cubicBezTo>
                  <a:pt x="489513" y="347351"/>
                  <a:pt x="471175" y="365689"/>
                  <a:pt x="448555" y="365689"/>
                </a:cubicBezTo>
                <a:cubicBezTo>
                  <a:pt x="425935" y="365689"/>
                  <a:pt x="407597" y="347351"/>
                  <a:pt x="407597" y="324731"/>
                </a:cubicBezTo>
                <a:cubicBezTo>
                  <a:pt x="407597" y="302111"/>
                  <a:pt x="425935" y="283773"/>
                  <a:pt x="448555" y="283773"/>
                </a:cubicBezTo>
                <a:close/>
                <a:moveTo>
                  <a:pt x="306633" y="283773"/>
                </a:moveTo>
                <a:cubicBezTo>
                  <a:pt x="329253" y="283773"/>
                  <a:pt x="347591" y="302111"/>
                  <a:pt x="347591" y="324731"/>
                </a:cubicBezTo>
                <a:cubicBezTo>
                  <a:pt x="347591" y="347351"/>
                  <a:pt x="329253" y="365689"/>
                  <a:pt x="306633" y="365689"/>
                </a:cubicBezTo>
                <a:cubicBezTo>
                  <a:pt x="284013" y="365689"/>
                  <a:pt x="265675" y="347351"/>
                  <a:pt x="265675" y="324731"/>
                </a:cubicBezTo>
                <a:cubicBezTo>
                  <a:pt x="265675" y="302111"/>
                  <a:pt x="284013" y="283773"/>
                  <a:pt x="306633" y="283773"/>
                </a:cubicBezTo>
                <a:close/>
                <a:moveTo>
                  <a:pt x="164711" y="283773"/>
                </a:moveTo>
                <a:cubicBezTo>
                  <a:pt x="187331" y="283773"/>
                  <a:pt x="205669" y="302111"/>
                  <a:pt x="205669" y="324731"/>
                </a:cubicBezTo>
                <a:cubicBezTo>
                  <a:pt x="205669" y="347351"/>
                  <a:pt x="187331" y="365689"/>
                  <a:pt x="164711" y="365689"/>
                </a:cubicBezTo>
                <a:cubicBezTo>
                  <a:pt x="142091" y="365689"/>
                  <a:pt x="123753" y="347351"/>
                  <a:pt x="123753" y="324731"/>
                </a:cubicBezTo>
                <a:cubicBezTo>
                  <a:pt x="123753" y="302111"/>
                  <a:pt x="142091" y="283773"/>
                  <a:pt x="164711" y="283773"/>
                </a:cubicBezTo>
                <a:close/>
                <a:moveTo>
                  <a:pt x="22789" y="283773"/>
                </a:moveTo>
                <a:cubicBezTo>
                  <a:pt x="45409" y="283773"/>
                  <a:pt x="63747" y="302111"/>
                  <a:pt x="63747" y="324731"/>
                </a:cubicBezTo>
                <a:cubicBezTo>
                  <a:pt x="63747" y="347351"/>
                  <a:pt x="45409" y="365689"/>
                  <a:pt x="22789" y="365689"/>
                </a:cubicBezTo>
                <a:lnTo>
                  <a:pt x="0" y="356249"/>
                </a:lnTo>
                <a:lnTo>
                  <a:pt x="0" y="293213"/>
                </a:lnTo>
                <a:close/>
                <a:moveTo>
                  <a:pt x="448555" y="125658"/>
                </a:moveTo>
                <a:cubicBezTo>
                  <a:pt x="471175" y="125658"/>
                  <a:pt x="489513" y="143996"/>
                  <a:pt x="489513" y="166616"/>
                </a:cubicBezTo>
                <a:cubicBezTo>
                  <a:pt x="489513" y="189236"/>
                  <a:pt x="471175" y="207574"/>
                  <a:pt x="448555" y="207574"/>
                </a:cubicBezTo>
                <a:cubicBezTo>
                  <a:pt x="425935" y="207574"/>
                  <a:pt x="407597" y="189236"/>
                  <a:pt x="407597" y="166616"/>
                </a:cubicBezTo>
                <a:cubicBezTo>
                  <a:pt x="407597" y="143996"/>
                  <a:pt x="425935" y="125658"/>
                  <a:pt x="448555" y="125658"/>
                </a:cubicBezTo>
                <a:close/>
                <a:moveTo>
                  <a:pt x="306633" y="125658"/>
                </a:moveTo>
                <a:cubicBezTo>
                  <a:pt x="329253" y="125658"/>
                  <a:pt x="347591" y="143996"/>
                  <a:pt x="347591" y="166616"/>
                </a:cubicBezTo>
                <a:cubicBezTo>
                  <a:pt x="347591" y="189236"/>
                  <a:pt x="329253" y="207574"/>
                  <a:pt x="306633" y="207574"/>
                </a:cubicBezTo>
                <a:cubicBezTo>
                  <a:pt x="284013" y="207574"/>
                  <a:pt x="265675" y="189236"/>
                  <a:pt x="265675" y="166616"/>
                </a:cubicBezTo>
                <a:cubicBezTo>
                  <a:pt x="265675" y="143996"/>
                  <a:pt x="284013" y="125658"/>
                  <a:pt x="306633" y="125658"/>
                </a:cubicBezTo>
                <a:close/>
                <a:moveTo>
                  <a:pt x="164711" y="125658"/>
                </a:moveTo>
                <a:cubicBezTo>
                  <a:pt x="187331" y="125658"/>
                  <a:pt x="205669" y="143996"/>
                  <a:pt x="205669" y="166616"/>
                </a:cubicBezTo>
                <a:cubicBezTo>
                  <a:pt x="205669" y="189236"/>
                  <a:pt x="187331" y="207574"/>
                  <a:pt x="164711" y="207574"/>
                </a:cubicBezTo>
                <a:cubicBezTo>
                  <a:pt x="142091" y="207574"/>
                  <a:pt x="123753" y="189236"/>
                  <a:pt x="123753" y="166616"/>
                </a:cubicBezTo>
                <a:cubicBezTo>
                  <a:pt x="123753" y="143996"/>
                  <a:pt x="142091" y="125658"/>
                  <a:pt x="164711" y="125658"/>
                </a:cubicBezTo>
                <a:close/>
                <a:moveTo>
                  <a:pt x="22789" y="125658"/>
                </a:moveTo>
                <a:cubicBezTo>
                  <a:pt x="45409" y="125658"/>
                  <a:pt x="63747" y="143996"/>
                  <a:pt x="63747" y="166616"/>
                </a:cubicBezTo>
                <a:cubicBezTo>
                  <a:pt x="63747" y="189236"/>
                  <a:pt x="45409" y="207574"/>
                  <a:pt x="22789" y="207574"/>
                </a:cubicBezTo>
                <a:lnTo>
                  <a:pt x="0" y="198134"/>
                </a:lnTo>
                <a:lnTo>
                  <a:pt x="0" y="135098"/>
                </a:lnTo>
                <a:close/>
                <a:moveTo>
                  <a:pt x="590479" y="125658"/>
                </a:moveTo>
                <a:cubicBezTo>
                  <a:pt x="613099" y="125658"/>
                  <a:pt x="631437" y="143996"/>
                  <a:pt x="631437" y="166616"/>
                </a:cubicBezTo>
                <a:cubicBezTo>
                  <a:pt x="631437" y="189236"/>
                  <a:pt x="613099" y="207574"/>
                  <a:pt x="590479" y="207574"/>
                </a:cubicBezTo>
                <a:cubicBezTo>
                  <a:pt x="567859" y="207574"/>
                  <a:pt x="549521" y="189236"/>
                  <a:pt x="549521" y="166616"/>
                </a:cubicBezTo>
                <a:cubicBezTo>
                  <a:pt x="549521" y="143996"/>
                  <a:pt x="567859" y="125658"/>
                  <a:pt x="590479" y="125658"/>
                </a:cubicBezTo>
                <a:close/>
                <a:moveTo>
                  <a:pt x="553042" y="0"/>
                </a:moveTo>
                <a:lnTo>
                  <a:pt x="627916" y="0"/>
                </a:lnTo>
                <a:lnTo>
                  <a:pt x="631437" y="8501"/>
                </a:lnTo>
                <a:cubicBezTo>
                  <a:pt x="631437" y="31121"/>
                  <a:pt x="613099" y="49459"/>
                  <a:pt x="590479" y="49459"/>
                </a:cubicBezTo>
                <a:cubicBezTo>
                  <a:pt x="567859" y="49459"/>
                  <a:pt x="549521" y="31121"/>
                  <a:pt x="549521" y="8501"/>
                </a:cubicBezTo>
                <a:close/>
                <a:moveTo>
                  <a:pt x="411118" y="0"/>
                </a:moveTo>
                <a:lnTo>
                  <a:pt x="485992" y="0"/>
                </a:lnTo>
                <a:lnTo>
                  <a:pt x="489513" y="8501"/>
                </a:lnTo>
                <a:cubicBezTo>
                  <a:pt x="489513" y="31121"/>
                  <a:pt x="471175" y="49459"/>
                  <a:pt x="448555" y="49459"/>
                </a:cubicBezTo>
                <a:cubicBezTo>
                  <a:pt x="425935" y="49459"/>
                  <a:pt x="407597" y="31121"/>
                  <a:pt x="407597" y="8501"/>
                </a:cubicBezTo>
                <a:close/>
                <a:moveTo>
                  <a:pt x="269196" y="0"/>
                </a:moveTo>
                <a:lnTo>
                  <a:pt x="344070" y="0"/>
                </a:lnTo>
                <a:lnTo>
                  <a:pt x="347591" y="8501"/>
                </a:lnTo>
                <a:cubicBezTo>
                  <a:pt x="347591" y="31121"/>
                  <a:pt x="329253" y="49459"/>
                  <a:pt x="306633" y="49459"/>
                </a:cubicBezTo>
                <a:cubicBezTo>
                  <a:pt x="284013" y="49459"/>
                  <a:pt x="265675" y="31121"/>
                  <a:pt x="265675" y="8501"/>
                </a:cubicBezTo>
                <a:close/>
                <a:moveTo>
                  <a:pt x="127274" y="0"/>
                </a:moveTo>
                <a:lnTo>
                  <a:pt x="202148" y="0"/>
                </a:lnTo>
                <a:lnTo>
                  <a:pt x="205669" y="8501"/>
                </a:lnTo>
                <a:cubicBezTo>
                  <a:pt x="205669" y="31121"/>
                  <a:pt x="187331" y="49459"/>
                  <a:pt x="164711" y="49459"/>
                </a:cubicBezTo>
                <a:cubicBezTo>
                  <a:pt x="142091" y="49459"/>
                  <a:pt x="123753" y="31121"/>
                  <a:pt x="123753" y="8501"/>
                </a:cubicBezTo>
                <a:close/>
                <a:moveTo>
                  <a:pt x="0" y="0"/>
                </a:moveTo>
                <a:lnTo>
                  <a:pt x="60226" y="0"/>
                </a:lnTo>
                <a:lnTo>
                  <a:pt x="63747" y="8501"/>
                </a:lnTo>
                <a:cubicBezTo>
                  <a:pt x="63747" y="31121"/>
                  <a:pt x="45409" y="49459"/>
                  <a:pt x="22789" y="49459"/>
                </a:cubicBezTo>
                <a:lnTo>
                  <a:pt x="0" y="40019"/>
                </a:lnTo>
                <a:close/>
              </a:path>
            </a:pathLst>
          </a:custGeom>
          <a:gradFill flip="none" rotWithShape="1">
            <a:gsLst>
              <a:gs pos="6000">
                <a:srgbClr val="FE832C"/>
              </a:gs>
              <a:gs pos="61000">
                <a:srgbClr val="FFCEAB"/>
              </a:gs>
              <a:gs pos="0">
                <a:srgbClr val="EA5504"/>
              </a:gs>
              <a:gs pos="100000">
                <a:srgbClr val="FBE9D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grpSp>
        <p:nvGrpSpPr>
          <p:cNvPr id="14" name="组合 13"/>
          <p:cNvGrpSpPr/>
          <p:nvPr userDrawn="1"/>
        </p:nvGrpSpPr>
        <p:grpSpPr>
          <a:xfrm>
            <a:off x="741424" y="571834"/>
            <a:ext cx="2812005" cy="468667"/>
            <a:chOff x="660400" y="492126"/>
            <a:chExt cx="3257550" cy="542924"/>
          </a:xfrm>
        </p:grpSpPr>
        <p:sp>
          <p:nvSpPr>
            <p:cNvPr id="15" name="Freeform 5"/>
            <p:cNvSpPr>
              <a:spLocks noEditPoints="1"/>
            </p:cNvSpPr>
            <p:nvPr/>
          </p:nvSpPr>
          <p:spPr bwMode="auto">
            <a:xfrm>
              <a:off x="660400" y="492126"/>
              <a:ext cx="3257550" cy="285750"/>
            </a:xfrm>
            <a:custGeom>
              <a:avLst/>
              <a:gdLst>
                <a:gd name="T0" fmla="*/ 1282 w 1998"/>
                <a:gd name="T1" fmla="*/ 16 h 174"/>
                <a:gd name="T2" fmla="*/ 1247 w 1998"/>
                <a:gd name="T3" fmla="*/ 166 h 174"/>
                <a:gd name="T4" fmla="*/ 1376 w 1998"/>
                <a:gd name="T5" fmla="*/ 167 h 174"/>
                <a:gd name="T6" fmla="*/ 1409 w 1998"/>
                <a:gd name="T7" fmla="*/ 17 h 174"/>
                <a:gd name="T8" fmla="*/ 1184 w 1998"/>
                <a:gd name="T9" fmla="*/ 166 h 174"/>
                <a:gd name="T10" fmla="*/ 1214 w 1998"/>
                <a:gd name="T11" fmla="*/ 13 h 174"/>
                <a:gd name="T12" fmla="*/ 1122 w 1998"/>
                <a:gd name="T13" fmla="*/ 41 h 174"/>
                <a:gd name="T14" fmla="*/ 1007 w 1998"/>
                <a:gd name="T15" fmla="*/ 17 h 174"/>
                <a:gd name="T16" fmla="*/ 1042 w 1998"/>
                <a:gd name="T17" fmla="*/ 122 h 174"/>
                <a:gd name="T18" fmla="*/ 1994 w 1998"/>
                <a:gd name="T19" fmla="*/ 13 h 174"/>
                <a:gd name="T20" fmla="*/ 1863 w 1998"/>
                <a:gd name="T21" fmla="*/ 13 h 174"/>
                <a:gd name="T22" fmla="*/ 1840 w 1998"/>
                <a:gd name="T23" fmla="*/ 170 h 174"/>
                <a:gd name="T24" fmla="*/ 1971 w 1998"/>
                <a:gd name="T25" fmla="*/ 170 h 174"/>
                <a:gd name="T26" fmla="*/ 1994 w 1998"/>
                <a:gd name="T27" fmla="*/ 13 h 174"/>
                <a:gd name="T28" fmla="*/ 1488 w 1998"/>
                <a:gd name="T29" fmla="*/ 172 h 174"/>
                <a:gd name="T30" fmla="*/ 1513 w 1998"/>
                <a:gd name="T31" fmla="*/ 104 h 174"/>
                <a:gd name="T32" fmla="*/ 1471 w 1998"/>
                <a:gd name="T33" fmla="*/ 142 h 174"/>
                <a:gd name="T34" fmla="*/ 1562 w 1998"/>
                <a:gd name="T35" fmla="*/ 44 h 174"/>
                <a:gd name="T36" fmla="*/ 1596 w 1998"/>
                <a:gd name="T37" fmla="*/ 58 h 174"/>
                <a:gd name="T38" fmla="*/ 767 w 1998"/>
                <a:gd name="T39" fmla="*/ 112 h 174"/>
                <a:gd name="T40" fmla="*/ 894 w 1998"/>
                <a:gd name="T41" fmla="*/ 65 h 174"/>
                <a:gd name="T42" fmla="*/ 832 w 1998"/>
                <a:gd name="T43" fmla="*/ 51 h 174"/>
                <a:gd name="T44" fmla="*/ 731 w 1998"/>
                <a:gd name="T45" fmla="*/ 48 h 174"/>
                <a:gd name="T46" fmla="*/ 692 w 1998"/>
                <a:gd name="T47" fmla="*/ 85 h 174"/>
                <a:gd name="T48" fmla="*/ 767 w 1998"/>
                <a:gd name="T49" fmla="*/ 138 h 174"/>
                <a:gd name="T50" fmla="*/ 700 w 1998"/>
                <a:gd name="T51" fmla="*/ 170 h 174"/>
                <a:gd name="T52" fmla="*/ 859 w 1998"/>
                <a:gd name="T53" fmla="*/ 170 h 174"/>
                <a:gd name="T54" fmla="*/ 859 w 1998"/>
                <a:gd name="T55" fmla="*/ 146 h 174"/>
                <a:gd name="T56" fmla="*/ 894 w 1998"/>
                <a:gd name="T57" fmla="*/ 89 h 174"/>
                <a:gd name="T58" fmla="*/ 1740 w 1998"/>
                <a:gd name="T59" fmla="*/ 13 h 174"/>
                <a:gd name="T60" fmla="*/ 1663 w 1998"/>
                <a:gd name="T61" fmla="*/ 170 h 174"/>
                <a:gd name="T62" fmla="*/ 1816 w 1998"/>
                <a:gd name="T63" fmla="*/ 170 h 174"/>
                <a:gd name="T64" fmla="*/ 597 w 1998"/>
                <a:gd name="T65" fmla="*/ 98 h 174"/>
                <a:gd name="T66" fmla="*/ 654 w 1998"/>
                <a:gd name="T67" fmla="*/ 46 h 174"/>
                <a:gd name="T68" fmla="*/ 416 w 1998"/>
                <a:gd name="T69" fmla="*/ 28 h 174"/>
                <a:gd name="T70" fmla="*/ 239 w 1998"/>
                <a:gd name="T71" fmla="*/ 148 h 174"/>
                <a:gd name="T72" fmla="*/ 423 w 1998"/>
                <a:gd name="T73" fmla="*/ 6 h 174"/>
                <a:gd name="T74" fmla="*/ 872 w 1998"/>
                <a:gd name="T75" fmla="*/ 34 h 174"/>
                <a:gd name="T76" fmla="*/ 897 w 1998"/>
                <a:gd name="T77" fmla="*/ 32 h 174"/>
                <a:gd name="T78" fmla="*/ 782 w 1998"/>
                <a:gd name="T79" fmla="*/ 0 h 174"/>
                <a:gd name="T80" fmla="*/ 693 w 1998"/>
                <a:gd name="T81" fmla="*/ 45 h 174"/>
                <a:gd name="T82" fmla="*/ 179 w 1998"/>
                <a:gd name="T83" fmla="*/ 49 h 174"/>
                <a:gd name="T84" fmla="*/ 88 w 1998"/>
                <a:gd name="T85" fmla="*/ 49 h 174"/>
                <a:gd name="T86" fmla="*/ 118 w 1998"/>
                <a:gd name="T87" fmla="*/ 1 h 174"/>
                <a:gd name="T88" fmla="*/ 0 w 1998"/>
                <a:gd name="T89" fmla="*/ 46 h 174"/>
                <a:gd name="T90" fmla="*/ 91 w 1998"/>
                <a:gd name="T91" fmla="*/ 174 h 174"/>
                <a:gd name="T92" fmla="*/ 210 w 1998"/>
                <a:gd name="T93" fmla="*/ 118 h 174"/>
                <a:gd name="T94" fmla="*/ 379 w 1998"/>
                <a:gd name="T95" fmla="*/ 112 h 174"/>
                <a:gd name="T96" fmla="*/ 357 w 1998"/>
                <a:gd name="T97" fmla="*/ 75 h 174"/>
                <a:gd name="T98" fmla="*/ 284 w 1998"/>
                <a:gd name="T99" fmla="*/ 61 h 174"/>
                <a:gd name="T100" fmla="*/ 328 w 1998"/>
                <a:gd name="T101" fmla="*/ 93 h 174"/>
                <a:gd name="T102" fmla="*/ 401 w 1998"/>
                <a:gd name="T103" fmla="*/ 104 h 174"/>
                <a:gd name="T104" fmla="*/ 512 w 1998"/>
                <a:gd name="T105" fmla="*/ 46 h 174"/>
                <a:gd name="T106" fmla="*/ 669 w 1998"/>
                <a:gd name="T107" fmla="*/ 115 h 174"/>
                <a:gd name="T108" fmla="*/ 666 w 1998"/>
                <a:gd name="T109" fmla="*/ 14 h 174"/>
                <a:gd name="T110" fmla="*/ 479 w 1998"/>
                <a:gd name="T111" fmla="*/ 33 h 174"/>
                <a:gd name="T112" fmla="*/ 469 w 1998"/>
                <a:gd name="T113" fmla="*/ 135 h 174"/>
                <a:gd name="T114" fmla="*/ 583 w 1998"/>
                <a:gd name="T115" fmla="*/ 174 h 174"/>
                <a:gd name="T116" fmla="*/ 673 w 1998"/>
                <a:gd name="T117" fmla="*/ 119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98" h="174">
                  <a:moveTo>
                    <a:pt x="1405" y="13"/>
                  </a:moveTo>
                  <a:cubicBezTo>
                    <a:pt x="1382" y="13"/>
                    <a:pt x="1382" y="13"/>
                    <a:pt x="1382" y="13"/>
                  </a:cubicBezTo>
                  <a:cubicBezTo>
                    <a:pt x="1379" y="13"/>
                    <a:pt x="1378" y="15"/>
                    <a:pt x="1378" y="17"/>
                  </a:cubicBezTo>
                  <a:cubicBezTo>
                    <a:pt x="1378" y="125"/>
                    <a:pt x="1378" y="125"/>
                    <a:pt x="1378" y="125"/>
                  </a:cubicBezTo>
                  <a:cubicBezTo>
                    <a:pt x="1365" y="111"/>
                    <a:pt x="1284" y="18"/>
                    <a:pt x="1282" y="16"/>
                  </a:cubicBezTo>
                  <a:cubicBezTo>
                    <a:pt x="1279" y="13"/>
                    <a:pt x="1276" y="13"/>
                    <a:pt x="1275" y="13"/>
                  </a:cubicBezTo>
                  <a:cubicBezTo>
                    <a:pt x="1275" y="13"/>
                    <a:pt x="1275" y="13"/>
                    <a:pt x="1275" y="13"/>
                  </a:cubicBezTo>
                  <a:cubicBezTo>
                    <a:pt x="1251" y="13"/>
                    <a:pt x="1251" y="13"/>
                    <a:pt x="1251" y="13"/>
                  </a:cubicBezTo>
                  <a:cubicBezTo>
                    <a:pt x="1249" y="13"/>
                    <a:pt x="1247" y="15"/>
                    <a:pt x="1247" y="17"/>
                  </a:cubicBezTo>
                  <a:cubicBezTo>
                    <a:pt x="1247" y="166"/>
                    <a:pt x="1247" y="166"/>
                    <a:pt x="1247" y="166"/>
                  </a:cubicBezTo>
                  <a:cubicBezTo>
                    <a:pt x="1247" y="168"/>
                    <a:pt x="1249" y="170"/>
                    <a:pt x="1251" y="170"/>
                  </a:cubicBezTo>
                  <a:cubicBezTo>
                    <a:pt x="1275" y="170"/>
                    <a:pt x="1275" y="170"/>
                    <a:pt x="1275" y="170"/>
                  </a:cubicBezTo>
                  <a:cubicBezTo>
                    <a:pt x="1277" y="170"/>
                    <a:pt x="1279" y="168"/>
                    <a:pt x="1279" y="166"/>
                  </a:cubicBezTo>
                  <a:cubicBezTo>
                    <a:pt x="1279" y="57"/>
                    <a:pt x="1279" y="57"/>
                    <a:pt x="1279" y="57"/>
                  </a:cubicBezTo>
                  <a:cubicBezTo>
                    <a:pt x="1287" y="67"/>
                    <a:pt x="1373" y="165"/>
                    <a:pt x="1376" y="167"/>
                  </a:cubicBezTo>
                  <a:cubicBezTo>
                    <a:pt x="1378" y="169"/>
                    <a:pt x="1381" y="170"/>
                    <a:pt x="1383" y="170"/>
                  </a:cubicBezTo>
                  <a:cubicBezTo>
                    <a:pt x="1383" y="170"/>
                    <a:pt x="1383" y="170"/>
                    <a:pt x="1383" y="170"/>
                  </a:cubicBezTo>
                  <a:cubicBezTo>
                    <a:pt x="1405" y="170"/>
                    <a:pt x="1405" y="170"/>
                    <a:pt x="1405" y="170"/>
                  </a:cubicBezTo>
                  <a:cubicBezTo>
                    <a:pt x="1407" y="170"/>
                    <a:pt x="1409" y="168"/>
                    <a:pt x="1409" y="166"/>
                  </a:cubicBezTo>
                  <a:cubicBezTo>
                    <a:pt x="1409" y="17"/>
                    <a:pt x="1409" y="17"/>
                    <a:pt x="1409" y="17"/>
                  </a:cubicBezTo>
                  <a:cubicBezTo>
                    <a:pt x="1409" y="15"/>
                    <a:pt x="1407" y="13"/>
                    <a:pt x="1405" y="13"/>
                  </a:cubicBezTo>
                  <a:moveTo>
                    <a:pt x="1214" y="13"/>
                  </a:moveTo>
                  <a:cubicBezTo>
                    <a:pt x="1188" y="13"/>
                    <a:pt x="1188" y="13"/>
                    <a:pt x="1188" y="13"/>
                  </a:cubicBezTo>
                  <a:cubicBezTo>
                    <a:pt x="1186" y="13"/>
                    <a:pt x="1184" y="15"/>
                    <a:pt x="1184" y="17"/>
                  </a:cubicBezTo>
                  <a:cubicBezTo>
                    <a:pt x="1184" y="166"/>
                    <a:pt x="1184" y="166"/>
                    <a:pt x="1184" y="166"/>
                  </a:cubicBezTo>
                  <a:cubicBezTo>
                    <a:pt x="1184" y="168"/>
                    <a:pt x="1186" y="170"/>
                    <a:pt x="1188" y="170"/>
                  </a:cubicBezTo>
                  <a:cubicBezTo>
                    <a:pt x="1214" y="170"/>
                    <a:pt x="1214" y="170"/>
                    <a:pt x="1214" y="170"/>
                  </a:cubicBezTo>
                  <a:cubicBezTo>
                    <a:pt x="1216" y="170"/>
                    <a:pt x="1218" y="168"/>
                    <a:pt x="1218" y="166"/>
                  </a:cubicBezTo>
                  <a:cubicBezTo>
                    <a:pt x="1218" y="17"/>
                    <a:pt x="1218" y="17"/>
                    <a:pt x="1218" y="17"/>
                  </a:cubicBezTo>
                  <a:cubicBezTo>
                    <a:pt x="1218" y="15"/>
                    <a:pt x="1216" y="13"/>
                    <a:pt x="1214" y="13"/>
                  </a:cubicBezTo>
                  <a:moveTo>
                    <a:pt x="1125" y="91"/>
                  </a:moveTo>
                  <a:cubicBezTo>
                    <a:pt x="1125" y="93"/>
                    <a:pt x="1124" y="94"/>
                    <a:pt x="1122" y="94"/>
                  </a:cubicBezTo>
                  <a:cubicBezTo>
                    <a:pt x="1042" y="94"/>
                    <a:pt x="1042" y="94"/>
                    <a:pt x="1042" y="94"/>
                  </a:cubicBezTo>
                  <a:cubicBezTo>
                    <a:pt x="1042" y="41"/>
                    <a:pt x="1042" y="41"/>
                    <a:pt x="1042" y="41"/>
                  </a:cubicBezTo>
                  <a:cubicBezTo>
                    <a:pt x="1122" y="41"/>
                    <a:pt x="1122" y="41"/>
                    <a:pt x="1122" y="41"/>
                  </a:cubicBezTo>
                  <a:cubicBezTo>
                    <a:pt x="1124" y="41"/>
                    <a:pt x="1125" y="42"/>
                    <a:pt x="1125" y="44"/>
                  </a:cubicBezTo>
                  <a:lnTo>
                    <a:pt x="1125" y="91"/>
                  </a:lnTo>
                  <a:close/>
                  <a:moveTo>
                    <a:pt x="1108" y="13"/>
                  </a:moveTo>
                  <a:cubicBezTo>
                    <a:pt x="1011" y="13"/>
                    <a:pt x="1011" y="13"/>
                    <a:pt x="1011" y="13"/>
                  </a:cubicBezTo>
                  <a:cubicBezTo>
                    <a:pt x="1009" y="13"/>
                    <a:pt x="1007" y="15"/>
                    <a:pt x="1007" y="17"/>
                  </a:cubicBezTo>
                  <a:cubicBezTo>
                    <a:pt x="1007" y="166"/>
                    <a:pt x="1007" y="166"/>
                    <a:pt x="1007" y="166"/>
                  </a:cubicBezTo>
                  <a:cubicBezTo>
                    <a:pt x="1007" y="168"/>
                    <a:pt x="1009" y="170"/>
                    <a:pt x="1011" y="170"/>
                  </a:cubicBezTo>
                  <a:cubicBezTo>
                    <a:pt x="1038" y="170"/>
                    <a:pt x="1038" y="170"/>
                    <a:pt x="1038" y="170"/>
                  </a:cubicBezTo>
                  <a:cubicBezTo>
                    <a:pt x="1040" y="170"/>
                    <a:pt x="1042" y="168"/>
                    <a:pt x="1042" y="166"/>
                  </a:cubicBezTo>
                  <a:cubicBezTo>
                    <a:pt x="1042" y="122"/>
                    <a:pt x="1042" y="122"/>
                    <a:pt x="1042" y="122"/>
                  </a:cubicBezTo>
                  <a:cubicBezTo>
                    <a:pt x="1108" y="122"/>
                    <a:pt x="1108" y="122"/>
                    <a:pt x="1108" y="122"/>
                  </a:cubicBezTo>
                  <a:cubicBezTo>
                    <a:pt x="1137" y="122"/>
                    <a:pt x="1161" y="104"/>
                    <a:pt x="1161" y="78"/>
                  </a:cubicBezTo>
                  <a:cubicBezTo>
                    <a:pt x="1161" y="61"/>
                    <a:pt x="1161" y="61"/>
                    <a:pt x="1161" y="61"/>
                  </a:cubicBezTo>
                  <a:cubicBezTo>
                    <a:pt x="1161" y="34"/>
                    <a:pt x="1137" y="13"/>
                    <a:pt x="1108" y="13"/>
                  </a:cubicBezTo>
                  <a:moveTo>
                    <a:pt x="1994" y="13"/>
                  </a:moveTo>
                  <a:cubicBezTo>
                    <a:pt x="1970" y="13"/>
                    <a:pt x="1970" y="13"/>
                    <a:pt x="1970" y="13"/>
                  </a:cubicBezTo>
                  <a:cubicBezTo>
                    <a:pt x="1968" y="13"/>
                    <a:pt x="1967" y="15"/>
                    <a:pt x="1967" y="17"/>
                  </a:cubicBezTo>
                  <a:cubicBezTo>
                    <a:pt x="1967" y="125"/>
                    <a:pt x="1967" y="125"/>
                    <a:pt x="1967" y="125"/>
                  </a:cubicBezTo>
                  <a:cubicBezTo>
                    <a:pt x="1954" y="111"/>
                    <a:pt x="1872" y="18"/>
                    <a:pt x="1870" y="16"/>
                  </a:cubicBezTo>
                  <a:cubicBezTo>
                    <a:pt x="1868" y="13"/>
                    <a:pt x="1865" y="13"/>
                    <a:pt x="1863" y="13"/>
                  </a:cubicBezTo>
                  <a:cubicBezTo>
                    <a:pt x="1863" y="13"/>
                    <a:pt x="1863" y="13"/>
                    <a:pt x="1863" y="13"/>
                  </a:cubicBezTo>
                  <a:cubicBezTo>
                    <a:pt x="1840" y="13"/>
                    <a:pt x="1840" y="13"/>
                    <a:pt x="1840" y="13"/>
                  </a:cubicBezTo>
                  <a:cubicBezTo>
                    <a:pt x="1838" y="13"/>
                    <a:pt x="1836" y="15"/>
                    <a:pt x="1836" y="17"/>
                  </a:cubicBezTo>
                  <a:cubicBezTo>
                    <a:pt x="1836" y="166"/>
                    <a:pt x="1836" y="166"/>
                    <a:pt x="1836" y="166"/>
                  </a:cubicBezTo>
                  <a:cubicBezTo>
                    <a:pt x="1836" y="168"/>
                    <a:pt x="1838" y="170"/>
                    <a:pt x="1840" y="170"/>
                  </a:cubicBezTo>
                  <a:cubicBezTo>
                    <a:pt x="1864" y="170"/>
                    <a:pt x="1864" y="170"/>
                    <a:pt x="1864" y="170"/>
                  </a:cubicBezTo>
                  <a:cubicBezTo>
                    <a:pt x="1866" y="170"/>
                    <a:pt x="1867" y="168"/>
                    <a:pt x="1867" y="166"/>
                  </a:cubicBezTo>
                  <a:cubicBezTo>
                    <a:pt x="1867" y="57"/>
                    <a:pt x="1867" y="57"/>
                    <a:pt x="1867" y="57"/>
                  </a:cubicBezTo>
                  <a:cubicBezTo>
                    <a:pt x="1876" y="67"/>
                    <a:pt x="1962" y="165"/>
                    <a:pt x="1964" y="167"/>
                  </a:cubicBezTo>
                  <a:cubicBezTo>
                    <a:pt x="1967" y="169"/>
                    <a:pt x="1969" y="170"/>
                    <a:pt x="1971" y="170"/>
                  </a:cubicBezTo>
                  <a:cubicBezTo>
                    <a:pt x="1971" y="170"/>
                    <a:pt x="1971" y="170"/>
                    <a:pt x="1971" y="170"/>
                  </a:cubicBezTo>
                  <a:cubicBezTo>
                    <a:pt x="1994" y="170"/>
                    <a:pt x="1994" y="170"/>
                    <a:pt x="1994" y="170"/>
                  </a:cubicBezTo>
                  <a:cubicBezTo>
                    <a:pt x="1996" y="170"/>
                    <a:pt x="1998" y="168"/>
                    <a:pt x="1998" y="166"/>
                  </a:cubicBezTo>
                  <a:cubicBezTo>
                    <a:pt x="1998" y="17"/>
                    <a:pt x="1998" y="17"/>
                    <a:pt x="1998" y="17"/>
                  </a:cubicBezTo>
                  <a:cubicBezTo>
                    <a:pt x="1998" y="15"/>
                    <a:pt x="1996" y="13"/>
                    <a:pt x="1994" y="13"/>
                  </a:cubicBezTo>
                  <a:moveTo>
                    <a:pt x="1542" y="11"/>
                  </a:moveTo>
                  <a:cubicBezTo>
                    <a:pt x="1488" y="11"/>
                    <a:pt x="1488" y="11"/>
                    <a:pt x="1488" y="11"/>
                  </a:cubicBezTo>
                  <a:cubicBezTo>
                    <a:pt x="1458" y="11"/>
                    <a:pt x="1434" y="32"/>
                    <a:pt x="1434" y="58"/>
                  </a:cubicBezTo>
                  <a:cubicBezTo>
                    <a:pt x="1434" y="124"/>
                    <a:pt x="1434" y="124"/>
                    <a:pt x="1434" y="124"/>
                  </a:cubicBezTo>
                  <a:cubicBezTo>
                    <a:pt x="1434" y="150"/>
                    <a:pt x="1458" y="172"/>
                    <a:pt x="1488" y="172"/>
                  </a:cubicBezTo>
                  <a:cubicBezTo>
                    <a:pt x="1542" y="172"/>
                    <a:pt x="1542" y="172"/>
                    <a:pt x="1542" y="172"/>
                  </a:cubicBezTo>
                  <a:cubicBezTo>
                    <a:pt x="1572" y="172"/>
                    <a:pt x="1596" y="150"/>
                    <a:pt x="1596" y="124"/>
                  </a:cubicBezTo>
                  <a:cubicBezTo>
                    <a:pt x="1596" y="82"/>
                    <a:pt x="1596" y="82"/>
                    <a:pt x="1596" y="82"/>
                  </a:cubicBezTo>
                  <a:cubicBezTo>
                    <a:pt x="1513" y="82"/>
                    <a:pt x="1513" y="82"/>
                    <a:pt x="1513" y="82"/>
                  </a:cubicBezTo>
                  <a:cubicBezTo>
                    <a:pt x="1513" y="104"/>
                    <a:pt x="1513" y="104"/>
                    <a:pt x="1513" y="104"/>
                  </a:cubicBezTo>
                  <a:cubicBezTo>
                    <a:pt x="1513" y="106"/>
                    <a:pt x="1515" y="108"/>
                    <a:pt x="1517" y="108"/>
                  </a:cubicBezTo>
                  <a:cubicBezTo>
                    <a:pt x="1562" y="108"/>
                    <a:pt x="1562" y="108"/>
                    <a:pt x="1562" y="108"/>
                  </a:cubicBezTo>
                  <a:cubicBezTo>
                    <a:pt x="1562" y="138"/>
                    <a:pt x="1562" y="138"/>
                    <a:pt x="1562" y="138"/>
                  </a:cubicBezTo>
                  <a:cubicBezTo>
                    <a:pt x="1562" y="140"/>
                    <a:pt x="1560" y="142"/>
                    <a:pt x="1558" y="142"/>
                  </a:cubicBezTo>
                  <a:cubicBezTo>
                    <a:pt x="1471" y="142"/>
                    <a:pt x="1471" y="142"/>
                    <a:pt x="1471" y="142"/>
                  </a:cubicBezTo>
                  <a:cubicBezTo>
                    <a:pt x="1469" y="142"/>
                    <a:pt x="1468" y="140"/>
                    <a:pt x="1468" y="138"/>
                  </a:cubicBezTo>
                  <a:cubicBezTo>
                    <a:pt x="1468" y="44"/>
                    <a:pt x="1468" y="44"/>
                    <a:pt x="1468" y="44"/>
                  </a:cubicBezTo>
                  <a:cubicBezTo>
                    <a:pt x="1468" y="42"/>
                    <a:pt x="1469" y="41"/>
                    <a:pt x="1471" y="41"/>
                  </a:cubicBezTo>
                  <a:cubicBezTo>
                    <a:pt x="1558" y="41"/>
                    <a:pt x="1558" y="41"/>
                    <a:pt x="1558" y="41"/>
                  </a:cubicBezTo>
                  <a:cubicBezTo>
                    <a:pt x="1560" y="41"/>
                    <a:pt x="1562" y="42"/>
                    <a:pt x="1562" y="44"/>
                  </a:cubicBezTo>
                  <a:cubicBezTo>
                    <a:pt x="1562" y="62"/>
                    <a:pt x="1562" y="62"/>
                    <a:pt x="1562" y="62"/>
                  </a:cubicBezTo>
                  <a:cubicBezTo>
                    <a:pt x="1562" y="64"/>
                    <a:pt x="1564" y="66"/>
                    <a:pt x="1566" y="66"/>
                  </a:cubicBezTo>
                  <a:cubicBezTo>
                    <a:pt x="1592" y="66"/>
                    <a:pt x="1592" y="66"/>
                    <a:pt x="1592" y="66"/>
                  </a:cubicBezTo>
                  <a:cubicBezTo>
                    <a:pt x="1594" y="66"/>
                    <a:pt x="1596" y="64"/>
                    <a:pt x="1596" y="62"/>
                  </a:cubicBezTo>
                  <a:cubicBezTo>
                    <a:pt x="1596" y="58"/>
                    <a:pt x="1596" y="58"/>
                    <a:pt x="1596" y="58"/>
                  </a:cubicBezTo>
                  <a:cubicBezTo>
                    <a:pt x="1596" y="32"/>
                    <a:pt x="1572" y="11"/>
                    <a:pt x="1542" y="11"/>
                  </a:cubicBezTo>
                  <a:moveTo>
                    <a:pt x="832" y="96"/>
                  </a:moveTo>
                  <a:cubicBezTo>
                    <a:pt x="832" y="103"/>
                    <a:pt x="831" y="108"/>
                    <a:pt x="823" y="112"/>
                  </a:cubicBezTo>
                  <a:cubicBezTo>
                    <a:pt x="816" y="115"/>
                    <a:pt x="805" y="121"/>
                    <a:pt x="795" y="125"/>
                  </a:cubicBezTo>
                  <a:cubicBezTo>
                    <a:pt x="785" y="121"/>
                    <a:pt x="774" y="115"/>
                    <a:pt x="767" y="112"/>
                  </a:cubicBezTo>
                  <a:cubicBezTo>
                    <a:pt x="758" y="108"/>
                    <a:pt x="757" y="103"/>
                    <a:pt x="757" y="96"/>
                  </a:cubicBezTo>
                  <a:cubicBezTo>
                    <a:pt x="757" y="89"/>
                    <a:pt x="757" y="89"/>
                    <a:pt x="757" y="89"/>
                  </a:cubicBezTo>
                  <a:cubicBezTo>
                    <a:pt x="832" y="89"/>
                    <a:pt x="832" y="89"/>
                    <a:pt x="832" y="89"/>
                  </a:cubicBezTo>
                  <a:lnTo>
                    <a:pt x="832" y="96"/>
                  </a:lnTo>
                  <a:close/>
                  <a:moveTo>
                    <a:pt x="894" y="65"/>
                  </a:moveTo>
                  <a:cubicBezTo>
                    <a:pt x="862" y="65"/>
                    <a:pt x="862" y="65"/>
                    <a:pt x="862" y="65"/>
                  </a:cubicBezTo>
                  <a:cubicBezTo>
                    <a:pt x="862" y="51"/>
                    <a:pt x="862" y="51"/>
                    <a:pt x="862" y="51"/>
                  </a:cubicBezTo>
                  <a:cubicBezTo>
                    <a:pt x="862" y="49"/>
                    <a:pt x="860" y="48"/>
                    <a:pt x="858" y="48"/>
                  </a:cubicBezTo>
                  <a:cubicBezTo>
                    <a:pt x="836" y="48"/>
                    <a:pt x="836" y="48"/>
                    <a:pt x="836" y="48"/>
                  </a:cubicBezTo>
                  <a:cubicBezTo>
                    <a:pt x="834" y="48"/>
                    <a:pt x="832" y="49"/>
                    <a:pt x="832" y="51"/>
                  </a:cubicBezTo>
                  <a:cubicBezTo>
                    <a:pt x="832" y="65"/>
                    <a:pt x="832" y="65"/>
                    <a:pt x="832" y="65"/>
                  </a:cubicBezTo>
                  <a:cubicBezTo>
                    <a:pt x="757" y="65"/>
                    <a:pt x="757" y="65"/>
                    <a:pt x="757" y="65"/>
                  </a:cubicBezTo>
                  <a:cubicBezTo>
                    <a:pt x="757" y="51"/>
                    <a:pt x="757" y="51"/>
                    <a:pt x="757" y="51"/>
                  </a:cubicBezTo>
                  <a:cubicBezTo>
                    <a:pt x="757" y="49"/>
                    <a:pt x="755" y="48"/>
                    <a:pt x="753" y="48"/>
                  </a:cubicBezTo>
                  <a:cubicBezTo>
                    <a:pt x="731" y="48"/>
                    <a:pt x="731" y="48"/>
                    <a:pt x="731" y="48"/>
                  </a:cubicBezTo>
                  <a:cubicBezTo>
                    <a:pt x="729" y="48"/>
                    <a:pt x="728" y="49"/>
                    <a:pt x="728" y="51"/>
                  </a:cubicBezTo>
                  <a:cubicBezTo>
                    <a:pt x="728" y="65"/>
                    <a:pt x="728" y="65"/>
                    <a:pt x="728" y="65"/>
                  </a:cubicBezTo>
                  <a:cubicBezTo>
                    <a:pt x="695" y="65"/>
                    <a:pt x="695" y="65"/>
                    <a:pt x="695" y="65"/>
                  </a:cubicBezTo>
                  <a:cubicBezTo>
                    <a:pt x="693" y="65"/>
                    <a:pt x="692" y="67"/>
                    <a:pt x="692" y="69"/>
                  </a:cubicBezTo>
                  <a:cubicBezTo>
                    <a:pt x="692" y="85"/>
                    <a:pt x="692" y="85"/>
                    <a:pt x="692" y="85"/>
                  </a:cubicBezTo>
                  <a:cubicBezTo>
                    <a:pt x="692" y="87"/>
                    <a:pt x="693" y="89"/>
                    <a:pt x="695" y="89"/>
                  </a:cubicBezTo>
                  <a:cubicBezTo>
                    <a:pt x="727" y="89"/>
                    <a:pt x="727" y="89"/>
                    <a:pt x="727" y="89"/>
                  </a:cubicBezTo>
                  <a:cubicBezTo>
                    <a:pt x="727" y="99"/>
                    <a:pt x="727" y="99"/>
                    <a:pt x="727" y="99"/>
                  </a:cubicBezTo>
                  <a:cubicBezTo>
                    <a:pt x="727" y="111"/>
                    <a:pt x="733" y="122"/>
                    <a:pt x="747" y="129"/>
                  </a:cubicBezTo>
                  <a:cubicBezTo>
                    <a:pt x="753" y="132"/>
                    <a:pt x="760" y="135"/>
                    <a:pt x="767" y="138"/>
                  </a:cubicBezTo>
                  <a:cubicBezTo>
                    <a:pt x="754" y="143"/>
                    <a:pt x="743" y="146"/>
                    <a:pt x="731" y="146"/>
                  </a:cubicBezTo>
                  <a:cubicBezTo>
                    <a:pt x="700" y="146"/>
                    <a:pt x="700" y="146"/>
                    <a:pt x="700" y="146"/>
                  </a:cubicBezTo>
                  <a:cubicBezTo>
                    <a:pt x="698" y="146"/>
                    <a:pt x="696" y="148"/>
                    <a:pt x="696" y="150"/>
                  </a:cubicBezTo>
                  <a:cubicBezTo>
                    <a:pt x="696" y="166"/>
                    <a:pt x="696" y="166"/>
                    <a:pt x="696" y="166"/>
                  </a:cubicBezTo>
                  <a:cubicBezTo>
                    <a:pt x="696" y="168"/>
                    <a:pt x="698" y="170"/>
                    <a:pt x="700" y="170"/>
                  </a:cubicBezTo>
                  <a:cubicBezTo>
                    <a:pt x="730" y="170"/>
                    <a:pt x="730" y="170"/>
                    <a:pt x="730" y="170"/>
                  </a:cubicBezTo>
                  <a:cubicBezTo>
                    <a:pt x="742" y="170"/>
                    <a:pt x="757" y="167"/>
                    <a:pt x="769" y="162"/>
                  </a:cubicBezTo>
                  <a:cubicBezTo>
                    <a:pt x="774" y="161"/>
                    <a:pt x="784" y="156"/>
                    <a:pt x="795" y="151"/>
                  </a:cubicBezTo>
                  <a:cubicBezTo>
                    <a:pt x="806" y="156"/>
                    <a:pt x="815" y="161"/>
                    <a:pt x="820" y="162"/>
                  </a:cubicBezTo>
                  <a:cubicBezTo>
                    <a:pt x="833" y="167"/>
                    <a:pt x="847" y="170"/>
                    <a:pt x="859" y="170"/>
                  </a:cubicBezTo>
                  <a:cubicBezTo>
                    <a:pt x="889" y="170"/>
                    <a:pt x="889" y="170"/>
                    <a:pt x="889" y="170"/>
                  </a:cubicBezTo>
                  <a:cubicBezTo>
                    <a:pt x="891" y="170"/>
                    <a:pt x="893" y="168"/>
                    <a:pt x="893" y="166"/>
                  </a:cubicBezTo>
                  <a:cubicBezTo>
                    <a:pt x="893" y="150"/>
                    <a:pt x="893" y="150"/>
                    <a:pt x="893" y="150"/>
                  </a:cubicBezTo>
                  <a:cubicBezTo>
                    <a:pt x="893" y="148"/>
                    <a:pt x="891" y="146"/>
                    <a:pt x="889" y="146"/>
                  </a:cubicBezTo>
                  <a:cubicBezTo>
                    <a:pt x="859" y="146"/>
                    <a:pt x="859" y="146"/>
                    <a:pt x="859" y="146"/>
                  </a:cubicBezTo>
                  <a:cubicBezTo>
                    <a:pt x="847" y="146"/>
                    <a:pt x="835" y="143"/>
                    <a:pt x="823" y="138"/>
                  </a:cubicBezTo>
                  <a:cubicBezTo>
                    <a:pt x="830" y="135"/>
                    <a:pt x="837" y="132"/>
                    <a:pt x="842" y="129"/>
                  </a:cubicBezTo>
                  <a:cubicBezTo>
                    <a:pt x="857" y="122"/>
                    <a:pt x="862" y="111"/>
                    <a:pt x="862" y="99"/>
                  </a:cubicBezTo>
                  <a:cubicBezTo>
                    <a:pt x="862" y="89"/>
                    <a:pt x="862" y="89"/>
                    <a:pt x="862" y="89"/>
                  </a:cubicBezTo>
                  <a:cubicBezTo>
                    <a:pt x="894" y="89"/>
                    <a:pt x="894" y="89"/>
                    <a:pt x="894" y="89"/>
                  </a:cubicBezTo>
                  <a:cubicBezTo>
                    <a:pt x="896" y="89"/>
                    <a:pt x="898" y="87"/>
                    <a:pt x="898" y="85"/>
                  </a:cubicBezTo>
                  <a:cubicBezTo>
                    <a:pt x="898" y="69"/>
                    <a:pt x="898" y="69"/>
                    <a:pt x="898" y="69"/>
                  </a:cubicBezTo>
                  <a:cubicBezTo>
                    <a:pt x="898" y="67"/>
                    <a:pt x="896" y="65"/>
                    <a:pt x="894" y="65"/>
                  </a:cubicBezTo>
                  <a:moveTo>
                    <a:pt x="1747" y="17"/>
                  </a:moveTo>
                  <a:cubicBezTo>
                    <a:pt x="1745" y="14"/>
                    <a:pt x="1743" y="13"/>
                    <a:pt x="1740" y="13"/>
                  </a:cubicBezTo>
                  <a:cubicBezTo>
                    <a:pt x="1716" y="13"/>
                    <a:pt x="1716" y="13"/>
                    <a:pt x="1716" y="13"/>
                  </a:cubicBezTo>
                  <a:cubicBezTo>
                    <a:pt x="1713" y="13"/>
                    <a:pt x="1711" y="14"/>
                    <a:pt x="1710" y="17"/>
                  </a:cubicBezTo>
                  <a:cubicBezTo>
                    <a:pt x="1636" y="162"/>
                    <a:pt x="1636" y="162"/>
                    <a:pt x="1636" y="162"/>
                  </a:cubicBezTo>
                  <a:cubicBezTo>
                    <a:pt x="1634" y="167"/>
                    <a:pt x="1636" y="170"/>
                    <a:pt x="1640" y="170"/>
                  </a:cubicBezTo>
                  <a:cubicBezTo>
                    <a:pt x="1663" y="170"/>
                    <a:pt x="1663" y="170"/>
                    <a:pt x="1663" y="170"/>
                  </a:cubicBezTo>
                  <a:cubicBezTo>
                    <a:pt x="1667" y="170"/>
                    <a:pt x="1668" y="169"/>
                    <a:pt x="1670" y="165"/>
                  </a:cubicBezTo>
                  <a:cubicBezTo>
                    <a:pt x="1728" y="49"/>
                    <a:pt x="1728" y="49"/>
                    <a:pt x="1728" y="49"/>
                  </a:cubicBezTo>
                  <a:cubicBezTo>
                    <a:pt x="1786" y="165"/>
                    <a:pt x="1786" y="165"/>
                    <a:pt x="1786" y="165"/>
                  </a:cubicBezTo>
                  <a:cubicBezTo>
                    <a:pt x="1788" y="169"/>
                    <a:pt x="1789" y="170"/>
                    <a:pt x="1793" y="170"/>
                  </a:cubicBezTo>
                  <a:cubicBezTo>
                    <a:pt x="1816" y="170"/>
                    <a:pt x="1816" y="170"/>
                    <a:pt x="1816" y="170"/>
                  </a:cubicBezTo>
                  <a:cubicBezTo>
                    <a:pt x="1820" y="170"/>
                    <a:pt x="1823" y="167"/>
                    <a:pt x="1820" y="162"/>
                  </a:cubicBezTo>
                  <a:lnTo>
                    <a:pt x="1747" y="17"/>
                  </a:lnTo>
                  <a:close/>
                  <a:moveTo>
                    <a:pt x="629" y="46"/>
                  </a:moveTo>
                  <a:cubicBezTo>
                    <a:pt x="626" y="46"/>
                    <a:pt x="623" y="48"/>
                    <a:pt x="622" y="49"/>
                  </a:cubicBezTo>
                  <a:cubicBezTo>
                    <a:pt x="597" y="98"/>
                    <a:pt x="597" y="98"/>
                    <a:pt x="597" y="98"/>
                  </a:cubicBezTo>
                  <a:cubicBezTo>
                    <a:pt x="596" y="100"/>
                    <a:pt x="597" y="102"/>
                    <a:pt x="599" y="102"/>
                  </a:cubicBezTo>
                  <a:cubicBezTo>
                    <a:pt x="625" y="102"/>
                    <a:pt x="625" y="102"/>
                    <a:pt x="625" y="102"/>
                  </a:cubicBezTo>
                  <a:cubicBezTo>
                    <a:pt x="628" y="102"/>
                    <a:pt x="630" y="100"/>
                    <a:pt x="631" y="98"/>
                  </a:cubicBezTo>
                  <a:cubicBezTo>
                    <a:pt x="656" y="49"/>
                    <a:pt x="656" y="49"/>
                    <a:pt x="656" y="49"/>
                  </a:cubicBezTo>
                  <a:cubicBezTo>
                    <a:pt x="657" y="48"/>
                    <a:pt x="656" y="46"/>
                    <a:pt x="654" y="46"/>
                  </a:cubicBezTo>
                  <a:lnTo>
                    <a:pt x="629" y="46"/>
                  </a:lnTo>
                  <a:close/>
                  <a:moveTo>
                    <a:pt x="416" y="146"/>
                  </a:moveTo>
                  <a:cubicBezTo>
                    <a:pt x="269" y="146"/>
                    <a:pt x="269" y="146"/>
                    <a:pt x="269" y="146"/>
                  </a:cubicBezTo>
                  <a:cubicBezTo>
                    <a:pt x="269" y="28"/>
                    <a:pt x="269" y="28"/>
                    <a:pt x="269" y="28"/>
                  </a:cubicBezTo>
                  <a:cubicBezTo>
                    <a:pt x="416" y="28"/>
                    <a:pt x="416" y="28"/>
                    <a:pt x="416" y="28"/>
                  </a:cubicBezTo>
                  <a:lnTo>
                    <a:pt x="416" y="146"/>
                  </a:lnTo>
                  <a:close/>
                  <a:moveTo>
                    <a:pt x="423" y="6"/>
                  </a:moveTo>
                  <a:cubicBezTo>
                    <a:pt x="261" y="6"/>
                    <a:pt x="261" y="6"/>
                    <a:pt x="261" y="6"/>
                  </a:cubicBezTo>
                  <a:cubicBezTo>
                    <a:pt x="249" y="6"/>
                    <a:pt x="239" y="16"/>
                    <a:pt x="239" y="28"/>
                  </a:cubicBezTo>
                  <a:cubicBezTo>
                    <a:pt x="239" y="148"/>
                    <a:pt x="239" y="148"/>
                    <a:pt x="239" y="148"/>
                  </a:cubicBezTo>
                  <a:cubicBezTo>
                    <a:pt x="239" y="160"/>
                    <a:pt x="249" y="169"/>
                    <a:pt x="261" y="169"/>
                  </a:cubicBezTo>
                  <a:cubicBezTo>
                    <a:pt x="423" y="169"/>
                    <a:pt x="423" y="169"/>
                    <a:pt x="423" y="169"/>
                  </a:cubicBezTo>
                  <a:cubicBezTo>
                    <a:pt x="435" y="169"/>
                    <a:pt x="445" y="160"/>
                    <a:pt x="445" y="148"/>
                  </a:cubicBezTo>
                  <a:cubicBezTo>
                    <a:pt x="445" y="28"/>
                    <a:pt x="445" y="28"/>
                    <a:pt x="445" y="28"/>
                  </a:cubicBezTo>
                  <a:cubicBezTo>
                    <a:pt x="445" y="16"/>
                    <a:pt x="435" y="6"/>
                    <a:pt x="423" y="6"/>
                  </a:cubicBezTo>
                  <a:moveTo>
                    <a:pt x="697" y="49"/>
                  </a:moveTo>
                  <a:cubicBezTo>
                    <a:pt x="714" y="49"/>
                    <a:pt x="714" y="49"/>
                    <a:pt x="714" y="49"/>
                  </a:cubicBezTo>
                  <a:cubicBezTo>
                    <a:pt x="716" y="49"/>
                    <a:pt x="718" y="47"/>
                    <a:pt x="718" y="45"/>
                  </a:cubicBezTo>
                  <a:cubicBezTo>
                    <a:pt x="718" y="34"/>
                    <a:pt x="718" y="34"/>
                    <a:pt x="718" y="34"/>
                  </a:cubicBezTo>
                  <a:cubicBezTo>
                    <a:pt x="872" y="34"/>
                    <a:pt x="872" y="34"/>
                    <a:pt x="872" y="34"/>
                  </a:cubicBezTo>
                  <a:cubicBezTo>
                    <a:pt x="872" y="45"/>
                    <a:pt x="872" y="45"/>
                    <a:pt x="872" y="45"/>
                  </a:cubicBezTo>
                  <a:cubicBezTo>
                    <a:pt x="872" y="47"/>
                    <a:pt x="873" y="49"/>
                    <a:pt x="875" y="49"/>
                  </a:cubicBezTo>
                  <a:cubicBezTo>
                    <a:pt x="893" y="49"/>
                    <a:pt x="893" y="49"/>
                    <a:pt x="893" y="49"/>
                  </a:cubicBezTo>
                  <a:cubicBezTo>
                    <a:pt x="895" y="49"/>
                    <a:pt x="897" y="47"/>
                    <a:pt x="897" y="45"/>
                  </a:cubicBezTo>
                  <a:cubicBezTo>
                    <a:pt x="897" y="32"/>
                    <a:pt x="897" y="32"/>
                    <a:pt x="897" y="32"/>
                  </a:cubicBezTo>
                  <a:cubicBezTo>
                    <a:pt x="897" y="22"/>
                    <a:pt x="888" y="13"/>
                    <a:pt x="877" y="13"/>
                  </a:cubicBezTo>
                  <a:cubicBezTo>
                    <a:pt x="811" y="13"/>
                    <a:pt x="811" y="13"/>
                    <a:pt x="811" y="13"/>
                  </a:cubicBezTo>
                  <a:cubicBezTo>
                    <a:pt x="811" y="4"/>
                    <a:pt x="811" y="4"/>
                    <a:pt x="811" y="4"/>
                  </a:cubicBezTo>
                  <a:cubicBezTo>
                    <a:pt x="811" y="2"/>
                    <a:pt x="809" y="0"/>
                    <a:pt x="807" y="0"/>
                  </a:cubicBezTo>
                  <a:cubicBezTo>
                    <a:pt x="782" y="0"/>
                    <a:pt x="782" y="0"/>
                    <a:pt x="782" y="0"/>
                  </a:cubicBezTo>
                  <a:cubicBezTo>
                    <a:pt x="780" y="0"/>
                    <a:pt x="778" y="2"/>
                    <a:pt x="778" y="4"/>
                  </a:cubicBezTo>
                  <a:cubicBezTo>
                    <a:pt x="778" y="13"/>
                    <a:pt x="778" y="13"/>
                    <a:pt x="778" y="13"/>
                  </a:cubicBezTo>
                  <a:cubicBezTo>
                    <a:pt x="712" y="13"/>
                    <a:pt x="712" y="13"/>
                    <a:pt x="712" y="13"/>
                  </a:cubicBezTo>
                  <a:cubicBezTo>
                    <a:pt x="702" y="13"/>
                    <a:pt x="693" y="22"/>
                    <a:pt x="693" y="32"/>
                  </a:cubicBezTo>
                  <a:cubicBezTo>
                    <a:pt x="693" y="45"/>
                    <a:pt x="693" y="45"/>
                    <a:pt x="693" y="45"/>
                  </a:cubicBezTo>
                  <a:cubicBezTo>
                    <a:pt x="693" y="47"/>
                    <a:pt x="695" y="49"/>
                    <a:pt x="697" y="49"/>
                  </a:cubicBezTo>
                  <a:moveTo>
                    <a:pt x="179" y="115"/>
                  </a:moveTo>
                  <a:cubicBezTo>
                    <a:pt x="122" y="115"/>
                    <a:pt x="122" y="115"/>
                    <a:pt x="122" y="115"/>
                  </a:cubicBezTo>
                  <a:cubicBezTo>
                    <a:pt x="122" y="49"/>
                    <a:pt x="122" y="49"/>
                    <a:pt x="122" y="49"/>
                  </a:cubicBezTo>
                  <a:cubicBezTo>
                    <a:pt x="179" y="49"/>
                    <a:pt x="179" y="49"/>
                    <a:pt x="179" y="49"/>
                  </a:cubicBezTo>
                  <a:lnTo>
                    <a:pt x="179" y="115"/>
                  </a:lnTo>
                  <a:close/>
                  <a:moveTo>
                    <a:pt x="88" y="115"/>
                  </a:moveTo>
                  <a:cubicBezTo>
                    <a:pt x="31" y="115"/>
                    <a:pt x="31" y="115"/>
                    <a:pt x="31" y="115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88" y="49"/>
                    <a:pt x="88" y="49"/>
                    <a:pt x="88" y="49"/>
                  </a:cubicBezTo>
                  <a:lnTo>
                    <a:pt x="88" y="115"/>
                  </a:lnTo>
                  <a:close/>
                  <a:moveTo>
                    <a:pt x="188" y="2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22" y="5"/>
                    <a:pt x="122" y="5"/>
                    <a:pt x="122" y="5"/>
                  </a:cubicBezTo>
                  <a:cubicBezTo>
                    <a:pt x="122" y="3"/>
                    <a:pt x="120" y="1"/>
                    <a:pt x="118" y="1"/>
                  </a:cubicBezTo>
                  <a:cubicBezTo>
                    <a:pt x="91" y="1"/>
                    <a:pt x="91" y="1"/>
                    <a:pt x="91" y="1"/>
                  </a:cubicBezTo>
                  <a:cubicBezTo>
                    <a:pt x="89" y="1"/>
                    <a:pt x="88" y="3"/>
                    <a:pt x="88" y="5"/>
                  </a:cubicBezTo>
                  <a:cubicBezTo>
                    <a:pt x="88" y="24"/>
                    <a:pt x="88" y="24"/>
                    <a:pt x="88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10" y="24"/>
                    <a:pt x="0" y="34"/>
                    <a:pt x="0" y="46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130"/>
                    <a:pt x="10" y="140"/>
                    <a:pt x="22" y="140"/>
                  </a:cubicBezTo>
                  <a:cubicBezTo>
                    <a:pt x="88" y="140"/>
                    <a:pt x="88" y="140"/>
                    <a:pt x="88" y="140"/>
                  </a:cubicBezTo>
                  <a:cubicBezTo>
                    <a:pt x="88" y="171"/>
                    <a:pt x="88" y="171"/>
                    <a:pt x="88" y="171"/>
                  </a:cubicBezTo>
                  <a:cubicBezTo>
                    <a:pt x="88" y="173"/>
                    <a:pt x="89" y="174"/>
                    <a:pt x="91" y="174"/>
                  </a:cubicBezTo>
                  <a:cubicBezTo>
                    <a:pt x="118" y="174"/>
                    <a:pt x="118" y="174"/>
                    <a:pt x="118" y="174"/>
                  </a:cubicBezTo>
                  <a:cubicBezTo>
                    <a:pt x="120" y="174"/>
                    <a:pt x="122" y="173"/>
                    <a:pt x="122" y="171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88" y="140"/>
                    <a:pt x="188" y="140"/>
                    <a:pt x="188" y="140"/>
                  </a:cubicBezTo>
                  <a:cubicBezTo>
                    <a:pt x="200" y="140"/>
                    <a:pt x="210" y="130"/>
                    <a:pt x="210" y="118"/>
                  </a:cubicBezTo>
                  <a:cubicBezTo>
                    <a:pt x="210" y="46"/>
                    <a:pt x="210" y="46"/>
                    <a:pt x="210" y="46"/>
                  </a:cubicBezTo>
                  <a:cubicBezTo>
                    <a:pt x="210" y="34"/>
                    <a:pt x="200" y="24"/>
                    <a:pt x="188" y="24"/>
                  </a:cubicBezTo>
                  <a:moveTo>
                    <a:pt x="401" y="104"/>
                  </a:moveTo>
                  <a:cubicBezTo>
                    <a:pt x="379" y="104"/>
                    <a:pt x="379" y="104"/>
                    <a:pt x="379" y="104"/>
                  </a:cubicBezTo>
                  <a:cubicBezTo>
                    <a:pt x="379" y="112"/>
                    <a:pt x="379" y="112"/>
                    <a:pt x="379" y="112"/>
                  </a:cubicBezTo>
                  <a:cubicBezTo>
                    <a:pt x="357" y="112"/>
                    <a:pt x="357" y="112"/>
                    <a:pt x="357" y="112"/>
                  </a:cubicBezTo>
                  <a:cubicBezTo>
                    <a:pt x="357" y="93"/>
                    <a:pt x="357" y="93"/>
                    <a:pt x="357" y="93"/>
                  </a:cubicBezTo>
                  <a:cubicBezTo>
                    <a:pt x="395" y="93"/>
                    <a:pt x="395" y="93"/>
                    <a:pt x="395" y="93"/>
                  </a:cubicBezTo>
                  <a:cubicBezTo>
                    <a:pt x="395" y="75"/>
                    <a:pt x="395" y="75"/>
                    <a:pt x="395" y="75"/>
                  </a:cubicBezTo>
                  <a:cubicBezTo>
                    <a:pt x="357" y="75"/>
                    <a:pt x="357" y="75"/>
                    <a:pt x="357" y="75"/>
                  </a:cubicBezTo>
                  <a:cubicBezTo>
                    <a:pt x="357" y="61"/>
                    <a:pt x="357" y="61"/>
                    <a:pt x="357" y="61"/>
                  </a:cubicBezTo>
                  <a:cubicBezTo>
                    <a:pt x="401" y="61"/>
                    <a:pt x="401" y="61"/>
                    <a:pt x="401" y="61"/>
                  </a:cubicBezTo>
                  <a:cubicBezTo>
                    <a:pt x="401" y="41"/>
                    <a:pt x="401" y="41"/>
                    <a:pt x="401" y="41"/>
                  </a:cubicBezTo>
                  <a:cubicBezTo>
                    <a:pt x="284" y="41"/>
                    <a:pt x="284" y="41"/>
                    <a:pt x="284" y="41"/>
                  </a:cubicBezTo>
                  <a:cubicBezTo>
                    <a:pt x="284" y="61"/>
                    <a:pt x="284" y="61"/>
                    <a:pt x="284" y="61"/>
                  </a:cubicBezTo>
                  <a:cubicBezTo>
                    <a:pt x="328" y="61"/>
                    <a:pt x="328" y="61"/>
                    <a:pt x="328" y="61"/>
                  </a:cubicBezTo>
                  <a:cubicBezTo>
                    <a:pt x="328" y="75"/>
                    <a:pt x="328" y="75"/>
                    <a:pt x="328" y="75"/>
                  </a:cubicBezTo>
                  <a:cubicBezTo>
                    <a:pt x="290" y="75"/>
                    <a:pt x="290" y="75"/>
                    <a:pt x="290" y="75"/>
                  </a:cubicBezTo>
                  <a:cubicBezTo>
                    <a:pt x="290" y="93"/>
                    <a:pt x="290" y="93"/>
                    <a:pt x="290" y="93"/>
                  </a:cubicBezTo>
                  <a:cubicBezTo>
                    <a:pt x="328" y="93"/>
                    <a:pt x="328" y="93"/>
                    <a:pt x="328" y="93"/>
                  </a:cubicBezTo>
                  <a:cubicBezTo>
                    <a:pt x="328" y="112"/>
                    <a:pt x="328" y="112"/>
                    <a:pt x="328" y="112"/>
                  </a:cubicBezTo>
                  <a:cubicBezTo>
                    <a:pt x="284" y="112"/>
                    <a:pt x="284" y="112"/>
                    <a:pt x="284" y="112"/>
                  </a:cubicBezTo>
                  <a:cubicBezTo>
                    <a:pt x="284" y="132"/>
                    <a:pt x="284" y="132"/>
                    <a:pt x="284" y="132"/>
                  </a:cubicBezTo>
                  <a:cubicBezTo>
                    <a:pt x="401" y="132"/>
                    <a:pt x="401" y="132"/>
                    <a:pt x="401" y="132"/>
                  </a:cubicBezTo>
                  <a:lnTo>
                    <a:pt x="401" y="104"/>
                  </a:lnTo>
                  <a:close/>
                  <a:moveTo>
                    <a:pt x="516" y="102"/>
                  </a:moveTo>
                  <a:cubicBezTo>
                    <a:pt x="542" y="102"/>
                    <a:pt x="542" y="102"/>
                    <a:pt x="542" y="102"/>
                  </a:cubicBezTo>
                  <a:cubicBezTo>
                    <a:pt x="544" y="102"/>
                    <a:pt x="545" y="100"/>
                    <a:pt x="544" y="98"/>
                  </a:cubicBezTo>
                  <a:cubicBezTo>
                    <a:pt x="519" y="49"/>
                    <a:pt x="519" y="49"/>
                    <a:pt x="519" y="49"/>
                  </a:cubicBezTo>
                  <a:cubicBezTo>
                    <a:pt x="518" y="48"/>
                    <a:pt x="515" y="46"/>
                    <a:pt x="512" y="46"/>
                  </a:cubicBezTo>
                  <a:cubicBezTo>
                    <a:pt x="487" y="46"/>
                    <a:pt x="487" y="46"/>
                    <a:pt x="487" y="46"/>
                  </a:cubicBezTo>
                  <a:cubicBezTo>
                    <a:pt x="485" y="46"/>
                    <a:pt x="484" y="48"/>
                    <a:pt x="485" y="49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511" y="100"/>
                    <a:pt x="513" y="102"/>
                    <a:pt x="516" y="102"/>
                  </a:cubicBezTo>
                  <a:moveTo>
                    <a:pt x="669" y="115"/>
                  </a:moveTo>
                  <a:cubicBezTo>
                    <a:pt x="587" y="115"/>
                    <a:pt x="587" y="115"/>
                    <a:pt x="587" y="115"/>
                  </a:cubicBezTo>
                  <a:cubicBezTo>
                    <a:pt x="587" y="33"/>
                    <a:pt x="587" y="33"/>
                    <a:pt x="587" y="33"/>
                  </a:cubicBezTo>
                  <a:cubicBezTo>
                    <a:pt x="662" y="33"/>
                    <a:pt x="662" y="33"/>
                    <a:pt x="662" y="33"/>
                  </a:cubicBezTo>
                  <a:cubicBezTo>
                    <a:pt x="664" y="33"/>
                    <a:pt x="666" y="31"/>
                    <a:pt x="666" y="29"/>
                  </a:cubicBezTo>
                  <a:cubicBezTo>
                    <a:pt x="666" y="14"/>
                    <a:pt x="666" y="14"/>
                    <a:pt x="666" y="14"/>
                  </a:cubicBezTo>
                  <a:cubicBezTo>
                    <a:pt x="666" y="11"/>
                    <a:pt x="664" y="10"/>
                    <a:pt x="662" y="10"/>
                  </a:cubicBezTo>
                  <a:cubicBezTo>
                    <a:pt x="479" y="10"/>
                    <a:pt x="479" y="10"/>
                    <a:pt x="479" y="10"/>
                  </a:cubicBezTo>
                  <a:cubicBezTo>
                    <a:pt x="477" y="10"/>
                    <a:pt x="475" y="11"/>
                    <a:pt x="475" y="14"/>
                  </a:cubicBezTo>
                  <a:cubicBezTo>
                    <a:pt x="475" y="29"/>
                    <a:pt x="475" y="29"/>
                    <a:pt x="475" y="29"/>
                  </a:cubicBezTo>
                  <a:cubicBezTo>
                    <a:pt x="475" y="31"/>
                    <a:pt x="477" y="33"/>
                    <a:pt x="479" y="33"/>
                  </a:cubicBezTo>
                  <a:cubicBezTo>
                    <a:pt x="554" y="33"/>
                    <a:pt x="554" y="33"/>
                    <a:pt x="554" y="33"/>
                  </a:cubicBezTo>
                  <a:cubicBezTo>
                    <a:pt x="554" y="115"/>
                    <a:pt x="554" y="115"/>
                    <a:pt x="554" y="115"/>
                  </a:cubicBezTo>
                  <a:cubicBezTo>
                    <a:pt x="472" y="115"/>
                    <a:pt x="472" y="115"/>
                    <a:pt x="472" y="115"/>
                  </a:cubicBezTo>
                  <a:cubicBezTo>
                    <a:pt x="470" y="115"/>
                    <a:pt x="469" y="117"/>
                    <a:pt x="469" y="119"/>
                  </a:cubicBezTo>
                  <a:cubicBezTo>
                    <a:pt x="469" y="135"/>
                    <a:pt x="469" y="135"/>
                    <a:pt x="469" y="135"/>
                  </a:cubicBezTo>
                  <a:cubicBezTo>
                    <a:pt x="469" y="137"/>
                    <a:pt x="470" y="139"/>
                    <a:pt x="472" y="139"/>
                  </a:cubicBezTo>
                  <a:cubicBezTo>
                    <a:pt x="554" y="139"/>
                    <a:pt x="554" y="139"/>
                    <a:pt x="554" y="139"/>
                  </a:cubicBezTo>
                  <a:cubicBezTo>
                    <a:pt x="554" y="171"/>
                    <a:pt x="554" y="171"/>
                    <a:pt x="554" y="171"/>
                  </a:cubicBezTo>
                  <a:cubicBezTo>
                    <a:pt x="554" y="173"/>
                    <a:pt x="556" y="174"/>
                    <a:pt x="558" y="174"/>
                  </a:cubicBezTo>
                  <a:cubicBezTo>
                    <a:pt x="583" y="174"/>
                    <a:pt x="583" y="174"/>
                    <a:pt x="583" y="174"/>
                  </a:cubicBezTo>
                  <a:cubicBezTo>
                    <a:pt x="585" y="174"/>
                    <a:pt x="587" y="173"/>
                    <a:pt x="587" y="171"/>
                  </a:cubicBezTo>
                  <a:cubicBezTo>
                    <a:pt x="587" y="139"/>
                    <a:pt x="587" y="139"/>
                    <a:pt x="587" y="139"/>
                  </a:cubicBezTo>
                  <a:cubicBezTo>
                    <a:pt x="669" y="139"/>
                    <a:pt x="669" y="139"/>
                    <a:pt x="669" y="139"/>
                  </a:cubicBezTo>
                  <a:cubicBezTo>
                    <a:pt x="671" y="139"/>
                    <a:pt x="673" y="137"/>
                    <a:pt x="673" y="135"/>
                  </a:cubicBezTo>
                  <a:cubicBezTo>
                    <a:pt x="673" y="119"/>
                    <a:pt x="673" y="119"/>
                    <a:pt x="673" y="119"/>
                  </a:cubicBezTo>
                  <a:cubicBezTo>
                    <a:pt x="673" y="117"/>
                    <a:pt x="671" y="115"/>
                    <a:pt x="669" y="115"/>
                  </a:cubicBezTo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6" name="Freeform 6"/>
            <p:cNvSpPr/>
            <p:nvPr/>
          </p:nvSpPr>
          <p:spPr bwMode="auto">
            <a:xfrm>
              <a:off x="3438525" y="693738"/>
              <a:ext cx="77788" cy="76200"/>
            </a:xfrm>
            <a:custGeom>
              <a:avLst/>
              <a:gdLst>
                <a:gd name="T0" fmla="*/ 44 w 48"/>
                <a:gd name="T1" fmla="*/ 0 h 46"/>
                <a:gd name="T2" fmla="*/ 4 w 48"/>
                <a:gd name="T3" fmla="*/ 0 h 46"/>
                <a:gd name="T4" fmla="*/ 0 w 48"/>
                <a:gd name="T5" fmla="*/ 3 h 46"/>
                <a:gd name="T6" fmla="*/ 0 w 48"/>
                <a:gd name="T7" fmla="*/ 43 h 46"/>
                <a:gd name="T8" fmla="*/ 4 w 48"/>
                <a:gd name="T9" fmla="*/ 46 h 46"/>
                <a:gd name="T10" fmla="*/ 44 w 48"/>
                <a:gd name="T11" fmla="*/ 46 h 46"/>
                <a:gd name="T12" fmla="*/ 48 w 48"/>
                <a:gd name="T13" fmla="*/ 43 h 46"/>
                <a:gd name="T14" fmla="*/ 48 w 48"/>
                <a:gd name="T15" fmla="*/ 3 h 46"/>
                <a:gd name="T16" fmla="*/ 44 w 48"/>
                <a:gd name="T17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46">
                  <a:moveTo>
                    <a:pt x="4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5"/>
                    <a:pt x="2" y="46"/>
                    <a:pt x="4" y="46"/>
                  </a:cubicBezTo>
                  <a:cubicBezTo>
                    <a:pt x="44" y="46"/>
                    <a:pt x="44" y="46"/>
                    <a:pt x="44" y="46"/>
                  </a:cubicBezTo>
                  <a:cubicBezTo>
                    <a:pt x="46" y="46"/>
                    <a:pt x="48" y="45"/>
                    <a:pt x="48" y="43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1"/>
                    <a:pt x="46" y="0"/>
                    <a:pt x="44" y="0"/>
                  </a:cubicBezTo>
                </a:path>
              </a:pathLst>
            </a:custGeom>
            <a:solidFill>
              <a:srgbClr val="005E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7" name="Oval 7"/>
            <p:cNvSpPr>
              <a:spLocks noChangeArrowheads="1"/>
            </p:cNvSpPr>
            <p:nvPr/>
          </p:nvSpPr>
          <p:spPr bwMode="auto">
            <a:xfrm>
              <a:off x="1385888" y="952500"/>
              <a:ext cx="17463" cy="20637"/>
            </a:xfrm>
            <a:prstGeom prst="ellipse">
              <a:avLst/>
            </a:pr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8" name="Freeform 8"/>
            <p:cNvSpPr>
              <a:spLocks noEditPoints="1"/>
            </p:cNvSpPr>
            <p:nvPr/>
          </p:nvSpPr>
          <p:spPr bwMode="auto">
            <a:xfrm>
              <a:off x="1001713" y="893763"/>
              <a:ext cx="142875" cy="133350"/>
            </a:xfrm>
            <a:custGeom>
              <a:avLst/>
              <a:gdLst>
                <a:gd name="T0" fmla="*/ 43 w 88"/>
                <a:gd name="T1" fmla="*/ 0 h 81"/>
                <a:gd name="T2" fmla="*/ 51 w 88"/>
                <a:gd name="T3" fmla="*/ 4 h 81"/>
                <a:gd name="T4" fmla="*/ 84 w 88"/>
                <a:gd name="T5" fmla="*/ 22 h 81"/>
                <a:gd name="T6" fmla="*/ 87 w 88"/>
                <a:gd name="T7" fmla="*/ 28 h 81"/>
                <a:gd name="T8" fmla="*/ 82 w 88"/>
                <a:gd name="T9" fmla="*/ 29 h 81"/>
                <a:gd name="T10" fmla="*/ 49 w 88"/>
                <a:gd name="T11" fmla="*/ 12 h 81"/>
                <a:gd name="T12" fmla="*/ 43 w 88"/>
                <a:gd name="T13" fmla="*/ 8 h 81"/>
                <a:gd name="T14" fmla="*/ 38 w 88"/>
                <a:gd name="T15" fmla="*/ 11 h 81"/>
                <a:gd name="T16" fmla="*/ 6 w 88"/>
                <a:gd name="T17" fmla="*/ 30 h 81"/>
                <a:gd name="T18" fmla="*/ 1 w 88"/>
                <a:gd name="T19" fmla="*/ 28 h 81"/>
                <a:gd name="T20" fmla="*/ 3 w 88"/>
                <a:gd name="T21" fmla="*/ 23 h 81"/>
                <a:gd name="T22" fmla="*/ 35 w 88"/>
                <a:gd name="T23" fmla="*/ 5 h 81"/>
                <a:gd name="T24" fmla="*/ 43 w 88"/>
                <a:gd name="T25" fmla="*/ 0 h 81"/>
                <a:gd name="T26" fmla="*/ 21 w 88"/>
                <a:gd name="T27" fmla="*/ 25 h 81"/>
                <a:gd name="T28" fmla="*/ 68 w 88"/>
                <a:gd name="T29" fmla="*/ 25 h 81"/>
                <a:gd name="T30" fmla="*/ 71 w 88"/>
                <a:gd name="T31" fmla="*/ 28 h 81"/>
                <a:gd name="T32" fmla="*/ 68 w 88"/>
                <a:gd name="T33" fmla="*/ 31 h 81"/>
                <a:gd name="T34" fmla="*/ 48 w 88"/>
                <a:gd name="T35" fmla="*/ 31 h 81"/>
                <a:gd name="T36" fmla="*/ 48 w 88"/>
                <a:gd name="T37" fmla="*/ 42 h 81"/>
                <a:gd name="T38" fmla="*/ 80 w 88"/>
                <a:gd name="T39" fmla="*/ 42 h 81"/>
                <a:gd name="T40" fmla="*/ 83 w 88"/>
                <a:gd name="T41" fmla="*/ 46 h 81"/>
                <a:gd name="T42" fmla="*/ 80 w 88"/>
                <a:gd name="T43" fmla="*/ 49 h 81"/>
                <a:gd name="T44" fmla="*/ 48 w 88"/>
                <a:gd name="T45" fmla="*/ 49 h 81"/>
                <a:gd name="T46" fmla="*/ 48 w 88"/>
                <a:gd name="T47" fmla="*/ 74 h 81"/>
                <a:gd name="T48" fmla="*/ 61 w 88"/>
                <a:gd name="T49" fmla="*/ 74 h 81"/>
                <a:gd name="T50" fmla="*/ 60 w 88"/>
                <a:gd name="T51" fmla="*/ 70 h 81"/>
                <a:gd name="T52" fmla="*/ 70 w 88"/>
                <a:gd name="T53" fmla="*/ 53 h 81"/>
                <a:gd name="T54" fmla="*/ 75 w 88"/>
                <a:gd name="T55" fmla="*/ 51 h 81"/>
                <a:gd name="T56" fmla="*/ 76 w 88"/>
                <a:gd name="T57" fmla="*/ 56 h 81"/>
                <a:gd name="T58" fmla="*/ 66 w 88"/>
                <a:gd name="T59" fmla="*/ 73 h 81"/>
                <a:gd name="T60" fmla="*/ 64 w 88"/>
                <a:gd name="T61" fmla="*/ 74 h 81"/>
                <a:gd name="T62" fmla="*/ 84 w 88"/>
                <a:gd name="T63" fmla="*/ 74 h 81"/>
                <a:gd name="T64" fmla="*/ 87 w 88"/>
                <a:gd name="T65" fmla="*/ 77 h 81"/>
                <a:gd name="T66" fmla="*/ 84 w 88"/>
                <a:gd name="T67" fmla="*/ 81 h 81"/>
                <a:gd name="T68" fmla="*/ 6 w 88"/>
                <a:gd name="T69" fmla="*/ 81 h 81"/>
                <a:gd name="T70" fmla="*/ 2 w 88"/>
                <a:gd name="T71" fmla="*/ 77 h 81"/>
                <a:gd name="T72" fmla="*/ 6 w 88"/>
                <a:gd name="T73" fmla="*/ 74 h 81"/>
                <a:gd name="T74" fmla="*/ 40 w 88"/>
                <a:gd name="T75" fmla="*/ 74 h 81"/>
                <a:gd name="T76" fmla="*/ 40 w 88"/>
                <a:gd name="T77" fmla="*/ 49 h 81"/>
                <a:gd name="T78" fmla="*/ 9 w 88"/>
                <a:gd name="T79" fmla="*/ 49 h 81"/>
                <a:gd name="T80" fmla="*/ 6 w 88"/>
                <a:gd name="T81" fmla="*/ 46 h 81"/>
                <a:gd name="T82" fmla="*/ 9 w 88"/>
                <a:gd name="T83" fmla="*/ 42 h 81"/>
                <a:gd name="T84" fmla="*/ 40 w 88"/>
                <a:gd name="T85" fmla="*/ 42 h 81"/>
                <a:gd name="T86" fmla="*/ 40 w 88"/>
                <a:gd name="T87" fmla="*/ 31 h 81"/>
                <a:gd name="T88" fmla="*/ 21 w 88"/>
                <a:gd name="T89" fmla="*/ 31 h 81"/>
                <a:gd name="T90" fmla="*/ 18 w 88"/>
                <a:gd name="T91" fmla="*/ 28 h 81"/>
                <a:gd name="T92" fmla="*/ 21 w 88"/>
                <a:gd name="T93" fmla="*/ 25 h 81"/>
                <a:gd name="T94" fmla="*/ 20 w 88"/>
                <a:gd name="T95" fmla="*/ 54 h 81"/>
                <a:gd name="T96" fmla="*/ 27 w 88"/>
                <a:gd name="T97" fmla="*/ 67 h 81"/>
                <a:gd name="T98" fmla="*/ 26 w 88"/>
                <a:gd name="T99" fmla="*/ 72 h 81"/>
                <a:gd name="T100" fmla="*/ 21 w 88"/>
                <a:gd name="T101" fmla="*/ 71 h 81"/>
                <a:gd name="T102" fmla="*/ 14 w 88"/>
                <a:gd name="T103" fmla="*/ 57 h 81"/>
                <a:gd name="T104" fmla="*/ 14 w 88"/>
                <a:gd name="T105" fmla="*/ 53 h 81"/>
                <a:gd name="T106" fmla="*/ 20 w 88"/>
                <a:gd name="T107" fmla="*/ 54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8" h="81">
                  <a:moveTo>
                    <a:pt x="43" y="0"/>
                  </a:moveTo>
                  <a:cubicBezTo>
                    <a:pt x="44" y="0"/>
                    <a:pt x="47" y="1"/>
                    <a:pt x="51" y="4"/>
                  </a:cubicBezTo>
                  <a:cubicBezTo>
                    <a:pt x="61" y="12"/>
                    <a:pt x="72" y="18"/>
                    <a:pt x="84" y="22"/>
                  </a:cubicBezTo>
                  <a:cubicBezTo>
                    <a:pt x="87" y="23"/>
                    <a:pt x="88" y="25"/>
                    <a:pt x="87" y="28"/>
                  </a:cubicBezTo>
                  <a:cubicBezTo>
                    <a:pt x="86" y="30"/>
                    <a:pt x="85" y="30"/>
                    <a:pt x="82" y="29"/>
                  </a:cubicBezTo>
                  <a:cubicBezTo>
                    <a:pt x="70" y="25"/>
                    <a:pt x="59" y="19"/>
                    <a:pt x="49" y="12"/>
                  </a:cubicBezTo>
                  <a:cubicBezTo>
                    <a:pt x="46" y="10"/>
                    <a:pt x="44" y="8"/>
                    <a:pt x="43" y="8"/>
                  </a:cubicBezTo>
                  <a:cubicBezTo>
                    <a:pt x="43" y="8"/>
                    <a:pt x="41" y="9"/>
                    <a:pt x="38" y="11"/>
                  </a:cubicBezTo>
                  <a:cubicBezTo>
                    <a:pt x="28" y="19"/>
                    <a:pt x="18" y="25"/>
                    <a:pt x="6" y="30"/>
                  </a:cubicBezTo>
                  <a:cubicBezTo>
                    <a:pt x="4" y="31"/>
                    <a:pt x="2" y="30"/>
                    <a:pt x="1" y="28"/>
                  </a:cubicBezTo>
                  <a:cubicBezTo>
                    <a:pt x="0" y="26"/>
                    <a:pt x="1" y="24"/>
                    <a:pt x="3" y="23"/>
                  </a:cubicBezTo>
                  <a:cubicBezTo>
                    <a:pt x="15" y="19"/>
                    <a:pt x="26" y="13"/>
                    <a:pt x="35" y="5"/>
                  </a:cubicBezTo>
                  <a:cubicBezTo>
                    <a:pt x="39" y="2"/>
                    <a:pt x="42" y="0"/>
                    <a:pt x="43" y="0"/>
                  </a:cubicBezTo>
                  <a:close/>
                  <a:moveTo>
                    <a:pt x="21" y="25"/>
                  </a:moveTo>
                  <a:cubicBezTo>
                    <a:pt x="68" y="25"/>
                    <a:pt x="68" y="25"/>
                    <a:pt x="68" y="25"/>
                  </a:cubicBezTo>
                  <a:cubicBezTo>
                    <a:pt x="70" y="25"/>
                    <a:pt x="71" y="26"/>
                    <a:pt x="71" y="28"/>
                  </a:cubicBezTo>
                  <a:cubicBezTo>
                    <a:pt x="71" y="30"/>
                    <a:pt x="70" y="31"/>
                    <a:pt x="6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80" y="42"/>
                    <a:pt x="80" y="42"/>
                    <a:pt x="80" y="42"/>
                  </a:cubicBezTo>
                  <a:cubicBezTo>
                    <a:pt x="82" y="42"/>
                    <a:pt x="83" y="43"/>
                    <a:pt x="83" y="46"/>
                  </a:cubicBezTo>
                  <a:cubicBezTo>
                    <a:pt x="83" y="48"/>
                    <a:pt x="82" y="49"/>
                    <a:pt x="80" y="49"/>
                  </a:cubicBezTo>
                  <a:cubicBezTo>
                    <a:pt x="48" y="49"/>
                    <a:pt x="48" y="49"/>
                    <a:pt x="48" y="49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59" y="73"/>
                    <a:pt x="59" y="72"/>
                    <a:pt x="60" y="70"/>
                  </a:cubicBezTo>
                  <a:cubicBezTo>
                    <a:pt x="64" y="64"/>
                    <a:pt x="67" y="59"/>
                    <a:pt x="70" y="53"/>
                  </a:cubicBezTo>
                  <a:cubicBezTo>
                    <a:pt x="71" y="51"/>
                    <a:pt x="73" y="50"/>
                    <a:pt x="75" y="51"/>
                  </a:cubicBezTo>
                  <a:cubicBezTo>
                    <a:pt x="76" y="52"/>
                    <a:pt x="77" y="54"/>
                    <a:pt x="76" y="56"/>
                  </a:cubicBezTo>
                  <a:cubicBezTo>
                    <a:pt x="72" y="65"/>
                    <a:pt x="69" y="70"/>
                    <a:pt x="66" y="73"/>
                  </a:cubicBezTo>
                  <a:cubicBezTo>
                    <a:pt x="65" y="74"/>
                    <a:pt x="65" y="74"/>
                    <a:pt x="64" y="74"/>
                  </a:cubicBezTo>
                  <a:cubicBezTo>
                    <a:pt x="84" y="74"/>
                    <a:pt x="84" y="74"/>
                    <a:pt x="84" y="74"/>
                  </a:cubicBezTo>
                  <a:cubicBezTo>
                    <a:pt x="86" y="74"/>
                    <a:pt x="87" y="75"/>
                    <a:pt x="87" y="77"/>
                  </a:cubicBezTo>
                  <a:cubicBezTo>
                    <a:pt x="87" y="79"/>
                    <a:pt x="86" y="81"/>
                    <a:pt x="84" y="81"/>
                  </a:cubicBezTo>
                  <a:cubicBezTo>
                    <a:pt x="6" y="81"/>
                    <a:pt x="6" y="81"/>
                    <a:pt x="6" y="81"/>
                  </a:cubicBezTo>
                  <a:cubicBezTo>
                    <a:pt x="3" y="81"/>
                    <a:pt x="2" y="79"/>
                    <a:pt x="2" y="77"/>
                  </a:cubicBezTo>
                  <a:cubicBezTo>
                    <a:pt x="2" y="75"/>
                    <a:pt x="3" y="74"/>
                    <a:pt x="6" y="74"/>
                  </a:cubicBezTo>
                  <a:cubicBezTo>
                    <a:pt x="40" y="74"/>
                    <a:pt x="40" y="74"/>
                    <a:pt x="40" y="74"/>
                  </a:cubicBezTo>
                  <a:cubicBezTo>
                    <a:pt x="40" y="49"/>
                    <a:pt x="40" y="49"/>
                    <a:pt x="40" y="49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7" y="49"/>
                    <a:pt x="6" y="48"/>
                    <a:pt x="6" y="46"/>
                  </a:cubicBezTo>
                  <a:cubicBezTo>
                    <a:pt x="6" y="43"/>
                    <a:pt x="7" y="42"/>
                    <a:pt x="9" y="42"/>
                  </a:cubicBezTo>
                  <a:cubicBezTo>
                    <a:pt x="40" y="42"/>
                    <a:pt x="40" y="42"/>
                    <a:pt x="40" y="42"/>
                  </a:cubicBezTo>
                  <a:cubicBezTo>
                    <a:pt x="40" y="31"/>
                    <a:pt x="40" y="31"/>
                    <a:pt x="40" y="31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19" y="31"/>
                    <a:pt x="18" y="30"/>
                    <a:pt x="18" y="28"/>
                  </a:cubicBezTo>
                  <a:cubicBezTo>
                    <a:pt x="18" y="26"/>
                    <a:pt x="19" y="25"/>
                    <a:pt x="21" y="25"/>
                  </a:cubicBezTo>
                  <a:close/>
                  <a:moveTo>
                    <a:pt x="20" y="54"/>
                  </a:moveTo>
                  <a:cubicBezTo>
                    <a:pt x="23" y="58"/>
                    <a:pt x="25" y="63"/>
                    <a:pt x="27" y="67"/>
                  </a:cubicBezTo>
                  <a:cubicBezTo>
                    <a:pt x="28" y="69"/>
                    <a:pt x="28" y="71"/>
                    <a:pt x="26" y="72"/>
                  </a:cubicBezTo>
                  <a:cubicBezTo>
                    <a:pt x="24" y="73"/>
                    <a:pt x="23" y="73"/>
                    <a:pt x="21" y="71"/>
                  </a:cubicBezTo>
                  <a:cubicBezTo>
                    <a:pt x="19" y="67"/>
                    <a:pt x="17" y="62"/>
                    <a:pt x="14" y="57"/>
                  </a:cubicBezTo>
                  <a:cubicBezTo>
                    <a:pt x="12" y="55"/>
                    <a:pt x="13" y="54"/>
                    <a:pt x="14" y="53"/>
                  </a:cubicBezTo>
                  <a:cubicBezTo>
                    <a:pt x="16" y="52"/>
                    <a:pt x="18" y="52"/>
                    <a:pt x="20" y="54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9" name="Freeform 9"/>
            <p:cNvSpPr>
              <a:spLocks noEditPoints="1"/>
            </p:cNvSpPr>
            <p:nvPr/>
          </p:nvSpPr>
          <p:spPr bwMode="auto">
            <a:xfrm>
              <a:off x="1168400" y="895350"/>
              <a:ext cx="136525" cy="139700"/>
            </a:xfrm>
            <a:custGeom>
              <a:avLst/>
              <a:gdLst>
                <a:gd name="T0" fmla="*/ 39 w 83"/>
                <a:gd name="T1" fmla="*/ 1 h 85"/>
                <a:gd name="T2" fmla="*/ 39 w 83"/>
                <a:gd name="T3" fmla="*/ 7 h 85"/>
                <a:gd name="T4" fmla="*/ 0 w 83"/>
                <a:gd name="T5" fmla="*/ 4 h 85"/>
                <a:gd name="T6" fmla="*/ 6 w 83"/>
                <a:gd name="T7" fmla="*/ 35 h 85"/>
                <a:gd name="T8" fmla="*/ 42 w 83"/>
                <a:gd name="T9" fmla="*/ 41 h 85"/>
                <a:gd name="T10" fmla="*/ 28 w 83"/>
                <a:gd name="T11" fmla="*/ 80 h 85"/>
                <a:gd name="T12" fmla="*/ 30 w 83"/>
                <a:gd name="T13" fmla="*/ 74 h 85"/>
                <a:gd name="T14" fmla="*/ 36 w 83"/>
                <a:gd name="T15" fmla="*/ 42 h 85"/>
                <a:gd name="T16" fmla="*/ 8 w 83"/>
                <a:gd name="T17" fmla="*/ 40 h 85"/>
                <a:gd name="T18" fmla="*/ 6 w 83"/>
                <a:gd name="T19" fmla="*/ 79 h 85"/>
                <a:gd name="T20" fmla="*/ 0 w 83"/>
                <a:gd name="T21" fmla="*/ 79 h 85"/>
                <a:gd name="T22" fmla="*/ 6 w 83"/>
                <a:gd name="T23" fmla="*/ 35 h 85"/>
                <a:gd name="T24" fmla="*/ 32 w 83"/>
                <a:gd name="T25" fmla="*/ 11 h 85"/>
                <a:gd name="T26" fmla="*/ 37 w 83"/>
                <a:gd name="T27" fmla="*/ 23 h 85"/>
                <a:gd name="T28" fmla="*/ 9 w 83"/>
                <a:gd name="T29" fmla="*/ 29 h 85"/>
                <a:gd name="T30" fmla="*/ 4 w 83"/>
                <a:gd name="T31" fmla="*/ 17 h 85"/>
                <a:gd name="T32" fmla="*/ 10 w 83"/>
                <a:gd name="T33" fmla="*/ 56 h 85"/>
                <a:gd name="T34" fmla="*/ 23 w 83"/>
                <a:gd name="T35" fmla="*/ 53 h 85"/>
                <a:gd name="T36" fmla="*/ 31 w 83"/>
                <a:gd name="T37" fmla="*/ 41 h 85"/>
                <a:gd name="T38" fmla="*/ 31 w 83"/>
                <a:gd name="T39" fmla="*/ 48 h 85"/>
                <a:gd name="T40" fmla="*/ 32 w 83"/>
                <a:gd name="T41" fmla="*/ 56 h 85"/>
                <a:gd name="T42" fmla="*/ 32 w 83"/>
                <a:gd name="T43" fmla="*/ 61 h 85"/>
                <a:gd name="T44" fmla="*/ 24 w 83"/>
                <a:gd name="T45" fmla="*/ 76 h 85"/>
                <a:gd name="T46" fmla="*/ 18 w 83"/>
                <a:gd name="T47" fmla="*/ 76 h 85"/>
                <a:gd name="T48" fmla="*/ 10 w 83"/>
                <a:gd name="T49" fmla="*/ 61 h 85"/>
                <a:gd name="T50" fmla="*/ 10 w 83"/>
                <a:gd name="T51" fmla="*/ 56 h 85"/>
                <a:gd name="T52" fmla="*/ 17 w 83"/>
                <a:gd name="T53" fmla="*/ 46 h 85"/>
                <a:gd name="T54" fmla="*/ 17 w 83"/>
                <a:gd name="T55" fmla="*/ 55 h 85"/>
                <a:gd name="T56" fmla="*/ 11 w 83"/>
                <a:gd name="T57" fmla="*/ 50 h 85"/>
                <a:gd name="T58" fmla="*/ 11 w 83"/>
                <a:gd name="T59" fmla="*/ 42 h 85"/>
                <a:gd name="T60" fmla="*/ 30 w 83"/>
                <a:gd name="T61" fmla="*/ 17 h 85"/>
                <a:gd name="T62" fmla="*/ 10 w 83"/>
                <a:gd name="T63" fmla="*/ 19 h 85"/>
                <a:gd name="T64" fmla="*/ 12 w 83"/>
                <a:gd name="T65" fmla="*/ 23 h 85"/>
                <a:gd name="T66" fmla="*/ 31 w 83"/>
                <a:gd name="T67" fmla="*/ 21 h 85"/>
                <a:gd name="T68" fmla="*/ 30 w 83"/>
                <a:gd name="T69" fmla="*/ 17 h 85"/>
                <a:gd name="T70" fmla="*/ 66 w 83"/>
                <a:gd name="T71" fmla="*/ 11 h 85"/>
                <a:gd name="T72" fmla="*/ 79 w 83"/>
                <a:gd name="T73" fmla="*/ 16 h 85"/>
                <a:gd name="T74" fmla="*/ 75 w 83"/>
                <a:gd name="T75" fmla="*/ 54 h 85"/>
                <a:gd name="T76" fmla="*/ 66 w 83"/>
                <a:gd name="T77" fmla="*/ 73 h 85"/>
                <a:gd name="T78" fmla="*/ 71 w 83"/>
                <a:gd name="T79" fmla="*/ 63 h 85"/>
                <a:gd name="T80" fmla="*/ 77 w 83"/>
                <a:gd name="T81" fmla="*/ 61 h 85"/>
                <a:gd name="T82" fmla="*/ 81 w 83"/>
                <a:gd name="T83" fmla="*/ 84 h 85"/>
                <a:gd name="T84" fmla="*/ 75 w 83"/>
                <a:gd name="T85" fmla="*/ 77 h 85"/>
                <a:gd name="T86" fmla="*/ 44 w 83"/>
                <a:gd name="T87" fmla="*/ 78 h 85"/>
                <a:gd name="T88" fmla="*/ 59 w 83"/>
                <a:gd name="T89" fmla="*/ 73 h 85"/>
                <a:gd name="T90" fmla="*/ 52 w 83"/>
                <a:gd name="T91" fmla="*/ 54 h 85"/>
                <a:gd name="T92" fmla="*/ 46 w 83"/>
                <a:gd name="T93" fmla="*/ 16 h 85"/>
                <a:gd name="T94" fmla="*/ 59 w 83"/>
                <a:gd name="T95" fmla="*/ 11 h 85"/>
                <a:gd name="T96" fmla="*/ 62 w 83"/>
                <a:gd name="T97" fmla="*/ 0 h 85"/>
                <a:gd name="T98" fmla="*/ 55 w 83"/>
                <a:gd name="T99" fmla="*/ 17 h 85"/>
                <a:gd name="T100" fmla="*/ 52 w 83"/>
                <a:gd name="T101" fmla="*/ 46 h 85"/>
                <a:gd name="T102" fmla="*/ 59 w 83"/>
                <a:gd name="T103" fmla="*/ 47 h 85"/>
                <a:gd name="T104" fmla="*/ 55 w 83"/>
                <a:gd name="T105" fmla="*/ 17 h 85"/>
                <a:gd name="T106" fmla="*/ 66 w 83"/>
                <a:gd name="T107" fmla="*/ 17 h 85"/>
                <a:gd name="T108" fmla="*/ 71 w 83"/>
                <a:gd name="T109" fmla="*/ 47 h 85"/>
                <a:gd name="T110" fmla="*/ 73 w 83"/>
                <a:gd name="T111" fmla="*/ 2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3" h="85">
                  <a:moveTo>
                    <a:pt x="4" y="1"/>
                  </a:moveTo>
                  <a:cubicBezTo>
                    <a:pt x="39" y="1"/>
                    <a:pt x="39" y="1"/>
                    <a:pt x="39" y="1"/>
                  </a:cubicBezTo>
                  <a:cubicBezTo>
                    <a:pt x="41" y="1"/>
                    <a:pt x="42" y="2"/>
                    <a:pt x="42" y="4"/>
                  </a:cubicBezTo>
                  <a:cubicBezTo>
                    <a:pt x="42" y="6"/>
                    <a:pt x="41" y="7"/>
                    <a:pt x="39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1" y="7"/>
                    <a:pt x="0" y="6"/>
                    <a:pt x="0" y="4"/>
                  </a:cubicBezTo>
                  <a:cubicBezTo>
                    <a:pt x="0" y="2"/>
                    <a:pt x="1" y="1"/>
                    <a:pt x="4" y="1"/>
                  </a:cubicBezTo>
                  <a:close/>
                  <a:moveTo>
                    <a:pt x="6" y="35"/>
                  </a:moveTo>
                  <a:cubicBezTo>
                    <a:pt x="35" y="35"/>
                    <a:pt x="35" y="35"/>
                    <a:pt x="35" y="35"/>
                  </a:cubicBezTo>
                  <a:cubicBezTo>
                    <a:pt x="40" y="35"/>
                    <a:pt x="43" y="37"/>
                    <a:pt x="42" y="41"/>
                  </a:cubicBezTo>
                  <a:cubicBezTo>
                    <a:pt x="42" y="74"/>
                    <a:pt x="42" y="74"/>
                    <a:pt x="42" y="74"/>
                  </a:cubicBezTo>
                  <a:cubicBezTo>
                    <a:pt x="42" y="81"/>
                    <a:pt x="37" y="82"/>
                    <a:pt x="28" y="80"/>
                  </a:cubicBezTo>
                  <a:cubicBezTo>
                    <a:pt x="26" y="79"/>
                    <a:pt x="26" y="78"/>
                    <a:pt x="26" y="76"/>
                  </a:cubicBezTo>
                  <a:cubicBezTo>
                    <a:pt x="27" y="74"/>
                    <a:pt x="28" y="74"/>
                    <a:pt x="30" y="74"/>
                  </a:cubicBezTo>
                  <a:cubicBezTo>
                    <a:pt x="34" y="76"/>
                    <a:pt x="36" y="76"/>
                    <a:pt x="36" y="73"/>
                  </a:cubicBezTo>
                  <a:cubicBezTo>
                    <a:pt x="36" y="42"/>
                    <a:pt x="36" y="42"/>
                    <a:pt x="36" y="42"/>
                  </a:cubicBezTo>
                  <a:cubicBezTo>
                    <a:pt x="36" y="41"/>
                    <a:pt x="36" y="40"/>
                    <a:pt x="35" y="40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6" y="40"/>
                    <a:pt x="5" y="41"/>
                    <a:pt x="6" y="43"/>
                  </a:cubicBezTo>
                  <a:cubicBezTo>
                    <a:pt x="6" y="79"/>
                    <a:pt x="6" y="79"/>
                    <a:pt x="6" y="79"/>
                  </a:cubicBezTo>
                  <a:cubicBezTo>
                    <a:pt x="5" y="81"/>
                    <a:pt x="4" y="82"/>
                    <a:pt x="3" y="82"/>
                  </a:cubicBezTo>
                  <a:cubicBezTo>
                    <a:pt x="1" y="82"/>
                    <a:pt x="0" y="81"/>
                    <a:pt x="0" y="79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37"/>
                    <a:pt x="2" y="35"/>
                    <a:pt x="6" y="35"/>
                  </a:cubicBezTo>
                  <a:close/>
                  <a:moveTo>
                    <a:pt x="9" y="11"/>
                  </a:moveTo>
                  <a:cubicBezTo>
                    <a:pt x="32" y="11"/>
                    <a:pt x="32" y="11"/>
                    <a:pt x="32" y="11"/>
                  </a:cubicBezTo>
                  <a:cubicBezTo>
                    <a:pt x="36" y="11"/>
                    <a:pt x="38" y="13"/>
                    <a:pt x="37" y="17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8" y="28"/>
                    <a:pt x="36" y="30"/>
                    <a:pt x="32" y="29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5" y="29"/>
                    <a:pt x="4" y="27"/>
                    <a:pt x="4" y="23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3" y="13"/>
                    <a:pt x="5" y="11"/>
                    <a:pt x="9" y="11"/>
                  </a:cubicBezTo>
                  <a:close/>
                  <a:moveTo>
                    <a:pt x="10" y="56"/>
                  </a:moveTo>
                  <a:cubicBezTo>
                    <a:pt x="22" y="56"/>
                    <a:pt x="22" y="56"/>
                    <a:pt x="22" y="56"/>
                  </a:cubicBezTo>
                  <a:cubicBezTo>
                    <a:pt x="22" y="55"/>
                    <a:pt x="22" y="54"/>
                    <a:pt x="23" y="53"/>
                  </a:cubicBezTo>
                  <a:cubicBezTo>
                    <a:pt x="24" y="50"/>
                    <a:pt x="26" y="46"/>
                    <a:pt x="27" y="43"/>
                  </a:cubicBezTo>
                  <a:cubicBezTo>
                    <a:pt x="28" y="41"/>
                    <a:pt x="29" y="41"/>
                    <a:pt x="31" y="41"/>
                  </a:cubicBezTo>
                  <a:cubicBezTo>
                    <a:pt x="33" y="42"/>
                    <a:pt x="33" y="44"/>
                    <a:pt x="33" y="46"/>
                  </a:cubicBezTo>
                  <a:cubicBezTo>
                    <a:pt x="32" y="47"/>
                    <a:pt x="32" y="47"/>
                    <a:pt x="31" y="48"/>
                  </a:cubicBezTo>
                  <a:cubicBezTo>
                    <a:pt x="30" y="52"/>
                    <a:pt x="29" y="54"/>
                    <a:pt x="28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3" y="56"/>
                    <a:pt x="34" y="57"/>
                    <a:pt x="34" y="59"/>
                  </a:cubicBezTo>
                  <a:cubicBezTo>
                    <a:pt x="34" y="61"/>
                    <a:pt x="33" y="61"/>
                    <a:pt x="32" y="61"/>
                  </a:cubicBezTo>
                  <a:cubicBezTo>
                    <a:pt x="24" y="61"/>
                    <a:pt x="24" y="61"/>
                    <a:pt x="24" y="61"/>
                  </a:cubicBezTo>
                  <a:cubicBezTo>
                    <a:pt x="24" y="76"/>
                    <a:pt x="24" y="76"/>
                    <a:pt x="24" y="76"/>
                  </a:cubicBezTo>
                  <a:cubicBezTo>
                    <a:pt x="23" y="77"/>
                    <a:pt x="22" y="78"/>
                    <a:pt x="20" y="78"/>
                  </a:cubicBezTo>
                  <a:cubicBezTo>
                    <a:pt x="19" y="78"/>
                    <a:pt x="18" y="77"/>
                    <a:pt x="18" y="76"/>
                  </a:cubicBezTo>
                  <a:cubicBezTo>
                    <a:pt x="18" y="61"/>
                    <a:pt x="18" y="61"/>
                    <a:pt x="18" y="61"/>
                  </a:cubicBezTo>
                  <a:cubicBezTo>
                    <a:pt x="10" y="61"/>
                    <a:pt x="10" y="61"/>
                    <a:pt x="10" y="61"/>
                  </a:cubicBezTo>
                  <a:cubicBezTo>
                    <a:pt x="8" y="61"/>
                    <a:pt x="7" y="61"/>
                    <a:pt x="7" y="59"/>
                  </a:cubicBezTo>
                  <a:cubicBezTo>
                    <a:pt x="7" y="57"/>
                    <a:pt x="8" y="56"/>
                    <a:pt x="10" y="56"/>
                  </a:cubicBezTo>
                  <a:close/>
                  <a:moveTo>
                    <a:pt x="15" y="43"/>
                  </a:moveTo>
                  <a:cubicBezTo>
                    <a:pt x="15" y="44"/>
                    <a:pt x="16" y="45"/>
                    <a:pt x="17" y="46"/>
                  </a:cubicBezTo>
                  <a:cubicBezTo>
                    <a:pt x="17" y="48"/>
                    <a:pt x="18" y="49"/>
                    <a:pt x="19" y="51"/>
                  </a:cubicBezTo>
                  <a:cubicBezTo>
                    <a:pt x="19" y="53"/>
                    <a:pt x="19" y="54"/>
                    <a:pt x="17" y="55"/>
                  </a:cubicBezTo>
                  <a:cubicBezTo>
                    <a:pt x="15" y="56"/>
                    <a:pt x="13" y="55"/>
                    <a:pt x="13" y="53"/>
                  </a:cubicBezTo>
                  <a:cubicBezTo>
                    <a:pt x="12" y="52"/>
                    <a:pt x="12" y="51"/>
                    <a:pt x="11" y="50"/>
                  </a:cubicBezTo>
                  <a:cubicBezTo>
                    <a:pt x="11" y="48"/>
                    <a:pt x="10" y="47"/>
                    <a:pt x="10" y="46"/>
                  </a:cubicBezTo>
                  <a:cubicBezTo>
                    <a:pt x="9" y="44"/>
                    <a:pt x="9" y="43"/>
                    <a:pt x="11" y="42"/>
                  </a:cubicBezTo>
                  <a:cubicBezTo>
                    <a:pt x="13" y="41"/>
                    <a:pt x="14" y="41"/>
                    <a:pt x="15" y="43"/>
                  </a:cubicBezTo>
                  <a:close/>
                  <a:moveTo>
                    <a:pt x="30" y="17"/>
                  </a:moveTo>
                  <a:cubicBezTo>
                    <a:pt x="11" y="17"/>
                    <a:pt x="11" y="17"/>
                    <a:pt x="11" y="17"/>
                  </a:cubicBezTo>
                  <a:cubicBezTo>
                    <a:pt x="10" y="17"/>
                    <a:pt x="9" y="18"/>
                    <a:pt x="10" y="19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10" y="23"/>
                    <a:pt x="10" y="23"/>
                    <a:pt x="12" y="23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31" y="23"/>
                    <a:pt x="31" y="23"/>
                    <a:pt x="31" y="21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1" y="18"/>
                    <a:pt x="31" y="17"/>
                    <a:pt x="30" y="17"/>
                  </a:cubicBezTo>
                  <a:close/>
                  <a:moveTo>
                    <a:pt x="66" y="3"/>
                  </a:moveTo>
                  <a:cubicBezTo>
                    <a:pt x="66" y="11"/>
                    <a:pt x="66" y="11"/>
                    <a:pt x="66" y="11"/>
                  </a:cubicBezTo>
                  <a:cubicBezTo>
                    <a:pt x="74" y="11"/>
                    <a:pt x="74" y="11"/>
                    <a:pt x="74" y="11"/>
                  </a:cubicBezTo>
                  <a:cubicBezTo>
                    <a:pt x="78" y="11"/>
                    <a:pt x="79" y="12"/>
                    <a:pt x="79" y="16"/>
                  </a:cubicBezTo>
                  <a:cubicBezTo>
                    <a:pt x="79" y="48"/>
                    <a:pt x="79" y="48"/>
                    <a:pt x="79" y="48"/>
                  </a:cubicBezTo>
                  <a:cubicBezTo>
                    <a:pt x="79" y="52"/>
                    <a:pt x="78" y="54"/>
                    <a:pt x="75" y="54"/>
                  </a:cubicBezTo>
                  <a:cubicBezTo>
                    <a:pt x="66" y="54"/>
                    <a:pt x="66" y="54"/>
                    <a:pt x="66" y="54"/>
                  </a:cubicBezTo>
                  <a:cubicBezTo>
                    <a:pt x="66" y="73"/>
                    <a:pt x="66" y="73"/>
                    <a:pt x="66" y="73"/>
                  </a:cubicBezTo>
                  <a:cubicBezTo>
                    <a:pt x="74" y="72"/>
                    <a:pt x="74" y="72"/>
                    <a:pt x="74" y="72"/>
                  </a:cubicBezTo>
                  <a:cubicBezTo>
                    <a:pt x="72" y="67"/>
                    <a:pt x="71" y="64"/>
                    <a:pt x="71" y="63"/>
                  </a:cubicBezTo>
                  <a:cubicBezTo>
                    <a:pt x="70" y="61"/>
                    <a:pt x="71" y="60"/>
                    <a:pt x="73" y="59"/>
                  </a:cubicBezTo>
                  <a:cubicBezTo>
                    <a:pt x="75" y="59"/>
                    <a:pt x="76" y="59"/>
                    <a:pt x="77" y="61"/>
                  </a:cubicBezTo>
                  <a:cubicBezTo>
                    <a:pt x="80" y="69"/>
                    <a:pt x="82" y="76"/>
                    <a:pt x="83" y="81"/>
                  </a:cubicBezTo>
                  <a:cubicBezTo>
                    <a:pt x="83" y="83"/>
                    <a:pt x="83" y="84"/>
                    <a:pt x="81" y="84"/>
                  </a:cubicBezTo>
                  <a:cubicBezTo>
                    <a:pt x="79" y="85"/>
                    <a:pt x="77" y="84"/>
                    <a:pt x="77" y="82"/>
                  </a:cubicBezTo>
                  <a:cubicBezTo>
                    <a:pt x="77" y="82"/>
                    <a:pt x="76" y="80"/>
                    <a:pt x="75" y="77"/>
                  </a:cubicBezTo>
                  <a:cubicBezTo>
                    <a:pt x="58" y="79"/>
                    <a:pt x="48" y="81"/>
                    <a:pt x="48" y="81"/>
                  </a:cubicBezTo>
                  <a:cubicBezTo>
                    <a:pt x="46" y="81"/>
                    <a:pt x="44" y="80"/>
                    <a:pt x="44" y="78"/>
                  </a:cubicBezTo>
                  <a:cubicBezTo>
                    <a:pt x="44" y="76"/>
                    <a:pt x="45" y="75"/>
                    <a:pt x="47" y="74"/>
                  </a:cubicBezTo>
                  <a:cubicBezTo>
                    <a:pt x="48" y="74"/>
                    <a:pt x="52" y="74"/>
                    <a:pt x="59" y="73"/>
                  </a:cubicBezTo>
                  <a:cubicBezTo>
                    <a:pt x="59" y="54"/>
                    <a:pt x="59" y="54"/>
                    <a:pt x="59" y="54"/>
                  </a:cubicBezTo>
                  <a:cubicBezTo>
                    <a:pt x="52" y="54"/>
                    <a:pt x="52" y="54"/>
                    <a:pt x="52" y="54"/>
                  </a:cubicBezTo>
                  <a:cubicBezTo>
                    <a:pt x="48" y="54"/>
                    <a:pt x="45" y="52"/>
                    <a:pt x="46" y="49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6" y="12"/>
                    <a:pt x="48" y="11"/>
                    <a:pt x="52" y="11"/>
                  </a:cubicBezTo>
                  <a:cubicBezTo>
                    <a:pt x="59" y="11"/>
                    <a:pt x="59" y="11"/>
                    <a:pt x="59" y="11"/>
                  </a:cubicBezTo>
                  <a:cubicBezTo>
                    <a:pt x="59" y="3"/>
                    <a:pt x="59" y="3"/>
                    <a:pt x="59" y="3"/>
                  </a:cubicBezTo>
                  <a:cubicBezTo>
                    <a:pt x="59" y="1"/>
                    <a:pt x="60" y="0"/>
                    <a:pt x="62" y="0"/>
                  </a:cubicBezTo>
                  <a:cubicBezTo>
                    <a:pt x="65" y="0"/>
                    <a:pt x="66" y="1"/>
                    <a:pt x="66" y="3"/>
                  </a:cubicBezTo>
                  <a:close/>
                  <a:moveTo>
                    <a:pt x="55" y="17"/>
                  </a:moveTo>
                  <a:cubicBezTo>
                    <a:pt x="53" y="17"/>
                    <a:pt x="52" y="18"/>
                    <a:pt x="52" y="20"/>
                  </a:cubicBezTo>
                  <a:cubicBezTo>
                    <a:pt x="52" y="46"/>
                    <a:pt x="52" y="46"/>
                    <a:pt x="52" y="46"/>
                  </a:cubicBezTo>
                  <a:cubicBezTo>
                    <a:pt x="52" y="47"/>
                    <a:pt x="53" y="48"/>
                    <a:pt x="54" y="47"/>
                  </a:cubicBezTo>
                  <a:cubicBezTo>
                    <a:pt x="59" y="47"/>
                    <a:pt x="59" y="47"/>
                    <a:pt x="59" y="47"/>
                  </a:cubicBezTo>
                  <a:cubicBezTo>
                    <a:pt x="59" y="17"/>
                    <a:pt x="59" y="17"/>
                    <a:pt x="59" y="17"/>
                  </a:cubicBezTo>
                  <a:lnTo>
                    <a:pt x="55" y="17"/>
                  </a:lnTo>
                  <a:close/>
                  <a:moveTo>
                    <a:pt x="71" y="17"/>
                  </a:moveTo>
                  <a:cubicBezTo>
                    <a:pt x="66" y="17"/>
                    <a:pt x="66" y="17"/>
                    <a:pt x="66" y="17"/>
                  </a:cubicBezTo>
                  <a:cubicBezTo>
                    <a:pt x="66" y="47"/>
                    <a:pt x="66" y="47"/>
                    <a:pt x="66" y="47"/>
                  </a:cubicBezTo>
                  <a:cubicBezTo>
                    <a:pt x="71" y="47"/>
                    <a:pt x="71" y="47"/>
                    <a:pt x="71" y="47"/>
                  </a:cubicBezTo>
                  <a:cubicBezTo>
                    <a:pt x="72" y="48"/>
                    <a:pt x="73" y="47"/>
                    <a:pt x="73" y="46"/>
                  </a:cubicBezTo>
                  <a:cubicBezTo>
                    <a:pt x="73" y="20"/>
                    <a:pt x="73" y="20"/>
                    <a:pt x="73" y="20"/>
                  </a:cubicBezTo>
                  <a:cubicBezTo>
                    <a:pt x="73" y="18"/>
                    <a:pt x="72" y="17"/>
                    <a:pt x="71" y="17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0" name="Freeform 10"/>
            <p:cNvSpPr>
              <a:spLocks noEditPoints="1"/>
            </p:cNvSpPr>
            <p:nvPr/>
          </p:nvSpPr>
          <p:spPr bwMode="auto">
            <a:xfrm>
              <a:off x="1476375" y="896938"/>
              <a:ext cx="144463" cy="136525"/>
            </a:xfrm>
            <a:custGeom>
              <a:avLst/>
              <a:gdLst>
                <a:gd name="T0" fmla="*/ 34 w 88"/>
                <a:gd name="T1" fmla="*/ 0 h 83"/>
                <a:gd name="T2" fmla="*/ 38 w 88"/>
                <a:gd name="T3" fmla="*/ 2 h 83"/>
                <a:gd name="T4" fmla="*/ 36 w 88"/>
                <a:gd name="T5" fmla="*/ 6 h 83"/>
                <a:gd name="T6" fmla="*/ 25 w 88"/>
                <a:gd name="T7" fmla="*/ 8 h 83"/>
                <a:gd name="T8" fmla="*/ 25 w 88"/>
                <a:gd name="T9" fmla="*/ 23 h 83"/>
                <a:gd name="T10" fmla="*/ 37 w 88"/>
                <a:gd name="T11" fmla="*/ 23 h 83"/>
                <a:gd name="T12" fmla="*/ 37 w 88"/>
                <a:gd name="T13" fmla="*/ 30 h 83"/>
                <a:gd name="T14" fmla="*/ 25 w 88"/>
                <a:gd name="T15" fmla="*/ 30 h 83"/>
                <a:gd name="T16" fmla="*/ 25 w 88"/>
                <a:gd name="T17" fmla="*/ 32 h 83"/>
                <a:gd name="T18" fmla="*/ 39 w 88"/>
                <a:gd name="T19" fmla="*/ 49 h 83"/>
                <a:gd name="T20" fmla="*/ 38 w 88"/>
                <a:gd name="T21" fmla="*/ 54 h 83"/>
                <a:gd name="T22" fmla="*/ 34 w 88"/>
                <a:gd name="T23" fmla="*/ 53 h 83"/>
                <a:gd name="T24" fmla="*/ 25 w 88"/>
                <a:gd name="T25" fmla="*/ 41 h 83"/>
                <a:gd name="T26" fmla="*/ 25 w 88"/>
                <a:gd name="T27" fmla="*/ 79 h 83"/>
                <a:gd name="T28" fmla="*/ 22 w 88"/>
                <a:gd name="T29" fmla="*/ 82 h 83"/>
                <a:gd name="T30" fmla="*/ 19 w 88"/>
                <a:gd name="T31" fmla="*/ 79 h 83"/>
                <a:gd name="T32" fmla="*/ 19 w 88"/>
                <a:gd name="T33" fmla="*/ 42 h 83"/>
                <a:gd name="T34" fmla="*/ 7 w 88"/>
                <a:gd name="T35" fmla="*/ 59 h 83"/>
                <a:gd name="T36" fmla="*/ 1 w 88"/>
                <a:gd name="T37" fmla="*/ 59 h 83"/>
                <a:gd name="T38" fmla="*/ 2 w 88"/>
                <a:gd name="T39" fmla="*/ 54 h 83"/>
                <a:gd name="T40" fmla="*/ 18 w 88"/>
                <a:gd name="T41" fmla="*/ 30 h 83"/>
                <a:gd name="T42" fmla="*/ 5 w 88"/>
                <a:gd name="T43" fmla="*/ 30 h 83"/>
                <a:gd name="T44" fmla="*/ 5 w 88"/>
                <a:gd name="T45" fmla="*/ 23 h 83"/>
                <a:gd name="T46" fmla="*/ 19 w 88"/>
                <a:gd name="T47" fmla="*/ 23 h 83"/>
                <a:gd name="T48" fmla="*/ 19 w 88"/>
                <a:gd name="T49" fmla="*/ 9 h 83"/>
                <a:gd name="T50" fmla="*/ 7 w 88"/>
                <a:gd name="T51" fmla="*/ 10 h 83"/>
                <a:gd name="T52" fmla="*/ 6 w 88"/>
                <a:gd name="T53" fmla="*/ 3 h 83"/>
                <a:gd name="T54" fmla="*/ 34 w 88"/>
                <a:gd name="T55" fmla="*/ 0 h 83"/>
                <a:gd name="T56" fmla="*/ 76 w 88"/>
                <a:gd name="T57" fmla="*/ 4 h 83"/>
                <a:gd name="T58" fmla="*/ 76 w 88"/>
                <a:gd name="T59" fmla="*/ 52 h 83"/>
                <a:gd name="T60" fmla="*/ 81 w 88"/>
                <a:gd name="T61" fmla="*/ 51 h 83"/>
                <a:gd name="T62" fmla="*/ 84 w 88"/>
                <a:gd name="T63" fmla="*/ 50 h 83"/>
                <a:gd name="T64" fmla="*/ 85 w 88"/>
                <a:gd name="T65" fmla="*/ 58 h 83"/>
                <a:gd name="T66" fmla="*/ 76 w 88"/>
                <a:gd name="T67" fmla="*/ 59 h 83"/>
                <a:gd name="T68" fmla="*/ 76 w 88"/>
                <a:gd name="T69" fmla="*/ 80 h 83"/>
                <a:gd name="T70" fmla="*/ 72 w 88"/>
                <a:gd name="T71" fmla="*/ 83 h 83"/>
                <a:gd name="T72" fmla="*/ 69 w 88"/>
                <a:gd name="T73" fmla="*/ 80 h 83"/>
                <a:gd name="T74" fmla="*/ 69 w 88"/>
                <a:gd name="T75" fmla="*/ 60 h 83"/>
                <a:gd name="T76" fmla="*/ 37 w 88"/>
                <a:gd name="T77" fmla="*/ 65 h 83"/>
                <a:gd name="T78" fmla="*/ 33 w 88"/>
                <a:gd name="T79" fmla="*/ 62 h 83"/>
                <a:gd name="T80" fmla="*/ 36 w 88"/>
                <a:gd name="T81" fmla="*/ 58 h 83"/>
                <a:gd name="T82" fmla="*/ 42 w 88"/>
                <a:gd name="T83" fmla="*/ 57 h 83"/>
                <a:gd name="T84" fmla="*/ 69 w 88"/>
                <a:gd name="T85" fmla="*/ 53 h 83"/>
                <a:gd name="T86" fmla="*/ 69 w 88"/>
                <a:gd name="T87" fmla="*/ 5 h 83"/>
                <a:gd name="T88" fmla="*/ 72 w 88"/>
                <a:gd name="T89" fmla="*/ 2 h 83"/>
                <a:gd name="T90" fmla="*/ 76 w 88"/>
                <a:gd name="T91" fmla="*/ 4 h 83"/>
                <a:gd name="T92" fmla="*/ 47 w 88"/>
                <a:gd name="T93" fmla="*/ 26 h 83"/>
                <a:gd name="T94" fmla="*/ 60 w 88"/>
                <a:gd name="T95" fmla="*/ 40 h 83"/>
                <a:gd name="T96" fmla="*/ 59 w 88"/>
                <a:gd name="T97" fmla="*/ 45 h 83"/>
                <a:gd name="T98" fmla="*/ 55 w 88"/>
                <a:gd name="T99" fmla="*/ 45 h 83"/>
                <a:gd name="T100" fmla="*/ 42 w 88"/>
                <a:gd name="T101" fmla="*/ 31 h 83"/>
                <a:gd name="T102" fmla="*/ 42 w 88"/>
                <a:gd name="T103" fmla="*/ 26 h 83"/>
                <a:gd name="T104" fmla="*/ 47 w 88"/>
                <a:gd name="T105" fmla="*/ 26 h 83"/>
                <a:gd name="T106" fmla="*/ 51 w 88"/>
                <a:gd name="T107" fmla="*/ 5 h 83"/>
                <a:gd name="T108" fmla="*/ 65 w 88"/>
                <a:gd name="T109" fmla="*/ 21 h 83"/>
                <a:gd name="T110" fmla="*/ 64 w 88"/>
                <a:gd name="T111" fmla="*/ 26 h 83"/>
                <a:gd name="T112" fmla="*/ 60 w 88"/>
                <a:gd name="T113" fmla="*/ 25 h 83"/>
                <a:gd name="T114" fmla="*/ 46 w 88"/>
                <a:gd name="T115" fmla="*/ 10 h 83"/>
                <a:gd name="T116" fmla="*/ 46 w 88"/>
                <a:gd name="T117" fmla="*/ 5 h 83"/>
                <a:gd name="T118" fmla="*/ 51 w 88"/>
                <a:gd name="T119" fmla="*/ 5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8" h="83">
                  <a:moveTo>
                    <a:pt x="34" y="0"/>
                  </a:moveTo>
                  <a:cubicBezTo>
                    <a:pt x="36" y="0"/>
                    <a:pt x="38" y="0"/>
                    <a:pt x="38" y="2"/>
                  </a:cubicBezTo>
                  <a:cubicBezTo>
                    <a:pt x="39" y="4"/>
                    <a:pt x="38" y="6"/>
                    <a:pt x="36" y="6"/>
                  </a:cubicBezTo>
                  <a:cubicBezTo>
                    <a:pt x="33" y="7"/>
                    <a:pt x="29" y="8"/>
                    <a:pt x="25" y="8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41" y="26"/>
                    <a:pt x="41" y="28"/>
                    <a:pt x="37" y="30"/>
                  </a:cubicBezTo>
                  <a:cubicBezTo>
                    <a:pt x="25" y="30"/>
                    <a:pt x="25" y="30"/>
                    <a:pt x="25" y="30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31" y="38"/>
                    <a:pt x="36" y="43"/>
                    <a:pt x="39" y="49"/>
                  </a:cubicBezTo>
                  <a:cubicBezTo>
                    <a:pt x="40" y="51"/>
                    <a:pt x="40" y="53"/>
                    <a:pt x="38" y="54"/>
                  </a:cubicBezTo>
                  <a:cubicBezTo>
                    <a:pt x="36" y="56"/>
                    <a:pt x="35" y="55"/>
                    <a:pt x="34" y="53"/>
                  </a:cubicBezTo>
                  <a:cubicBezTo>
                    <a:pt x="32" y="50"/>
                    <a:pt x="29" y="46"/>
                    <a:pt x="25" y="41"/>
                  </a:cubicBezTo>
                  <a:cubicBezTo>
                    <a:pt x="25" y="79"/>
                    <a:pt x="25" y="79"/>
                    <a:pt x="25" y="79"/>
                  </a:cubicBezTo>
                  <a:cubicBezTo>
                    <a:pt x="25" y="80"/>
                    <a:pt x="24" y="81"/>
                    <a:pt x="22" y="82"/>
                  </a:cubicBezTo>
                  <a:cubicBezTo>
                    <a:pt x="20" y="81"/>
                    <a:pt x="19" y="80"/>
                    <a:pt x="19" y="79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5" y="49"/>
                    <a:pt x="11" y="54"/>
                    <a:pt x="7" y="59"/>
                  </a:cubicBezTo>
                  <a:cubicBezTo>
                    <a:pt x="5" y="61"/>
                    <a:pt x="3" y="61"/>
                    <a:pt x="1" y="59"/>
                  </a:cubicBezTo>
                  <a:cubicBezTo>
                    <a:pt x="0" y="58"/>
                    <a:pt x="0" y="56"/>
                    <a:pt x="2" y="54"/>
                  </a:cubicBezTo>
                  <a:cubicBezTo>
                    <a:pt x="9" y="48"/>
                    <a:pt x="14" y="40"/>
                    <a:pt x="18" y="30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1" y="28"/>
                    <a:pt x="1" y="25"/>
                    <a:pt x="5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5" y="10"/>
                    <a:pt x="11" y="10"/>
                    <a:pt x="7" y="10"/>
                  </a:cubicBezTo>
                  <a:cubicBezTo>
                    <a:pt x="3" y="9"/>
                    <a:pt x="3" y="6"/>
                    <a:pt x="6" y="3"/>
                  </a:cubicBezTo>
                  <a:cubicBezTo>
                    <a:pt x="15" y="3"/>
                    <a:pt x="25" y="2"/>
                    <a:pt x="34" y="0"/>
                  </a:cubicBezTo>
                  <a:close/>
                  <a:moveTo>
                    <a:pt x="76" y="4"/>
                  </a:moveTo>
                  <a:cubicBezTo>
                    <a:pt x="76" y="52"/>
                    <a:pt x="76" y="52"/>
                    <a:pt x="76" y="52"/>
                  </a:cubicBezTo>
                  <a:cubicBezTo>
                    <a:pt x="77" y="51"/>
                    <a:pt x="79" y="51"/>
                    <a:pt x="81" y="51"/>
                  </a:cubicBezTo>
                  <a:cubicBezTo>
                    <a:pt x="83" y="51"/>
                    <a:pt x="84" y="50"/>
                    <a:pt x="84" y="50"/>
                  </a:cubicBezTo>
                  <a:cubicBezTo>
                    <a:pt x="88" y="53"/>
                    <a:pt x="88" y="55"/>
                    <a:pt x="85" y="58"/>
                  </a:cubicBezTo>
                  <a:cubicBezTo>
                    <a:pt x="80" y="58"/>
                    <a:pt x="77" y="59"/>
                    <a:pt x="76" y="59"/>
                  </a:cubicBezTo>
                  <a:cubicBezTo>
                    <a:pt x="76" y="80"/>
                    <a:pt x="76" y="80"/>
                    <a:pt x="76" y="80"/>
                  </a:cubicBezTo>
                  <a:cubicBezTo>
                    <a:pt x="75" y="82"/>
                    <a:pt x="74" y="83"/>
                    <a:pt x="72" y="83"/>
                  </a:cubicBezTo>
                  <a:cubicBezTo>
                    <a:pt x="70" y="83"/>
                    <a:pt x="69" y="82"/>
                    <a:pt x="69" y="80"/>
                  </a:cubicBezTo>
                  <a:cubicBezTo>
                    <a:pt x="69" y="60"/>
                    <a:pt x="69" y="60"/>
                    <a:pt x="69" y="60"/>
                  </a:cubicBezTo>
                  <a:cubicBezTo>
                    <a:pt x="54" y="63"/>
                    <a:pt x="43" y="64"/>
                    <a:pt x="37" y="65"/>
                  </a:cubicBezTo>
                  <a:cubicBezTo>
                    <a:pt x="35" y="65"/>
                    <a:pt x="34" y="64"/>
                    <a:pt x="33" y="62"/>
                  </a:cubicBezTo>
                  <a:cubicBezTo>
                    <a:pt x="33" y="60"/>
                    <a:pt x="34" y="58"/>
                    <a:pt x="36" y="58"/>
                  </a:cubicBezTo>
                  <a:cubicBezTo>
                    <a:pt x="37" y="58"/>
                    <a:pt x="39" y="57"/>
                    <a:pt x="42" y="57"/>
                  </a:cubicBezTo>
                  <a:cubicBezTo>
                    <a:pt x="53" y="55"/>
                    <a:pt x="62" y="54"/>
                    <a:pt x="69" y="53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69" y="3"/>
                    <a:pt x="70" y="2"/>
                    <a:pt x="72" y="2"/>
                  </a:cubicBezTo>
                  <a:cubicBezTo>
                    <a:pt x="74" y="2"/>
                    <a:pt x="75" y="3"/>
                    <a:pt x="76" y="4"/>
                  </a:cubicBezTo>
                  <a:close/>
                  <a:moveTo>
                    <a:pt x="47" y="26"/>
                  </a:moveTo>
                  <a:cubicBezTo>
                    <a:pt x="52" y="30"/>
                    <a:pt x="56" y="34"/>
                    <a:pt x="60" y="40"/>
                  </a:cubicBezTo>
                  <a:cubicBezTo>
                    <a:pt x="61" y="42"/>
                    <a:pt x="61" y="44"/>
                    <a:pt x="59" y="45"/>
                  </a:cubicBezTo>
                  <a:cubicBezTo>
                    <a:pt x="57" y="47"/>
                    <a:pt x="56" y="46"/>
                    <a:pt x="55" y="45"/>
                  </a:cubicBezTo>
                  <a:cubicBezTo>
                    <a:pt x="51" y="39"/>
                    <a:pt x="47" y="35"/>
                    <a:pt x="42" y="31"/>
                  </a:cubicBezTo>
                  <a:cubicBezTo>
                    <a:pt x="41" y="30"/>
                    <a:pt x="40" y="28"/>
                    <a:pt x="42" y="26"/>
                  </a:cubicBezTo>
                  <a:cubicBezTo>
                    <a:pt x="43" y="25"/>
                    <a:pt x="45" y="25"/>
                    <a:pt x="47" y="26"/>
                  </a:cubicBezTo>
                  <a:close/>
                  <a:moveTo>
                    <a:pt x="51" y="5"/>
                  </a:moveTo>
                  <a:cubicBezTo>
                    <a:pt x="56" y="10"/>
                    <a:pt x="61" y="15"/>
                    <a:pt x="65" y="21"/>
                  </a:cubicBezTo>
                  <a:cubicBezTo>
                    <a:pt x="66" y="23"/>
                    <a:pt x="66" y="25"/>
                    <a:pt x="64" y="26"/>
                  </a:cubicBezTo>
                  <a:cubicBezTo>
                    <a:pt x="63" y="27"/>
                    <a:pt x="61" y="27"/>
                    <a:pt x="60" y="25"/>
                  </a:cubicBezTo>
                  <a:cubicBezTo>
                    <a:pt x="56" y="20"/>
                    <a:pt x="51" y="15"/>
                    <a:pt x="46" y="10"/>
                  </a:cubicBezTo>
                  <a:cubicBezTo>
                    <a:pt x="45" y="9"/>
                    <a:pt x="44" y="7"/>
                    <a:pt x="46" y="5"/>
                  </a:cubicBezTo>
                  <a:cubicBezTo>
                    <a:pt x="47" y="4"/>
                    <a:pt x="49" y="4"/>
                    <a:pt x="51" y="5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1" name="Freeform 11"/>
            <p:cNvSpPr>
              <a:spLocks noEditPoints="1"/>
            </p:cNvSpPr>
            <p:nvPr/>
          </p:nvSpPr>
          <p:spPr bwMode="auto">
            <a:xfrm>
              <a:off x="1644650" y="896938"/>
              <a:ext cx="144463" cy="134937"/>
            </a:xfrm>
            <a:custGeom>
              <a:avLst/>
              <a:gdLst>
                <a:gd name="T0" fmla="*/ 20 w 88"/>
                <a:gd name="T1" fmla="*/ 17 h 82"/>
                <a:gd name="T2" fmla="*/ 30 w 88"/>
                <a:gd name="T3" fmla="*/ 20 h 82"/>
                <a:gd name="T4" fmla="*/ 20 w 88"/>
                <a:gd name="T5" fmla="*/ 23 h 82"/>
                <a:gd name="T6" fmla="*/ 26 w 88"/>
                <a:gd name="T7" fmla="*/ 38 h 82"/>
                <a:gd name="T8" fmla="*/ 30 w 88"/>
                <a:gd name="T9" fmla="*/ 43 h 82"/>
                <a:gd name="T10" fmla="*/ 20 w 88"/>
                <a:gd name="T11" fmla="*/ 75 h 82"/>
                <a:gd name="T12" fmla="*/ 3 w 88"/>
                <a:gd name="T13" fmla="*/ 76 h 82"/>
                <a:gd name="T14" fmla="*/ 13 w 88"/>
                <a:gd name="T15" fmla="*/ 72 h 82"/>
                <a:gd name="T16" fmla="*/ 9 w 88"/>
                <a:gd name="T17" fmla="*/ 52 h 82"/>
                <a:gd name="T18" fmla="*/ 0 w 88"/>
                <a:gd name="T19" fmla="*/ 52 h 82"/>
                <a:gd name="T20" fmla="*/ 5 w 88"/>
                <a:gd name="T21" fmla="*/ 47 h 82"/>
                <a:gd name="T22" fmla="*/ 13 w 88"/>
                <a:gd name="T23" fmla="*/ 23 h 82"/>
                <a:gd name="T24" fmla="*/ 2 w 88"/>
                <a:gd name="T25" fmla="*/ 20 h 82"/>
                <a:gd name="T26" fmla="*/ 13 w 88"/>
                <a:gd name="T27" fmla="*/ 17 h 82"/>
                <a:gd name="T28" fmla="*/ 17 w 88"/>
                <a:gd name="T29" fmla="*/ 1 h 82"/>
                <a:gd name="T30" fmla="*/ 58 w 88"/>
                <a:gd name="T31" fmla="*/ 3 h 82"/>
                <a:gd name="T32" fmla="*/ 81 w 88"/>
                <a:gd name="T33" fmla="*/ 8 h 82"/>
                <a:gd name="T34" fmla="*/ 81 w 88"/>
                <a:gd name="T35" fmla="*/ 15 h 82"/>
                <a:gd name="T36" fmla="*/ 58 w 88"/>
                <a:gd name="T37" fmla="*/ 28 h 82"/>
                <a:gd name="T38" fmla="*/ 80 w 88"/>
                <a:gd name="T39" fmla="*/ 38 h 82"/>
                <a:gd name="T40" fmla="*/ 85 w 88"/>
                <a:gd name="T41" fmla="*/ 75 h 82"/>
                <a:gd name="T42" fmla="*/ 82 w 88"/>
                <a:gd name="T43" fmla="*/ 82 h 82"/>
                <a:gd name="T44" fmla="*/ 29 w 88"/>
                <a:gd name="T45" fmla="*/ 81 h 82"/>
                <a:gd name="T46" fmla="*/ 26 w 88"/>
                <a:gd name="T47" fmla="*/ 74 h 82"/>
                <a:gd name="T48" fmla="*/ 34 w 88"/>
                <a:gd name="T49" fmla="*/ 40 h 82"/>
                <a:gd name="T50" fmla="*/ 33 w 88"/>
                <a:gd name="T51" fmla="*/ 35 h 82"/>
                <a:gd name="T52" fmla="*/ 34 w 88"/>
                <a:gd name="T53" fmla="*/ 28 h 82"/>
                <a:gd name="T54" fmla="*/ 51 w 88"/>
                <a:gd name="T55" fmla="*/ 15 h 82"/>
                <a:gd name="T56" fmla="*/ 28 w 88"/>
                <a:gd name="T57" fmla="*/ 12 h 82"/>
                <a:gd name="T58" fmla="*/ 51 w 88"/>
                <a:gd name="T59" fmla="*/ 8 h 82"/>
                <a:gd name="T60" fmla="*/ 55 w 88"/>
                <a:gd name="T61" fmla="*/ 0 h 82"/>
                <a:gd name="T62" fmla="*/ 70 w 88"/>
                <a:gd name="T63" fmla="*/ 35 h 82"/>
                <a:gd name="T64" fmla="*/ 40 w 88"/>
                <a:gd name="T65" fmla="*/ 36 h 82"/>
                <a:gd name="T66" fmla="*/ 72 w 88"/>
                <a:gd name="T67" fmla="*/ 38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8" h="82">
                  <a:moveTo>
                    <a:pt x="20" y="4"/>
                  </a:moveTo>
                  <a:cubicBezTo>
                    <a:pt x="20" y="17"/>
                    <a:pt x="20" y="17"/>
                    <a:pt x="20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9" y="17"/>
                    <a:pt x="30" y="18"/>
                    <a:pt x="30" y="20"/>
                  </a:cubicBezTo>
                  <a:cubicBezTo>
                    <a:pt x="30" y="22"/>
                    <a:pt x="29" y="23"/>
                    <a:pt x="27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2" y="40"/>
                    <a:pt x="24" y="39"/>
                    <a:pt x="26" y="38"/>
                  </a:cubicBezTo>
                  <a:cubicBezTo>
                    <a:pt x="28" y="37"/>
                    <a:pt x="29" y="38"/>
                    <a:pt x="30" y="39"/>
                  </a:cubicBezTo>
                  <a:cubicBezTo>
                    <a:pt x="31" y="41"/>
                    <a:pt x="31" y="42"/>
                    <a:pt x="30" y="43"/>
                  </a:cubicBezTo>
                  <a:cubicBezTo>
                    <a:pt x="28" y="44"/>
                    <a:pt x="25" y="46"/>
                    <a:pt x="20" y="48"/>
                  </a:cubicBezTo>
                  <a:cubicBezTo>
                    <a:pt x="20" y="75"/>
                    <a:pt x="20" y="75"/>
                    <a:pt x="20" y="75"/>
                  </a:cubicBezTo>
                  <a:cubicBezTo>
                    <a:pt x="19" y="80"/>
                    <a:pt x="15" y="82"/>
                    <a:pt x="6" y="80"/>
                  </a:cubicBezTo>
                  <a:cubicBezTo>
                    <a:pt x="4" y="80"/>
                    <a:pt x="3" y="78"/>
                    <a:pt x="3" y="76"/>
                  </a:cubicBezTo>
                  <a:cubicBezTo>
                    <a:pt x="4" y="74"/>
                    <a:pt x="5" y="73"/>
                    <a:pt x="7" y="74"/>
                  </a:cubicBezTo>
                  <a:cubicBezTo>
                    <a:pt x="12" y="75"/>
                    <a:pt x="14" y="75"/>
                    <a:pt x="13" y="72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13" y="51"/>
                    <a:pt x="11" y="52"/>
                    <a:pt x="9" y="52"/>
                  </a:cubicBezTo>
                  <a:cubicBezTo>
                    <a:pt x="7" y="53"/>
                    <a:pt x="5" y="54"/>
                    <a:pt x="5" y="54"/>
                  </a:cubicBezTo>
                  <a:cubicBezTo>
                    <a:pt x="2" y="55"/>
                    <a:pt x="1" y="54"/>
                    <a:pt x="0" y="52"/>
                  </a:cubicBezTo>
                  <a:cubicBezTo>
                    <a:pt x="0" y="50"/>
                    <a:pt x="0" y="49"/>
                    <a:pt x="2" y="48"/>
                  </a:cubicBezTo>
                  <a:cubicBezTo>
                    <a:pt x="3" y="48"/>
                    <a:pt x="4" y="48"/>
                    <a:pt x="5" y="47"/>
                  </a:cubicBezTo>
                  <a:cubicBezTo>
                    <a:pt x="8" y="46"/>
                    <a:pt x="11" y="45"/>
                    <a:pt x="13" y="44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3" y="23"/>
                    <a:pt x="2" y="22"/>
                    <a:pt x="2" y="20"/>
                  </a:cubicBezTo>
                  <a:cubicBezTo>
                    <a:pt x="2" y="18"/>
                    <a:pt x="3" y="17"/>
                    <a:pt x="5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2"/>
                    <a:pt x="14" y="1"/>
                    <a:pt x="17" y="1"/>
                  </a:cubicBezTo>
                  <a:cubicBezTo>
                    <a:pt x="19" y="1"/>
                    <a:pt x="20" y="2"/>
                    <a:pt x="20" y="4"/>
                  </a:cubicBezTo>
                  <a:close/>
                  <a:moveTo>
                    <a:pt x="58" y="3"/>
                  </a:moveTo>
                  <a:cubicBezTo>
                    <a:pt x="58" y="8"/>
                    <a:pt x="58" y="8"/>
                    <a:pt x="58" y="8"/>
                  </a:cubicBezTo>
                  <a:cubicBezTo>
                    <a:pt x="81" y="8"/>
                    <a:pt x="81" y="8"/>
                    <a:pt x="81" y="8"/>
                  </a:cubicBezTo>
                  <a:cubicBezTo>
                    <a:pt x="83" y="9"/>
                    <a:pt x="84" y="10"/>
                    <a:pt x="85" y="12"/>
                  </a:cubicBezTo>
                  <a:cubicBezTo>
                    <a:pt x="84" y="14"/>
                    <a:pt x="83" y="15"/>
                    <a:pt x="81" y="15"/>
                  </a:cubicBezTo>
                  <a:cubicBezTo>
                    <a:pt x="58" y="15"/>
                    <a:pt x="58" y="15"/>
                    <a:pt x="58" y="15"/>
                  </a:cubicBezTo>
                  <a:cubicBezTo>
                    <a:pt x="58" y="28"/>
                    <a:pt x="58" y="28"/>
                    <a:pt x="58" y="28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80" y="29"/>
                    <a:pt x="82" y="32"/>
                    <a:pt x="80" y="38"/>
                  </a:cubicBezTo>
                  <a:cubicBezTo>
                    <a:pt x="76" y="48"/>
                    <a:pt x="70" y="56"/>
                    <a:pt x="62" y="63"/>
                  </a:cubicBezTo>
                  <a:cubicBezTo>
                    <a:pt x="69" y="68"/>
                    <a:pt x="77" y="72"/>
                    <a:pt x="85" y="75"/>
                  </a:cubicBezTo>
                  <a:cubicBezTo>
                    <a:pt x="87" y="76"/>
                    <a:pt x="88" y="77"/>
                    <a:pt x="87" y="80"/>
                  </a:cubicBezTo>
                  <a:cubicBezTo>
                    <a:pt x="86" y="82"/>
                    <a:pt x="84" y="82"/>
                    <a:pt x="82" y="82"/>
                  </a:cubicBezTo>
                  <a:cubicBezTo>
                    <a:pt x="74" y="78"/>
                    <a:pt x="65" y="74"/>
                    <a:pt x="56" y="68"/>
                  </a:cubicBezTo>
                  <a:cubicBezTo>
                    <a:pt x="48" y="73"/>
                    <a:pt x="39" y="77"/>
                    <a:pt x="29" y="81"/>
                  </a:cubicBezTo>
                  <a:cubicBezTo>
                    <a:pt x="26" y="81"/>
                    <a:pt x="25" y="81"/>
                    <a:pt x="24" y="78"/>
                  </a:cubicBezTo>
                  <a:cubicBezTo>
                    <a:pt x="23" y="76"/>
                    <a:pt x="24" y="75"/>
                    <a:pt x="26" y="74"/>
                  </a:cubicBezTo>
                  <a:cubicBezTo>
                    <a:pt x="36" y="71"/>
                    <a:pt x="44" y="68"/>
                    <a:pt x="50" y="63"/>
                  </a:cubicBezTo>
                  <a:cubicBezTo>
                    <a:pt x="45" y="59"/>
                    <a:pt x="40" y="51"/>
                    <a:pt x="34" y="40"/>
                  </a:cubicBezTo>
                  <a:cubicBezTo>
                    <a:pt x="33" y="38"/>
                    <a:pt x="33" y="37"/>
                    <a:pt x="35" y="35"/>
                  </a:cubicBezTo>
                  <a:cubicBezTo>
                    <a:pt x="33" y="35"/>
                    <a:pt x="33" y="35"/>
                    <a:pt x="33" y="35"/>
                  </a:cubicBezTo>
                  <a:cubicBezTo>
                    <a:pt x="32" y="35"/>
                    <a:pt x="31" y="34"/>
                    <a:pt x="30" y="32"/>
                  </a:cubicBezTo>
                  <a:cubicBezTo>
                    <a:pt x="31" y="29"/>
                    <a:pt x="32" y="28"/>
                    <a:pt x="34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15"/>
                    <a:pt x="51" y="15"/>
                    <a:pt x="5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29" y="15"/>
                    <a:pt x="28" y="14"/>
                    <a:pt x="28" y="12"/>
                  </a:cubicBezTo>
                  <a:cubicBezTo>
                    <a:pt x="28" y="10"/>
                    <a:pt x="29" y="9"/>
                    <a:pt x="31" y="8"/>
                  </a:cubicBezTo>
                  <a:cubicBezTo>
                    <a:pt x="51" y="8"/>
                    <a:pt x="51" y="8"/>
                    <a:pt x="51" y="8"/>
                  </a:cubicBezTo>
                  <a:cubicBezTo>
                    <a:pt x="51" y="3"/>
                    <a:pt x="51" y="3"/>
                    <a:pt x="51" y="3"/>
                  </a:cubicBezTo>
                  <a:cubicBezTo>
                    <a:pt x="51" y="1"/>
                    <a:pt x="52" y="0"/>
                    <a:pt x="55" y="0"/>
                  </a:cubicBezTo>
                  <a:cubicBezTo>
                    <a:pt x="57" y="0"/>
                    <a:pt x="58" y="1"/>
                    <a:pt x="58" y="3"/>
                  </a:cubicBezTo>
                  <a:close/>
                  <a:moveTo>
                    <a:pt x="70" y="35"/>
                  </a:moveTo>
                  <a:cubicBezTo>
                    <a:pt x="39" y="35"/>
                    <a:pt x="39" y="35"/>
                    <a:pt x="39" y="35"/>
                  </a:cubicBezTo>
                  <a:cubicBezTo>
                    <a:pt x="39" y="36"/>
                    <a:pt x="39" y="36"/>
                    <a:pt x="40" y="36"/>
                  </a:cubicBezTo>
                  <a:cubicBezTo>
                    <a:pt x="47" y="47"/>
                    <a:pt x="52" y="55"/>
                    <a:pt x="56" y="58"/>
                  </a:cubicBezTo>
                  <a:cubicBezTo>
                    <a:pt x="63" y="52"/>
                    <a:pt x="68" y="46"/>
                    <a:pt x="72" y="38"/>
                  </a:cubicBezTo>
                  <a:cubicBezTo>
                    <a:pt x="72" y="37"/>
                    <a:pt x="72" y="36"/>
                    <a:pt x="70" y="35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  <p:grpSp>
        <p:nvGrpSpPr>
          <p:cNvPr id="26" name="组合 25"/>
          <p:cNvGrpSpPr/>
          <p:nvPr userDrawn="1"/>
        </p:nvGrpSpPr>
        <p:grpSpPr>
          <a:xfrm>
            <a:off x="741424" y="4001310"/>
            <a:ext cx="5694681" cy="45719"/>
            <a:chOff x="777184" y="3817770"/>
            <a:chExt cx="5694681" cy="45719"/>
          </a:xfrm>
        </p:grpSpPr>
        <p:sp>
          <p:nvSpPr>
            <p:cNvPr id="27" name="矩形 26"/>
            <p:cNvSpPr/>
            <p:nvPr/>
          </p:nvSpPr>
          <p:spPr>
            <a:xfrm>
              <a:off x="777184" y="3817770"/>
              <a:ext cx="857551" cy="45719"/>
            </a:xfrm>
            <a:prstGeom prst="rect">
              <a:avLst/>
            </a:prstGeom>
            <a:solidFill>
              <a:srgbClr val="EA550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cxnSp>
          <p:nvCxnSpPr>
            <p:cNvPr id="28" name="直接连接符 27"/>
            <p:cNvCxnSpPr/>
            <p:nvPr/>
          </p:nvCxnSpPr>
          <p:spPr>
            <a:xfrm>
              <a:off x="1606260" y="3837412"/>
              <a:ext cx="4865605" cy="0"/>
            </a:xfrm>
            <a:prstGeom prst="line">
              <a:avLst/>
            </a:prstGeom>
            <a:ln w="22225">
              <a:gradFill flip="none" rotWithShape="1">
                <a:gsLst>
                  <a:gs pos="0">
                    <a:schemeClr val="accent1">
                      <a:lumMod val="5000"/>
                      <a:lumOff val="95000"/>
                      <a:alpha val="0"/>
                    </a:schemeClr>
                  </a:gs>
                  <a:gs pos="54000">
                    <a:schemeClr val="accent1">
                      <a:lumMod val="45000"/>
                      <a:lumOff val="55000"/>
                    </a:schemeClr>
                  </a:gs>
                  <a:gs pos="83000">
                    <a:srgbClr val="FB832D"/>
                  </a:gs>
                  <a:gs pos="100000">
                    <a:srgbClr val="EA5504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任意多边形: 形状 29"/>
          <p:cNvSpPr/>
          <p:nvPr userDrawn="1"/>
        </p:nvSpPr>
        <p:spPr>
          <a:xfrm>
            <a:off x="6918699" y="3183037"/>
            <a:ext cx="3984653" cy="3682203"/>
          </a:xfrm>
          <a:custGeom>
            <a:avLst/>
            <a:gdLst>
              <a:gd name="connsiteX0" fmla="*/ 2696901 w 5266797"/>
              <a:gd name="connsiteY0" fmla="*/ 0 h 6875362"/>
              <a:gd name="connsiteX1" fmla="*/ 5266797 w 5266797"/>
              <a:gd name="connsiteY1" fmla="*/ 0 h 6875362"/>
              <a:gd name="connsiteX2" fmla="*/ 5266797 w 5266797"/>
              <a:gd name="connsiteY2" fmla="*/ 1408772 h 6875362"/>
              <a:gd name="connsiteX3" fmla="*/ 3126080 w 5266797"/>
              <a:gd name="connsiteY3" fmla="*/ 6866222 h 6875362"/>
              <a:gd name="connsiteX4" fmla="*/ 0 w 5266797"/>
              <a:gd name="connsiteY4" fmla="*/ 6875362 h 6875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66797" h="6875362">
                <a:moveTo>
                  <a:pt x="2696901" y="0"/>
                </a:moveTo>
                <a:lnTo>
                  <a:pt x="5266797" y="0"/>
                </a:lnTo>
                <a:lnTo>
                  <a:pt x="5266797" y="1408772"/>
                </a:lnTo>
                <a:lnTo>
                  <a:pt x="3126080" y="6866222"/>
                </a:lnTo>
                <a:lnTo>
                  <a:pt x="0" y="6875362"/>
                </a:lnTo>
                <a:close/>
              </a:path>
            </a:pathLst>
          </a:custGeom>
          <a:gradFill flip="none" rotWithShape="1">
            <a:gsLst>
              <a:gs pos="32000">
                <a:srgbClr val="FE832C"/>
              </a:gs>
              <a:gs pos="88000">
                <a:srgbClr val="FFCEAB"/>
              </a:gs>
              <a:gs pos="0">
                <a:srgbClr val="EA5504"/>
              </a:gs>
              <a:gs pos="100000">
                <a:srgbClr val="FBE9D5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2" name="文本占位符 31"/>
          <p:cNvSpPr>
            <a:spLocks noGrp="1"/>
          </p:cNvSpPr>
          <p:nvPr>
            <p:ph type="body" sz="quarter" idx="10"/>
          </p:nvPr>
        </p:nvSpPr>
        <p:spPr>
          <a:xfrm>
            <a:off x="639824" y="1904099"/>
            <a:ext cx="6449229" cy="1851875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l" defTabSz="914400" rtl="0" eaLnBrk="1" latinLnBrk="0" hangingPunct="1">
              <a:buNone/>
              <a:defRPr lang="zh-CN" altLang="en-US" sz="4800" b="1" kern="2300" spc="240" dirty="0" smtClean="0">
                <a:ln w="15875">
                  <a:solidFill>
                    <a:schemeClr val="accent1"/>
                  </a:solidFill>
                </a:ln>
                <a:noFill/>
                <a:latin typeface="微软雅黑" panose="020B0503020204020204" charset="-122"/>
                <a:ea typeface="微软雅黑" panose="020B0503020204020204" charset="-122"/>
                <a:cs typeface="+mn-cs"/>
              </a:defRPr>
            </a:lvl1pPr>
            <a:lvl2pPr marL="457200" indent="0">
              <a:buNone/>
              <a:defRPr/>
            </a:lvl2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endParaRPr lang="en-US" altLang="zh-CN" dirty="0"/>
          </a:p>
        </p:txBody>
      </p:sp>
      <p:sp>
        <p:nvSpPr>
          <p:cNvPr id="23" name="文本占位符 5"/>
          <p:cNvSpPr txBox="1"/>
          <p:nvPr userDrawn="1"/>
        </p:nvSpPr>
        <p:spPr>
          <a:xfrm>
            <a:off x="667674" y="4385323"/>
            <a:ext cx="3962401" cy="25224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b="0" dirty="0">
                <a:solidFill>
                  <a:srgbClr val="8F8F8F"/>
                </a:solidFill>
              </a:rPr>
              <a:t>www.pingan</a:t>
            </a:r>
            <a:r>
              <a:rPr lang="en-US" altLang="zh-CN" b="0">
                <a:solidFill>
                  <a:srgbClr val="8F8F8F"/>
                </a:solidFill>
              </a:rPr>
              <a:t>.cn </a:t>
            </a:r>
            <a:endParaRPr lang="en-US" altLang="zh-CN" b="0" dirty="0">
              <a:solidFill>
                <a:srgbClr val="8F8F8F"/>
              </a:solidFill>
            </a:endParaRPr>
          </a:p>
        </p:txBody>
      </p:sp>
      <p:sp>
        <p:nvSpPr>
          <p:cNvPr id="24" name="文本框 23"/>
          <p:cNvSpPr txBox="1"/>
          <p:nvPr userDrawn="1"/>
        </p:nvSpPr>
        <p:spPr>
          <a:xfrm>
            <a:off x="634599" y="4203138"/>
            <a:ext cx="4051702" cy="2522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70000"/>
              </a:lnSpc>
              <a:spcBef>
                <a:spcPts val="1000"/>
              </a:spcBef>
            </a:pPr>
            <a:r>
              <a:rPr lang="zh-CN" altLang="en-US" sz="1400" kern="800" spc="30">
                <a:solidFill>
                  <a:schemeClr val="bg1">
                    <a:lumMod val="50000"/>
                  </a:schemeClr>
                </a:solidFill>
                <a:latin typeface="微软雅黑" panose="020B0503020204020204" charset="-122"/>
              </a:rPr>
              <a:t>专业，让生活更简单</a:t>
            </a:r>
            <a:endParaRPr lang="zh-CN" altLang="en-US" sz="1400" kern="800" spc="30" dirty="0">
              <a:solidFill>
                <a:schemeClr val="bg1">
                  <a:lumMod val="50000"/>
                </a:schemeClr>
              </a:solidFill>
              <a:latin typeface="微软雅黑" panose="020B0503020204020204" charset="-122"/>
            </a:endParaRPr>
          </a:p>
        </p:txBody>
      </p:sp>
      <p:pic>
        <p:nvPicPr>
          <p:cNvPr id="25" name="图片 24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 flipH="1">
            <a:off x="6229392" y="1300480"/>
            <a:ext cx="5962607" cy="555752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1082839" y="654527"/>
            <a:ext cx="2160632" cy="1898542"/>
          </a:xfrm>
          <a:prstGeom prst="rect">
            <a:avLst/>
          </a:pr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kumimoji="1" lang="zh-CN" alt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kumimoji="1" lang="zh-CN" altLang="en-US"/>
              <a:t>拖拽插入图片</a:t>
            </a:r>
            <a:endParaRPr kumimoji="1" lang="zh-CN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0" name="对象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BCF4D">
              <a:alpha val="8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90204" pitchFamily="34" charset="0"/>
              <a:ea typeface="华文楷体" panose="02010600040101010101" pitchFamily="2" charset="-122"/>
              <a:cs typeface="+mn-cs"/>
              <a:sym typeface="Arial" panose="020B0604020202090204" pitchFamily="34" charset="0"/>
            </a:endParaRPr>
          </a:p>
        </p:txBody>
      </p:sp>
      <p:sp>
        <p:nvSpPr>
          <p:cNvPr id="19" name="灯片编号占位符 5"/>
          <p:cNvSpPr txBox="1"/>
          <p:nvPr userDrawn="1"/>
        </p:nvSpPr>
        <p:spPr>
          <a:xfrm>
            <a:off x="8869679" y="6395878"/>
            <a:ext cx="2909888" cy="206381"/>
          </a:xfrm>
          <a:prstGeom prst="rect">
            <a:avLst/>
          </a:prstGeom>
        </p:spPr>
        <p:txBody>
          <a:bodyPr vert="horz" lIns="91440" tIns="0" rIns="91440" bIns="45720" rtlCol="0" anchor="b" anchorCtr="0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DD3DB80-B894-403A-B48E-6FDC1A72010E}" type="slidenum">
              <a:rPr kumimoji="0" lang="zh-CN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90204"/>
                <a:ea typeface="微软雅黑" panose="020B0503020204020204" charset="-122"/>
                <a:cs typeface="+mn-cs"/>
              </a:rPr>
            </a:fld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90204"/>
              <a:ea typeface="微软雅黑" panose="020B0503020204020204" charset="-122"/>
              <a:cs typeface="+mn-cs"/>
            </a:endParaRPr>
          </a:p>
        </p:txBody>
      </p:sp>
      <p:cxnSp>
        <p:nvCxnSpPr>
          <p:cNvPr id="11" name="直接连接符 10"/>
          <p:cNvCxnSpPr/>
          <p:nvPr userDrawn="1"/>
        </p:nvCxnSpPr>
        <p:spPr>
          <a:xfrm>
            <a:off x="171507" y="824671"/>
            <a:ext cx="11822373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标题 5"/>
          <p:cNvSpPr>
            <a:spLocks noGrp="1"/>
          </p:cNvSpPr>
          <p:nvPr>
            <p:ph type="title" hasCustomPrompt="1"/>
          </p:nvPr>
        </p:nvSpPr>
        <p:spPr>
          <a:xfrm>
            <a:off x="171507" y="103259"/>
            <a:ext cx="11822373" cy="537443"/>
          </a:xfrm>
          <a:prstGeom prst="rect">
            <a:avLst/>
          </a:prstGeom>
        </p:spPr>
        <p:txBody>
          <a:bodyPr anchor="b"/>
          <a:lstStyle>
            <a:lvl1pPr>
              <a:defRPr/>
            </a:lvl1pPr>
          </a:lstStyle>
          <a:p>
            <a:r>
              <a:rPr lang="zh-CN" altLang="en-US" dirty="0"/>
              <a:t>标题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221512" y="6392647"/>
            <a:ext cx="702345" cy="29390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日期占位符 1"/>
          <p:cNvSpPr>
            <a:spLocks noGrp="1"/>
          </p:cNvSpPr>
          <p:nvPr>
            <p:ph type="dt" sz="half" idx="10"/>
          </p:nvPr>
        </p:nvSpPr>
        <p:spPr>
          <a:xfrm>
            <a:off x="6290733" y="8546253"/>
            <a:ext cx="3657600" cy="365760"/>
          </a:xfrm>
        </p:spPr>
        <p:txBody>
          <a:bodyPr/>
          <a:lstStyle/>
          <a:p>
            <a:endParaRPr lang="en-US"/>
          </a:p>
        </p:txBody>
      </p:sp>
      <p:sp>
        <p:nvSpPr>
          <p:cNvPr id="7" name="页脚占位符 2"/>
          <p:cNvSpPr>
            <a:spLocks noGrp="1"/>
          </p:cNvSpPr>
          <p:nvPr>
            <p:ph type="ftr" sz="quarter" idx="11"/>
          </p:nvPr>
        </p:nvSpPr>
        <p:spPr>
          <a:xfrm>
            <a:off x="880532" y="8546253"/>
            <a:ext cx="4876800" cy="36576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8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10481733" y="8546253"/>
            <a:ext cx="4876800" cy="365760"/>
          </a:xfrm>
        </p:spPr>
        <p:txBody>
          <a:bodyPr/>
          <a:lstStyle/>
          <a:p>
            <a:fld id="{C8BB1146-E542-4D4E-B8E9-6919A11DDD48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-OfficePL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4" name="日期占位符 2"/>
          <p:cNvSpPr>
            <a:spLocks noGrp="1"/>
          </p:cNvSpPr>
          <p:nvPr>
            <p:ph type="dt" sz="half" idx="10"/>
          </p:nvPr>
        </p:nvSpPr>
        <p:spPr>
          <a:xfrm>
            <a:off x="5401732" y="6235700"/>
            <a:ext cx="1388536" cy="206381"/>
          </a:xfrm>
          <a:prstGeom prst="rect">
            <a:avLst/>
          </a:prstGeom>
        </p:spPr>
        <p:txBody>
          <a:bodyPr/>
          <a:lstStyle/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5" name="页脚占位符 3"/>
          <p:cNvSpPr>
            <a:spLocks noGrp="1"/>
          </p:cNvSpPr>
          <p:nvPr>
            <p:ph type="ftr" sz="quarter" idx="11"/>
          </p:nvPr>
        </p:nvSpPr>
        <p:spPr>
          <a:xfrm>
            <a:off x="669924" y="6235700"/>
            <a:ext cx="4140201" cy="206381"/>
          </a:xfrm>
          <a:prstGeom prst="rect">
            <a:avLst/>
          </a:prstGeom>
        </p:spPr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6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610599" y="6235700"/>
            <a:ext cx="2909888" cy="206381"/>
          </a:xfrm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封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0"/>
            <a:ext cx="12192000" cy="6850506"/>
          </a:xfrm>
          <a:prstGeom prst="rect">
            <a:avLst/>
          </a:prstGeom>
        </p:spPr>
      </p:pic>
      <p:sp>
        <p:nvSpPr>
          <p:cNvPr id="24" name="Rectangle 2"/>
          <p:cNvSpPr/>
          <p:nvPr userDrawn="1"/>
        </p:nvSpPr>
        <p:spPr bwMode="auto">
          <a:xfrm flipH="1">
            <a:off x="0" y="3073313"/>
            <a:ext cx="10920534" cy="2262324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0"/>
                  <a:lumOff val="100000"/>
                </a:schemeClr>
              </a:gs>
              <a:gs pos="95000">
                <a:schemeClr val="accent1">
                  <a:lumMod val="0"/>
                  <a:lumOff val="100000"/>
                  <a:alpha val="0"/>
                </a:schemeClr>
              </a:gs>
              <a:gs pos="44000">
                <a:schemeClr val="accent2">
                  <a:alpha val="80000"/>
                </a:schemeClr>
              </a:gs>
              <a:gs pos="0">
                <a:schemeClr val="accent1">
                  <a:alpha val="80000"/>
                </a:schemeClr>
              </a:gs>
            </a:gsLst>
            <a:lin ang="10800000" scaled="1"/>
            <a:tileRect/>
          </a:gradFill>
          <a:ln>
            <a:noFill/>
          </a:ln>
        </p:spPr>
        <p:txBody>
          <a:bodyPr lIns="0" tIns="0" rIns="0" bIns="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对象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矩形 2" hidden="1"/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4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90204" pitchFamily="34" charset="0"/>
              <a:ea typeface="微软雅黑" panose="020B0503020204020204" charset="-122"/>
              <a:cs typeface="+mn-cs"/>
              <a:sym typeface="Arial" panose="020B0604020202090204" pitchFamily="34" charset="0"/>
            </a:endParaRPr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0" hasCustomPrompt="1"/>
          </p:nvPr>
        </p:nvSpPr>
        <p:spPr>
          <a:xfrm>
            <a:off x="435184" y="3212976"/>
            <a:ext cx="7567612" cy="108012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algn="l">
              <a:buNone/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此处编辑标题</a:t>
            </a:r>
            <a:endParaRPr lang="zh-CN" altLang="en-US" dirty="0"/>
          </a:p>
        </p:txBody>
      </p:sp>
      <p:sp>
        <p:nvSpPr>
          <p:cNvPr id="10" name="文本占位符 9"/>
          <p:cNvSpPr>
            <a:spLocks noGrp="1"/>
          </p:cNvSpPr>
          <p:nvPr>
            <p:ph type="body" sz="quarter" idx="11" hasCustomPrompt="1"/>
          </p:nvPr>
        </p:nvSpPr>
        <p:spPr>
          <a:xfrm>
            <a:off x="435184" y="4444190"/>
            <a:ext cx="7567612" cy="78501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此处编辑副标题</a:t>
            </a:r>
            <a:endParaRPr lang="zh-CN" altLang="en-US" dirty="0"/>
          </a:p>
        </p:txBody>
      </p:sp>
      <p:sp>
        <p:nvSpPr>
          <p:cNvPr id="12" name="矩形 11"/>
          <p:cNvSpPr/>
          <p:nvPr userDrawn="1"/>
        </p:nvSpPr>
        <p:spPr>
          <a:xfrm>
            <a:off x="-1" y="5335637"/>
            <a:ext cx="12191999" cy="15223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9300883" y="6381684"/>
            <a:ext cx="2743200" cy="365125"/>
          </a:xfrm>
        </p:spPr>
        <p:txBody>
          <a:bodyPr/>
          <a:lstStyle>
            <a:lvl1pPr algn="r">
              <a:defRPr sz="1600"/>
            </a:lvl1pPr>
          </a:lstStyle>
          <a:p>
            <a:fld id="{D174682D-7201-4549-AB46-A3B3CC68F057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封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4" name="Rectangle 2"/>
          <p:cNvSpPr/>
          <p:nvPr userDrawn="1"/>
        </p:nvSpPr>
        <p:spPr bwMode="auto">
          <a:xfrm flipH="1">
            <a:off x="4493" y="2451820"/>
            <a:ext cx="12190413" cy="1985292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noFill/>
          </a:ln>
        </p:spPr>
        <p:txBody>
          <a:bodyPr lIns="0" tIns="0" rIns="0" bIns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对象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矩形 2" hidden="1"/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4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90204" pitchFamily="34" charset="0"/>
              <a:ea typeface="微软雅黑" panose="020B0503020204020204" charset="-122"/>
              <a:cs typeface="+mn-cs"/>
              <a:sym typeface="Arial" panose="020B0604020202090204" pitchFamily="34" charset="0"/>
            </a:endParaRPr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0" hasCustomPrompt="1"/>
          </p:nvPr>
        </p:nvSpPr>
        <p:spPr>
          <a:xfrm>
            <a:off x="4495" y="2970699"/>
            <a:ext cx="12190413" cy="94753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/>
              <a:t>谢谢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0" name="对象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BCF4D">
              <a:alpha val="8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en-US" altLang="zh-CN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90204" pitchFamily="34" charset="0"/>
              <a:ea typeface="华文楷体" panose="02010600040101010101" pitchFamily="2" charset="-122"/>
              <a:cs typeface="+mj-cs"/>
              <a:sym typeface="Arial" panose="020B0604020202090204" pitchFamily="34" charset="0"/>
            </a:endParaRPr>
          </a:p>
        </p:txBody>
      </p:sp>
      <p:sp>
        <p:nvSpPr>
          <p:cNvPr id="19" name="灯片编号占位符 5"/>
          <p:cNvSpPr txBox="1"/>
          <p:nvPr userDrawn="1"/>
        </p:nvSpPr>
        <p:spPr>
          <a:xfrm>
            <a:off x="8869679" y="6395878"/>
            <a:ext cx="2909888" cy="206381"/>
          </a:xfrm>
          <a:prstGeom prst="rect">
            <a:avLst/>
          </a:prstGeom>
        </p:spPr>
        <p:txBody>
          <a:bodyPr vert="horz" lIns="91440" tIns="0" rIns="91440" bIns="45720" rtlCol="0" anchor="b" anchorCtr="0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DD3DB80-B894-403A-B48E-6FDC1A72010E}" type="slidenum">
              <a:rPr lang="zh-CN" altLang="en-US" sz="1200" b="1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 panose="020B0604020202090204"/>
                <a:ea typeface="微软雅黑" panose="020B0503020204020204" charset="-122"/>
              </a:rPr>
            </a:fld>
            <a:endParaRPr lang="zh-CN" altLang="en-US" sz="1200" b="1" dirty="0">
              <a:solidFill>
                <a:srgbClr val="000000">
                  <a:lumMod val="50000"/>
                  <a:lumOff val="50000"/>
                </a:srgbClr>
              </a:solidFill>
              <a:latin typeface="Arial" panose="020B0604020202090204"/>
              <a:ea typeface="微软雅黑" panose="020B0503020204020204" charset="-122"/>
            </a:endParaRPr>
          </a:p>
        </p:txBody>
      </p:sp>
      <p:cxnSp>
        <p:nvCxnSpPr>
          <p:cNvPr id="11" name="直接连接符 10"/>
          <p:cNvCxnSpPr/>
          <p:nvPr userDrawn="1"/>
        </p:nvCxnSpPr>
        <p:spPr>
          <a:xfrm>
            <a:off x="171507" y="1028700"/>
            <a:ext cx="11822373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标题 5"/>
          <p:cNvSpPr>
            <a:spLocks noGrp="1"/>
          </p:cNvSpPr>
          <p:nvPr>
            <p:ph type="title" hasCustomPrompt="1"/>
          </p:nvPr>
        </p:nvSpPr>
        <p:spPr>
          <a:xfrm>
            <a:off x="171507" y="121920"/>
            <a:ext cx="11822373" cy="845820"/>
          </a:xfrm>
          <a:prstGeom prst="rect">
            <a:avLst/>
          </a:prstGeom>
        </p:spPr>
        <p:txBody>
          <a:bodyPr anchor="b"/>
          <a:lstStyle>
            <a:lvl1pPr>
              <a:defRPr/>
            </a:lvl1pPr>
          </a:lstStyle>
          <a:p>
            <a:r>
              <a:rPr lang="zh-CN" altLang="en-US" dirty="0"/>
              <a:t>标题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3" imgW="0" imgH="0" progId="TCLayout.ActiveDocument.1">
                  <p:embed/>
                </p:oleObj>
              </mc:Choice>
              <mc:Fallback>
                <p:oleObj name="think-cell 幻灯片" r:id="rId3" imgW="0" imgH="0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altLang="zh-CN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703020202090204" pitchFamily="34" charset="0"/>
              </a:rPr>
              <a:t>202105 TED Sample Slides WhiteV13_Gaoliao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703020202090204" pitchFamily="34" charset="0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140399"/>
            <a:ext cx="10934700" cy="72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lnSpc>
                <a:spcPct val="100000"/>
              </a:lnSpc>
              <a:defRPr b="1"/>
            </a:lvl1pPr>
          </a:lstStyle>
          <a:p>
            <a:r>
              <a:rPr lang="en-US" altLang="zh-CN" dirty="0"/>
              <a:t>Click to add title</a:t>
            </a:r>
            <a:endParaRPr lang="en-US" dirty="0"/>
          </a:p>
        </p:txBody>
      </p:sp>
      <p:sp>
        <p:nvSpPr>
          <p:cNvPr id="8" name="文本占位符 6"/>
          <p:cNvSpPr>
            <a:spLocks noGrp="1"/>
          </p:cNvSpPr>
          <p:nvPr>
            <p:ph type="body" sz="quarter" idx="11" hasCustomPrompt="1"/>
          </p:nvPr>
        </p:nvSpPr>
        <p:spPr>
          <a:xfrm>
            <a:off x="360000" y="6408210"/>
            <a:ext cx="10934700" cy="422275"/>
          </a:xfrm>
        </p:spPr>
        <p:txBody>
          <a:bodyPr tIns="0" bIns="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1000" b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en-US" altLang="zh-CN" dirty="0"/>
              <a:t>Note:</a:t>
            </a:r>
            <a:br>
              <a:rPr lang="en-US" altLang="zh-CN" dirty="0"/>
            </a:br>
            <a:r>
              <a:rPr lang="en-US" altLang="zh-CN" dirty="0"/>
              <a:t>Source: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3" descr="1321321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29" t="-11413" r="28311" b="-8087"/>
          <a:stretch>
            <a:fillRect/>
          </a:stretch>
        </p:blipFill>
        <p:spPr bwMode="auto">
          <a:xfrm>
            <a:off x="-2" y="6537324"/>
            <a:ext cx="12192001" cy="335915"/>
          </a:xfrm>
          <a:prstGeom prst="rect">
            <a:avLst/>
          </a:prstGeom>
          <a:noFill/>
          <a:ln>
            <a:noFill/>
          </a:ln>
          <a:effectLst>
            <a:glow>
              <a:schemeClr val="accent1">
                <a:alpha val="40000"/>
              </a:schemeClr>
            </a:glow>
            <a:outerShdw blurRad="50800" dist="50800" dir="5400000" algn="ctr" rotWithShape="0">
              <a:srgbClr val="000000">
                <a:alpha val="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标题 1"/>
          <p:cNvSpPr txBox="1"/>
          <p:nvPr userDrawn="1"/>
        </p:nvSpPr>
        <p:spPr>
          <a:xfrm>
            <a:off x="335360" y="241511"/>
            <a:ext cx="11390032" cy="431136"/>
          </a:xfrm>
          <a:prstGeom prst="rect">
            <a:avLst/>
          </a:prstGeom>
        </p:spPr>
        <p:txBody>
          <a:bodyPr lIns="0" rIns="47997" anchor="ctr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+mj-lt"/>
                <a:ea typeface="华文楷体" panose="02010600040101010101" pitchFamily="2" charset="-122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5865">
                <a:solidFill>
                  <a:schemeClr val="tx1"/>
                </a:solidFill>
                <a:latin typeface="Calibri" panose="020F0502020204030204" pitchFamily="34" charset="0"/>
                <a:ea typeface="宋体" pitchFamily="2" charset="-122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5865">
                <a:solidFill>
                  <a:schemeClr val="tx1"/>
                </a:solidFill>
                <a:latin typeface="Calibri" panose="020F0502020204030204" pitchFamily="34" charset="0"/>
                <a:ea typeface="宋体" pitchFamily="2" charset="-122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5865">
                <a:solidFill>
                  <a:schemeClr val="tx1"/>
                </a:solidFill>
                <a:latin typeface="Calibri" panose="020F0502020204030204" pitchFamily="34" charset="0"/>
                <a:ea typeface="宋体" pitchFamily="2" charset="-122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5865">
                <a:solidFill>
                  <a:schemeClr val="tx1"/>
                </a:solidFill>
                <a:latin typeface="Calibri" panose="020F0502020204030204" pitchFamily="34" charset="0"/>
                <a:ea typeface="宋体" pitchFamily="2" charset="-122"/>
              </a:defRPr>
            </a:lvl5pPr>
            <a:lvl6pPr marL="609600" algn="ctr" rtl="0" fontAlgn="base">
              <a:spcBef>
                <a:spcPct val="0"/>
              </a:spcBef>
              <a:spcAft>
                <a:spcPct val="0"/>
              </a:spcAft>
              <a:defRPr sz="5865">
                <a:solidFill>
                  <a:schemeClr val="tx1"/>
                </a:solidFill>
                <a:latin typeface="Calibri" panose="020F0502020204030204" pitchFamily="34" charset="0"/>
                <a:ea typeface="宋体" pitchFamily="2" charset="-122"/>
              </a:defRPr>
            </a:lvl6pPr>
            <a:lvl7pPr marL="1219200" algn="ctr" rtl="0" fontAlgn="base">
              <a:spcBef>
                <a:spcPct val="0"/>
              </a:spcBef>
              <a:spcAft>
                <a:spcPct val="0"/>
              </a:spcAft>
              <a:defRPr sz="5865">
                <a:solidFill>
                  <a:schemeClr val="tx1"/>
                </a:solidFill>
                <a:latin typeface="Calibri" panose="020F0502020204030204" pitchFamily="34" charset="0"/>
                <a:ea typeface="宋体" pitchFamily="2" charset="-122"/>
              </a:defRPr>
            </a:lvl7pPr>
            <a:lvl8pPr marL="1828800" algn="ctr" rtl="0" fontAlgn="base">
              <a:spcBef>
                <a:spcPct val="0"/>
              </a:spcBef>
              <a:spcAft>
                <a:spcPct val="0"/>
              </a:spcAft>
              <a:defRPr sz="5865">
                <a:solidFill>
                  <a:schemeClr val="tx1"/>
                </a:solidFill>
                <a:latin typeface="Calibri" panose="020F0502020204030204" pitchFamily="34" charset="0"/>
                <a:ea typeface="宋体" pitchFamily="2" charset="-122"/>
              </a:defRPr>
            </a:lvl8pPr>
            <a:lvl9pPr marL="2438400" algn="ctr" rtl="0" fontAlgn="base">
              <a:spcBef>
                <a:spcPct val="0"/>
              </a:spcBef>
              <a:spcAft>
                <a:spcPct val="0"/>
              </a:spcAft>
              <a:defRPr sz="5865">
                <a:solidFill>
                  <a:schemeClr val="tx1"/>
                </a:solidFill>
                <a:latin typeface="Calibri" panose="020F0502020204030204" pitchFamily="34" charset="0"/>
                <a:ea typeface="宋体" pitchFamily="2" charset="-122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j-cs"/>
            </a:endParaRPr>
          </a:p>
        </p:txBody>
      </p:sp>
      <p:sp>
        <p:nvSpPr>
          <p:cNvPr id="8" name="灯片编号占位符 3"/>
          <p:cNvSpPr>
            <a:spLocks noGrp="1"/>
          </p:cNvSpPr>
          <p:nvPr>
            <p:ph type="sldNum" sz="quarter" idx="4"/>
          </p:nvPr>
        </p:nvSpPr>
        <p:spPr>
          <a:xfrm>
            <a:off x="9342967" y="6534854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华文楷体" panose="02010600040101010101" pitchFamily="2" charset="-122"/>
                <a:ea typeface="华文楷体" panose="02010600040101010101" pitchFamily="2" charset="-122"/>
              </a:defRPr>
            </a:lvl1pPr>
          </a:lstStyle>
          <a:p>
            <a:pPr algn="r">
              <a:defRPr/>
            </a:pPr>
            <a:r>
              <a:rPr lang="zh-CN" altLang="en-US"/>
              <a:t>第</a:t>
            </a:r>
            <a:fld id="{05D54425-7CA0-47B8-BF13-C0F370DB0253}" type="slidenum">
              <a:rPr lang="zh-CN" altLang="en-US" smtClean="0"/>
            </a:fld>
            <a:r>
              <a:rPr lang="zh-CN" altLang="en-US"/>
              <a:t>页</a:t>
            </a:r>
            <a:endParaRPr lang="zh-CN" altLang="en-US" dirty="0"/>
          </a:p>
        </p:txBody>
      </p:sp>
      <p:pic>
        <p:nvPicPr>
          <p:cNvPr id="9" name="Picture 21" descr="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325" y="6644961"/>
            <a:ext cx="1387290" cy="1271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791727" y="4113203"/>
            <a:ext cx="3285901" cy="1765813"/>
          </a:xfrm>
          <a:prstGeom prst="rect">
            <a:avLst/>
          </a:pr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kumimoji="1" lang="zh-CN" alt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kumimoji="1" lang="zh-CN" altLang="en-US"/>
              <a:t>拖拽插入图片</a:t>
            </a:r>
            <a:endParaRPr kumimoji="1" lang="zh-CN" altLang="en-US"/>
          </a:p>
        </p:txBody>
      </p:sp>
      <p:sp>
        <p:nvSpPr>
          <p:cNvPr id="6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4453048" y="4113203"/>
            <a:ext cx="3285901" cy="1765813"/>
          </a:xfrm>
          <a:prstGeom prst="rect">
            <a:avLst/>
          </a:pr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kumimoji="1" lang="zh-CN" alt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kumimoji="1" lang="zh-CN" altLang="en-US"/>
              <a:t>拖拽插入图片</a:t>
            </a:r>
            <a:endParaRPr kumimoji="1" lang="zh-CN" altLang="en-US"/>
          </a:p>
        </p:txBody>
      </p:sp>
      <p:sp>
        <p:nvSpPr>
          <p:cNvPr id="7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8114371" y="4113203"/>
            <a:ext cx="3285901" cy="1765813"/>
          </a:xfrm>
          <a:prstGeom prst="rect">
            <a:avLst/>
          </a:pr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kumimoji="1" lang="zh-CN" alt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kumimoji="1" lang="zh-CN" altLang="en-US"/>
              <a:t>拖拽插入图片</a:t>
            </a:r>
            <a:endParaRPr kumimoji="1" lang="zh-CN" altLang="en-US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kumimoji="1" lang="zh-CN" alt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kumimoji="1" lang="zh-CN" altLang="en-US"/>
              <a:t>拖拽插入图片</a:t>
            </a:r>
            <a:endParaRPr kumimoji="1" lang="zh-CN" altLang="en-US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3" imgW="0" imgH="0" progId="TCLayout.ActiveDocument.1">
                  <p:embed/>
                </p:oleObj>
              </mc:Choice>
              <mc:Fallback>
                <p:oleObj name="think-cell 幻灯片" r:id="rId3" imgW="0" imgH="0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矩形 2"/>
          <p:cNvSpPr/>
          <p:nvPr/>
        </p:nvSpPr>
        <p:spPr>
          <a:xfrm>
            <a:off x="0" y="0"/>
            <a:ext cx="129309" cy="6858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 rotWithShape="1">
          <a:blip r:embed="rId5" cstate="email"/>
          <a:srcRect r="6177"/>
          <a:stretch>
            <a:fillRect/>
          </a:stretch>
        </p:blipFill>
        <p:spPr bwMode="auto">
          <a:xfrm>
            <a:off x="295564" y="0"/>
            <a:ext cx="11896436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Rectangle 20"/>
          <p:cNvSpPr/>
          <p:nvPr/>
        </p:nvSpPr>
        <p:spPr bwMode="black">
          <a:xfrm>
            <a:off x="115021" y="2004291"/>
            <a:ext cx="9415624" cy="2292405"/>
          </a:xfrm>
          <a:prstGeom prst="rect">
            <a:avLst/>
          </a:prstGeom>
          <a:solidFill>
            <a:srgbClr val="EA5404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sym typeface="Trebuchet MS" panose="020B0703020202090204" pitchFamily="34" charset="0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7305368" y="6207842"/>
            <a:ext cx="4681760" cy="327148"/>
          </a:xfrm>
          <a:prstGeom prst="rect">
            <a:avLst/>
          </a:prstGeom>
          <a:noFill/>
        </p:spPr>
        <p:txBody>
          <a:bodyPr anchor="ctr"/>
          <a:lstStyle>
            <a:lvl1pPr algn="r">
              <a:lnSpc>
                <a:spcPct val="110000"/>
              </a:lnSpc>
              <a:buNone/>
              <a:defRPr sz="1600" b="1" cap="all" baseline="0">
                <a:solidFill>
                  <a:srgbClr val="FFFFFF"/>
                </a:solidFill>
                <a:latin typeface="+mn-lt"/>
                <a:sym typeface="Trebuchet MS" panose="020B070302020209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957600" y="3834054"/>
            <a:ext cx="7607902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2000" b="0" baseline="0">
                <a:solidFill>
                  <a:schemeClr val="bg1"/>
                </a:solidFill>
                <a:latin typeface="+mn-lt"/>
                <a:sym typeface="Trebuchet MS" panose="020B070302020209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  <a:endParaRPr lang="en-US" dirty="0"/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957600" y="2257799"/>
            <a:ext cx="7607902" cy="1431161"/>
          </a:xfrm>
          <a:prstGeom prst="rect">
            <a:avLst/>
          </a:prstGeom>
        </p:spPr>
        <p:txBody>
          <a:bodyPr vert="horz" wrap="square" anchor="ctr">
            <a:noAutofit/>
          </a:bodyPr>
          <a:lstStyle>
            <a:lvl1pPr algn="l">
              <a:lnSpc>
                <a:spcPct val="93000"/>
              </a:lnSpc>
              <a:defRPr sz="5000" b="1" baseline="0">
                <a:solidFill>
                  <a:schemeClr val="bg1"/>
                </a:solidFill>
                <a:latin typeface="+mj-lt"/>
                <a:sym typeface="Trebuchet MS" panose="020B0703020202090204" pitchFamily="34" charset="0"/>
              </a:defRPr>
            </a:lvl1pPr>
          </a:lstStyle>
          <a:p>
            <a:r>
              <a:rPr lang="en-US" altLang="zh-CN" dirty="0"/>
              <a:t>Title in Title Case</a:t>
            </a:r>
            <a:endParaRPr lang="en-US" dirty="0"/>
          </a:p>
        </p:txBody>
      </p:sp>
      <p:grpSp>
        <p:nvGrpSpPr>
          <p:cNvPr id="16" name="组合 15"/>
          <p:cNvGrpSpPr>
            <a:grpSpLocks noChangeAspect="1"/>
          </p:cNvGrpSpPr>
          <p:nvPr/>
        </p:nvGrpSpPr>
        <p:grpSpPr>
          <a:xfrm>
            <a:off x="652637" y="297259"/>
            <a:ext cx="1150838" cy="432048"/>
            <a:chOff x="13103547" y="829734"/>
            <a:chExt cx="2203232" cy="827288"/>
          </a:xfrm>
        </p:grpSpPr>
        <p:pic>
          <p:nvPicPr>
            <p:cNvPr id="17" name="图片 16"/>
            <p:cNvPicPr>
              <a:picLocks noChangeAspect="1"/>
            </p:cNvPicPr>
            <p:nvPr/>
          </p:nvPicPr>
          <p:blipFill>
            <a:blip r:embed="rId6" cstate="email"/>
            <a:stretch>
              <a:fillRect/>
            </a:stretch>
          </p:blipFill>
          <p:spPr>
            <a:xfrm>
              <a:off x="13586494" y="885667"/>
              <a:ext cx="1720285" cy="720000"/>
            </a:xfrm>
            <a:prstGeom prst="rect">
              <a:avLst/>
            </a:prstGeom>
          </p:spPr>
        </p:pic>
        <p:grpSp>
          <p:nvGrpSpPr>
            <p:cNvPr id="19" name="组合 18"/>
            <p:cNvGrpSpPr/>
            <p:nvPr userDrawn="1"/>
          </p:nvGrpSpPr>
          <p:grpSpPr>
            <a:xfrm>
              <a:off x="13103547" y="829734"/>
              <a:ext cx="171450" cy="827288"/>
              <a:chOff x="12841961" y="829734"/>
              <a:chExt cx="171450" cy="827288"/>
            </a:xfrm>
          </p:grpSpPr>
          <p:cxnSp>
            <p:nvCxnSpPr>
              <p:cNvPr id="28" name="直接连接符 27"/>
              <p:cNvCxnSpPr/>
              <p:nvPr userDrawn="1"/>
            </p:nvCxnSpPr>
            <p:spPr>
              <a:xfrm>
                <a:off x="12841961" y="829734"/>
                <a:ext cx="0" cy="827288"/>
              </a:xfrm>
              <a:prstGeom prst="line">
                <a:avLst/>
              </a:prstGeom>
              <a:ln w="57150">
                <a:solidFill>
                  <a:srgbClr val="EA5404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直接连接符 28"/>
              <p:cNvCxnSpPr/>
              <p:nvPr userDrawn="1"/>
            </p:nvCxnSpPr>
            <p:spPr>
              <a:xfrm>
                <a:off x="13013411" y="829734"/>
                <a:ext cx="0" cy="827288"/>
              </a:xfrm>
              <a:prstGeom prst="line">
                <a:avLst/>
              </a:prstGeom>
              <a:ln w="25400">
                <a:solidFill>
                  <a:srgbClr val="EA5404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5" name="直接连接符 4"/>
          <p:cNvCxnSpPr/>
          <p:nvPr/>
        </p:nvCxnSpPr>
        <p:spPr>
          <a:xfrm>
            <a:off x="953729" y="3762866"/>
            <a:ext cx="8603226" cy="0"/>
          </a:xfrm>
          <a:prstGeom prst="line">
            <a:avLst/>
          </a:prstGeom>
          <a:ln w="9525" cap="rnd">
            <a:solidFill>
              <a:schemeClr val="bg1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接连接符 6"/>
          <p:cNvCxnSpPr/>
          <p:nvPr/>
        </p:nvCxnSpPr>
        <p:spPr>
          <a:xfrm>
            <a:off x="203200" y="0"/>
            <a:ext cx="0" cy="6858000"/>
          </a:xfrm>
          <a:prstGeom prst="line">
            <a:avLst/>
          </a:prstGeom>
          <a:ln w="9525" cap="rnd">
            <a:solidFill>
              <a:schemeClr val="accent1">
                <a:lumMod val="75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hf hdr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3" imgW="0" imgH="0" progId="TCLayout.ActiveDocument.1">
                  <p:embed/>
                </p:oleObj>
              </mc:Choice>
              <mc:Fallback>
                <p:oleObj name="think-cell 幻灯片" r:id="rId3" imgW="0" imgH="0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oterSimple" hidden="1"/>
          <p:cNvSpPr txBox="1"/>
          <p:nvPr>
            <p:custDataLst>
              <p:tags r:id="rId5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altLang="zh-CN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703020202090204" pitchFamily="34" charset="0"/>
              </a:rPr>
              <a:t>202105 TED Sample Slides WhiteV13_Gaoliao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703020202090204" pitchFamily="34" charset="0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140399"/>
            <a:ext cx="10934700" cy="72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genda </a:t>
            </a:r>
            <a:r>
              <a:rPr lang="en-US" altLang="zh-CN" dirty="0"/>
              <a:t>page</a:t>
            </a:r>
            <a:endParaRPr lang="en-US" dirty="0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 rotWithShape="1">
          <a:blip r:embed="rId6" cstate="email"/>
          <a:srcRect r="570"/>
          <a:stretch>
            <a:fillRect/>
          </a:stretch>
        </p:blipFill>
        <p:spPr>
          <a:xfrm>
            <a:off x="0" y="1260057"/>
            <a:ext cx="12192000" cy="4876049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3" imgW="0" imgH="0" progId="TCLayout.ActiveDocument.1">
                  <p:embed/>
                </p:oleObj>
              </mc:Choice>
              <mc:Fallback>
                <p:oleObj name="think-cell 幻灯片" r:id="rId3" imgW="0" imgH="0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oterSimple" hidden="1"/>
          <p:cNvSpPr txBox="1"/>
          <p:nvPr>
            <p:custDataLst>
              <p:tags r:id="rId5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altLang="zh-CN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703020202090204" pitchFamily="34" charset="0"/>
              </a:rPr>
              <a:t>202105 TED Sample Slides WhiteV13_Gaoliao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703020202090204" pitchFamily="34" charset="0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140399"/>
            <a:ext cx="10934700" cy="72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lnSpc>
                <a:spcPct val="100000"/>
              </a:lnSpc>
              <a:defRPr b="1"/>
            </a:lvl1pPr>
          </a:lstStyle>
          <a:p>
            <a:r>
              <a:rPr lang="en-US" altLang="zh-CN" dirty="0"/>
              <a:t>Click to add title</a:t>
            </a:r>
            <a:endParaRPr lang="en-US" dirty="0"/>
          </a:p>
        </p:txBody>
      </p:sp>
      <p:sp>
        <p:nvSpPr>
          <p:cNvPr id="8" name="文本占位符 6"/>
          <p:cNvSpPr>
            <a:spLocks noGrp="1"/>
          </p:cNvSpPr>
          <p:nvPr>
            <p:ph type="body" sz="quarter" idx="11" hasCustomPrompt="1"/>
          </p:nvPr>
        </p:nvSpPr>
        <p:spPr>
          <a:xfrm>
            <a:off x="360000" y="6408210"/>
            <a:ext cx="10934700" cy="422275"/>
          </a:xfrm>
        </p:spPr>
        <p:txBody>
          <a:bodyPr tIns="0" bIns="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1000" b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en-US" altLang="zh-CN" dirty="0"/>
              <a:t>Note:</a:t>
            </a:r>
            <a:br>
              <a:rPr lang="en-US" altLang="zh-CN" dirty="0"/>
            </a:br>
            <a:r>
              <a:rPr lang="en-US" altLang="zh-CN" dirty="0"/>
              <a:t>Source:</a:t>
            </a:r>
            <a:endParaRPr lang="zh-CN" altLang="en-US" dirty="0"/>
          </a:p>
        </p:txBody>
      </p:sp>
      <p:graphicFrame>
        <p:nvGraphicFramePr>
          <p:cNvPr id="6" name="对象 5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" name="think-cell 幻灯片" r:id="rId7" imgW="0" imgH="0" progId="TCLayout.ActiveDocument.1">
                  <p:embed/>
                </p:oleObj>
              </mc:Choice>
              <mc:Fallback>
                <p:oleObj name="think-cell 幻灯片" r:id="rId7" imgW="0" imgH="0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oterSimple" hidden="1"/>
          <p:cNvSpPr txBox="1"/>
          <p:nvPr userDrawn="1">
            <p:custDataLst>
              <p:tags r:id="rId8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altLang="zh-CN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703020202090204" pitchFamily="34" charset="0"/>
              </a:rPr>
              <a:t>202105 TED Sample Slides WhiteV13_Gaoliao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703020202090204" pitchFamily="34" charset="0"/>
            </a:endParaRP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>
  <p:cSld name="E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3" imgW="0" imgH="0" progId="TCLayout.ActiveDocument.1">
                  <p:embed/>
                </p:oleObj>
              </mc:Choice>
              <mc:Fallback>
                <p:oleObj name="think-cell 幻灯片" r:id="rId3" imgW="0" imgH="0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-2377" y="2383"/>
            <a:ext cx="12194377" cy="68523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矩形 2"/>
          <p:cNvSpPr/>
          <p:nvPr/>
        </p:nvSpPr>
        <p:spPr>
          <a:xfrm>
            <a:off x="-3174" y="2287437"/>
            <a:ext cx="12195173" cy="2282287"/>
          </a:xfrm>
          <a:prstGeom prst="rect">
            <a:avLst/>
          </a:prstGeom>
          <a:solidFill>
            <a:schemeClr val="accent1">
              <a:lumMod val="75000"/>
              <a:alpha val="85098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 hasCustomPrompt="1"/>
          </p:nvPr>
        </p:nvSpPr>
        <p:spPr>
          <a:xfrm>
            <a:off x="2215356" y="2457030"/>
            <a:ext cx="7758113" cy="1943100"/>
          </a:xfrm>
        </p:spPr>
        <p:txBody>
          <a:bodyPr anchor="ctr"/>
          <a:lstStyle>
            <a:lvl1pPr algn="ctr">
              <a:defRPr sz="44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altLang="zh-CN" dirty="0"/>
              <a:t>Click to add content</a:t>
            </a:r>
            <a:endParaRPr lang="zh-CN" altLang="en-US" dirty="0"/>
          </a:p>
        </p:txBody>
      </p:sp>
      <p:cxnSp>
        <p:nvCxnSpPr>
          <p:cNvPr id="6" name="直接连接符 5"/>
          <p:cNvCxnSpPr/>
          <p:nvPr/>
        </p:nvCxnSpPr>
        <p:spPr>
          <a:xfrm flipH="1">
            <a:off x="-3174" y="4643437"/>
            <a:ext cx="12195173" cy="0"/>
          </a:xfrm>
          <a:prstGeom prst="line">
            <a:avLst/>
          </a:prstGeom>
          <a:ln w="9525" cap="rnd">
            <a:solidFill>
              <a:schemeClr val="accent1">
                <a:lumMod val="75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hf hdr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3" imgW="0" imgH="0" progId="TCLayout.ActiveDocument.1">
                  <p:embed/>
                </p:oleObj>
              </mc:Choice>
              <mc:Fallback>
                <p:oleObj name="think-cell 幻灯片" r:id="rId3" imgW="0" imgH="0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矩形 2"/>
          <p:cNvSpPr/>
          <p:nvPr/>
        </p:nvSpPr>
        <p:spPr>
          <a:xfrm>
            <a:off x="0" y="0"/>
            <a:ext cx="129309" cy="6858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 rotWithShape="1">
          <a:blip r:embed="rId5" cstate="email"/>
          <a:srcRect r="6177"/>
          <a:stretch>
            <a:fillRect/>
          </a:stretch>
        </p:blipFill>
        <p:spPr bwMode="auto">
          <a:xfrm>
            <a:off x="295564" y="0"/>
            <a:ext cx="11896436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Rectangle 20"/>
          <p:cNvSpPr/>
          <p:nvPr/>
        </p:nvSpPr>
        <p:spPr bwMode="black">
          <a:xfrm>
            <a:off x="115021" y="2004291"/>
            <a:ext cx="9415624" cy="2292405"/>
          </a:xfrm>
          <a:prstGeom prst="rect">
            <a:avLst/>
          </a:prstGeom>
          <a:solidFill>
            <a:srgbClr val="EA5404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sym typeface="Trebuchet MS" panose="020B0703020202090204" pitchFamily="34" charset="0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7305368" y="6207842"/>
            <a:ext cx="4681760" cy="327148"/>
          </a:xfrm>
          <a:prstGeom prst="rect">
            <a:avLst/>
          </a:prstGeom>
          <a:noFill/>
        </p:spPr>
        <p:txBody>
          <a:bodyPr anchor="ctr"/>
          <a:lstStyle>
            <a:lvl1pPr algn="r">
              <a:lnSpc>
                <a:spcPct val="110000"/>
              </a:lnSpc>
              <a:buNone/>
              <a:defRPr sz="1600" b="1" cap="all" baseline="0">
                <a:solidFill>
                  <a:srgbClr val="FFFFFF"/>
                </a:solidFill>
                <a:latin typeface="+mn-lt"/>
                <a:sym typeface="Trebuchet MS" panose="020B070302020209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957600" y="3834054"/>
            <a:ext cx="7607902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2000" b="0" baseline="0">
                <a:solidFill>
                  <a:schemeClr val="bg1"/>
                </a:solidFill>
                <a:latin typeface="+mn-lt"/>
                <a:sym typeface="Trebuchet MS" panose="020B070302020209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  <a:endParaRPr lang="en-US" dirty="0"/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957600" y="2257799"/>
            <a:ext cx="7607902" cy="1431161"/>
          </a:xfrm>
          <a:prstGeom prst="rect">
            <a:avLst/>
          </a:prstGeom>
        </p:spPr>
        <p:txBody>
          <a:bodyPr vert="horz" wrap="square" anchor="ctr">
            <a:noAutofit/>
          </a:bodyPr>
          <a:lstStyle>
            <a:lvl1pPr algn="l">
              <a:lnSpc>
                <a:spcPct val="93000"/>
              </a:lnSpc>
              <a:defRPr sz="5000" b="1" baseline="0">
                <a:solidFill>
                  <a:schemeClr val="bg1"/>
                </a:solidFill>
                <a:latin typeface="+mj-lt"/>
                <a:sym typeface="Trebuchet MS" panose="020B0703020202090204" pitchFamily="34" charset="0"/>
              </a:defRPr>
            </a:lvl1pPr>
          </a:lstStyle>
          <a:p>
            <a:r>
              <a:rPr lang="en-US" altLang="zh-CN" dirty="0"/>
              <a:t>Title in Title Case</a:t>
            </a:r>
            <a:endParaRPr lang="en-US" dirty="0"/>
          </a:p>
        </p:txBody>
      </p:sp>
      <p:grpSp>
        <p:nvGrpSpPr>
          <p:cNvPr id="16" name="组合 15"/>
          <p:cNvGrpSpPr>
            <a:grpSpLocks noChangeAspect="1"/>
          </p:cNvGrpSpPr>
          <p:nvPr/>
        </p:nvGrpSpPr>
        <p:grpSpPr>
          <a:xfrm>
            <a:off x="652637" y="297259"/>
            <a:ext cx="1150838" cy="432048"/>
            <a:chOff x="13103547" y="829734"/>
            <a:chExt cx="2203232" cy="827288"/>
          </a:xfrm>
        </p:grpSpPr>
        <p:pic>
          <p:nvPicPr>
            <p:cNvPr id="17" name="图片 16"/>
            <p:cNvPicPr>
              <a:picLocks noChangeAspect="1"/>
            </p:cNvPicPr>
            <p:nvPr/>
          </p:nvPicPr>
          <p:blipFill>
            <a:blip r:embed="rId6" cstate="email"/>
            <a:stretch>
              <a:fillRect/>
            </a:stretch>
          </p:blipFill>
          <p:spPr>
            <a:xfrm>
              <a:off x="13586494" y="885667"/>
              <a:ext cx="1720285" cy="720000"/>
            </a:xfrm>
            <a:prstGeom prst="rect">
              <a:avLst/>
            </a:prstGeom>
          </p:spPr>
        </p:pic>
        <p:grpSp>
          <p:nvGrpSpPr>
            <p:cNvPr id="19" name="组合 18"/>
            <p:cNvGrpSpPr/>
            <p:nvPr userDrawn="1"/>
          </p:nvGrpSpPr>
          <p:grpSpPr>
            <a:xfrm>
              <a:off x="13103547" y="829734"/>
              <a:ext cx="171450" cy="827288"/>
              <a:chOff x="12841961" y="829734"/>
              <a:chExt cx="171450" cy="827288"/>
            </a:xfrm>
          </p:grpSpPr>
          <p:cxnSp>
            <p:nvCxnSpPr>
              <p:cNvPr id="28" name="直接连接符 27"/>
              <p:cNvCxnSpPr/>
              <p:nvPr userDrawn="1"/>
            </p:nvCxnSpPr>
            <p:spPr>
              <a:xfrm>
                <a:off x="12841961" y="829734"/>
                <a:ext cx="0" cy="827288"/>
              </a:xfrm>
              <a:prstGeom prst="line">
                <a:avLst/>
              </a:prstGeom>
              <a:ln w="57150">
                <a:solidFill>
                  <a:srgbClr val="EA5404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直接连接符 28"/>
              <p:cNvCxnSpPr/>
              <p:nvPr userDrawn="1"/>
            </p:nvCxnSpPr>
            <p:spPr>
              <a:xfrm>
                <a:off x="13013411" y="829734"/>
                <a:ext cx="0" cy="827288"/>
              </a:xfrm>
              <a:prstGeom prst="line">
                <a:avLst/>
              </a:prstGeom>
              <a:ln w="25400">
                <a:solidFill>
                  <a:srgbClr val="EA5404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5" name="直接连接符 4"/>
          <p:cNvCxnSpPr/>
          <p:nvPr/>
        </p:nvCxnSpPr>
        <p:spPr>
          <a:xfrm>
            <a:off x="953729" y="3762866"/>
            <a:ext cx="8603226" cy="0"/>
          </a:xfrm>
          <a:prstGeom prst="line">
            <a:avLst/>
          </a:prstGeom>
          <a:ln w="9525" cap="rnd">
            <a:solidFill>
              <a:schemeClr val="bg1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接连接符 6"/>
          <p:cNvCxnSpPr/>
          <p:nvPr/>
        </p:nvCxnSpPr>
        <p:spPr>
          <a:xfrm>
            <a:off x="203200" y="0"/>
            <a:ext cx="0" cy="6858000"/>
          </a:xfrm>
          <a:prstGeom prst="line">
            <a:avLst/>
          </a:prstGeom>
          <a:ln w="9525" cap="rnd">
            <a:solidFill>
              <a:schemeClr val="accent1">
                <a:lumMod val="75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hf hdr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3" imgW="0" imgH="0" progId="TCLayout.ActiveDocument.1">
                  <p:embed/>
                </p:oleObj>
              </mc:Choice>
              <mc:Fallback>
                <p:oleObj name="think-cell 幻灯片" r:id="rId3" imgW="0" imgH="0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oterSimple" hidden="1"/>
          <p:cNvSpPr txBox="1"/>
          <p:nvPr>
            <p:custDataLst>
              <p:tags r:id="rId5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altLang="zh-CN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703020202090204" pitchFamily="34" charset="0"/>
              </a:rPr>
              <a:t>202105 TED Sample Slides WhiteV13_Gaoliao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703020202090204" pitchFamily="34" charset="0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140399"/>
            <a:ext cx="10934700" cy="72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genda </a:t>
            </a:r>
            <a:r>
              <a:rPr lang="en-US" altLang="zh-CN" dirty="0"/>
              <a:t>page</a:t>
            </a:r>
            <a:endParaRPr lang="en-US" dirty="0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 rotWithShape="1">
          <a:blip r:embed="rId6" cstate="email"/>
          <a:srcRect r="570"/>
          <a:stretch>
            <a:fillRect/>
          </a:stretch>
        </p:blipFill>
        <p:spPr>
          <a:xfrm>
            <a:off x="0" y="1260057"/>
            <a:ext cx="12192000" cy="4876049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72d2fdfb8da93606a4b836a6cf30fcbf570dc6d9178c0b-ai3vDw.jpeg" descr="72d2fdfb8da93606a4b836a6cf30fcbf570dc6d9178c0b-ai3vDw.jpeg"/>
          <p:cNvPicPr>
            <a:picLocks noChangeAspect="1"/>
          </p:cNvPicPr>
          <p:nvPr userDrawn="1"/>
        </p:nvPicPr>
        <p:blipFill rotWithShape="1">
          <a:blip r:embed="rId2"/>
          <a:srcRect b="4492"/>
          <a:stretch>
            <a:fillRect/>
          </a:stretch>
        </p:blipFill>
        <p:spPr>
          <a:xfrm>
            <a:off x="0" y="1"/>
            <a:ext cx="12231566" cy="6858000"/>
          </a:xfrm>
          <a:prstGeom prst="rect">
            <a:avLst/>
          </a:prstGeom>
          <a:ln w="12700">
            <a:miter lim="400000"/>
            <a:headEnd/>
            <a:tailEnd/>
          </a:ln>
        </p:spPr>
      </p:pic>
      <p:sp>
        <p:nvSpPr>
          <p:cNvPr id="6" name="矩形"/>
          <p:cNvSpPr/>
          <p:nvPr userDrawn="1"/>
        </p:nvSpPr>
        <p:spPr>
          <a:xfrm>
            <a:off x="0" y="10581"/>
            <a:ext cx="12231566" cy="6847420"/>
          </a:xfrm>
          <a:prstGeom prst="rect">
            <a:avLst/>
          </a:prstGeom>
          <a:solidFill>
            <a:srgbClr val="000000">
              <a:alpha val="30174"/>
            </a:srgbClr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sym typeface="等线" panose="02010600030101010101" charset="-122"/>
            </a:endParaRPr>
          </a:p>
        </p:txBody>
      </p:sp>
    </p:spTree>
  </p:cSld>
  <p:clrMapOvr>
    <a:masterClrMapping/>
  </p:clrMapOvr>
  <p:transition spd="med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3" imgW="0" imgH="0" progId="TCLayout.ActiveDocument.1">
                  <p:embed/>
                </p:oleObj>
              </mc:Choice>
              <mc:Fallback>
                <p:oleObj name="think-cell 幻灯片" r:id="rId3" imgW="0" imgH="0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oterSimple" hidden="1"/>
          <p:cNvSpPr txBox="1"/>
          <p:nvPr>
            <p:custDataLst>
              <p:tags r:id="rId5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altLang="zh-CN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703020202090204" pitchFamily="34" charset="0"/>
              </a:rPr>
              <a:t>202105 TED Sample Slides WhiteV13_Gaoliao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703020202090204" pitchFamily="34" charset="0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140399"/>
            <a:ext cx="10934700" cy="72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lnSpc>
                <a:spcPct val="100000"/>
              </a:lnSpc>
              <a:defRPr b="1"/>
            </a:lvl1pPr>
          </a:lstStyle>
          <a:p>
            <a:r>
              <a:rPr lang="en-US" altLang="zh-CN" dirty="0"/>
              <a:t>Click to add title</a:t>
            </a:r>
            <a:endParaRPr lang="en-US" dirty="0"/>
          </a:p>
        </p:txBody>
      </p:sp>
      <p:sp>
        <p:nvSpPr>
          <p:cNvPr id="8" name="文本占位符 6"/>
          <p:cNvSpPr>
            <a:spLocks noGrp="1"/>
          </p:cNvSpPr>
          <p:nvPr>
            <p:ph type="body" sz="quarter" idx="11" hasCustomPrompt="1"/>
          </p:nvPr>
        </p:nvSpPr>
        <p:spPr>
          <a:xfrm>
            <a:off x="360000" y="6408210"/>
            <a:ext cx="10934700" cy="422275"/>
          </a:xfrm>
        </p:spPr>
        <p:txBody>
          <a:bodyPr tIns="0" bIns="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1000" b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en-US" altLang="zh-CN" dirty="0"/>
              <a:t>Note:</a:t>
            </a:r>
            <a:br>
              <a:rPr lang="en-US" altLang="zh-CN" dirty="0"/>
            </a:br>
            <a:r>
              <a:rPr lang="en-US" altLang="zh-CN" dirty="0"/>
              <a:t>Source:</a:t>
            </a:r>
            <a:endParaRPr lang="zh-CN" altLang="en-US" dirty="0"/>
          </a:p>
        </p:txBody>
      </p:sp>
      <p:graphicFrame>
        <p:nvGraphicFramePr>
          <p:cNvPr id="6" name="对象 5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" name="think-cell 幻灯片" r:id="rId7" imgW="0" imgH="0" progId="TCLayout.ActiveDocument.1">
                  <p:embed/>
                </p:oleObj>
              </mc:Choice>
              <mc:Fallback>
                <p:oleObj name="think-cell 幻灯片" r:id="rId7" imgW="0" imgH="0" progId="TCLayout.ActiveDocument.1">
                  <p:embed/>
                  <p:pic>
                    <p:nvPicPr>
                      <p:cNvPr id="0" name="对象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oterSimple" hidden="1"/>
          <p:cNvSpPr txBox="1"/>
          <p:nvPr userDrawn="1">
            <p:custDataLst>
              <p:tags r:id="rId8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altLang="zh-CN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703020202090204" pitchFamily="34" charset="0"/>
              </a:rPr>
              <a:t>202105 TED Sample Slides WhiteV13_Gaoliao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703020202090204" pitchFamily="34" charset="0"/>
            </a:endParaRP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>
  <p:cSld name="E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3" imgW="0" imgH="0" progId="TCLayout.ActiveDocument.1">
                  <p:embed/>
                </p:oleObj>
              </mc:Choice>
              <mc:Fallback>
                <p:oleObj name="think-cell 幻灯片" r:id="rId3" imgW="0" imgH="0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-2377" y="2383"/>
            <a:ext cx="12194377" cy="68523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矩形 2"/>
          <p:cNvSpPr/>
          <p:nvPr/>
        </p:nvSpPr>
        <p:spPr>
          <a:xfrm>
            <a:off x="-3174" y="2287437"/>
            <a:ext cx="12195173" cy="2282287"/>
          </a:xfrm>
          <a:prstGeom prst="rect">
            <a:avLst/>
          </a:prstGeom>
          <a:solidFill>
            <a:schemeClr val="accent1">
              <a:lumMod val="75000"/>
              <a:alpha val="85098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 hasCustomPrompt="1"/>
          </p:nvPr>
        </p:nvSpPr>
        <p:spPr>
          <a:xfrm>
            <a:off x="2215356" y="2457030"/>
            <a:ext cx="7758113" cy="1943100"/>
          </a:xfrm>
        </p:spPr>
        <p:txBody>
          <a:bodyPr anchor="ctr"/>
          <a:lstStyle>
            <a:lvl1pPr algn="ctr">
              <a:defRPr sz="44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altLang="zh-CN" dirty="0"/>
              <a:t>Click to add content</a:t>
            </a:r>
            <a:endParaRPr lang="zh-CN" altLang="en-US" dirty="0"/>
          </a:p>
        </p:txBody>
      </p:sp>
      <p:cxnSp>
        <p:nvCxnSpPr>
          <p:cNvPr id="6" name="直接连接符 5"/>
          <p:cNvCxnSpPr/>
          <p:nvPr/>
        </p:nvCxnSpPr>
        <p:spPr>
          <a:xfrm flipH="1">
            <a:off x="-3174" y="4643437"/>
            <a:ext cx="12195173" cy="0"/>
          </a:xfrm>
          <a:prstGeom prst="line">
            <a:avLst/>
          </a:prstGeom>
          <a:ln w="9525" cap="rnd">
            <a:solidFill>
              <a:schemeClr val="accent1">
                <a:lumMod val="75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hf hdr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0封面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"/>
          <p:cNvSpPr/>
          <p:nvPr userDrawn="1"/>
        </p:nvSpPr>
        <p:spPr bwMode="auto">
          <a:xfrm flipH="1">
            <a:off x="0" y="3073313"/>
            <a:ext cx="10920534" cy="2262324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0" name="对象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矩形 2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4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90204" pitchFamily="34" charset="0"/>
              <a:ea typeface="微软雅黑" panose="020B0503020204020204" charset="-122"/>
              <a:cs typeface="+mn-cs"/>
              <a:sym typeface="Arial" panose="020B0604020202090204" pitchFamily="34" charset="0"/>
            </a:endParaRPr>
          </a:p>
        </p:txBody>
      </p:sp>
      <p:sp>
        <p:nvSpPr>
          <p:cNvPr id="12" name="矩形 11"/>
          <p:cNvSpPr/>
          <p:nvPr userDrawn="1"/>
        </p:nvSpPr>
        <p:spPr>
          <a:xfrm>
            <a:off x="-1" y="5335637"/>
            <a:ext cx="12191999" cy="15223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</p:txBody>
      </p:sp>
      <p:cxnSp>
        <p:nvCxnSpPr>
          <p:cNvPr id="6" name="直接连接符 5"/>
          <p:cNvCxnSpPr/>
          <p:nvPr userDrawn="1"/>
        </p:nvCxnSpPr>
        <p:spPr>
          <a:xfrm>
            <a:off x="171507" y="1028700"/>
            <a:ext cx="11822373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灯片编号占位符 5"/>
          <p:cNvSpPr txBox="1"/>
          <p:nvPr userDrawn="1"/>
        </p:nvSpPr>
        <p:spPr>
          <a:xfrm>
            <a:off x="8869679" y="6395878"/>
            <a:ext cx="2909888" cy="206381"/>
          </a:xfrm>
          <a:prstGeom prst="rect">
            <a:avLst/>
          </a:prstGeom>
        </p:spPr>
        <p:txBody>
          <a:bodyPr vert="horz" lIns="91440" tIns="0" rIns="91440" bIns="45720" rtlCol="0" anchor="b" anchorCtr="0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DD3DB80-B894-403A-B48E-6FDC1A72010E}" type="slidenum">
              <a:rPr kumimoji="0" lang="zh-CN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90204"/>
                <a:ea typeface="微软雅黑" panose="020B0503020204020204" charset="-122"/>
                <a:cs typeface="+mn-cs"/>
              </a:rPr>
            </a:fld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90204"/>
              <a:ea typeface="微软雅黑" panose="020B0503020204020204" charset="-122"/>
              <a:cs typeface="+mn-cs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0" name="对象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BCF4D">
              <a:alpha val="8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90204" pitchFamily="34" charset="0"/>
              <a:ea typeface="华文楷体" panose="02010600040101010101" pitchFamily="2" charset="-122"/>
              <a:cs typeface="+mn-cs"/>
              <a:sym typeface="Arial" panose="020B0604020202090204" pitchFamily="34" charset="0"/>
            </a:endParaRPr>
          </a:p>
        </p:txBody>
      </p:sp>
      <p:sp>
        <p:nvSpPr>
          <p:cNvPr id="19" name="灯片编号占位符 5"/>
          <p:cNvSpPr txBox="1"/>
          <p:nvPr userDrawn="1"/>
        </p:nvSpPr>
        <p:spPr>
          <a:xfrm>
            <a:off x="8869679" y="6395878"/>
            <a:ext cx="2909888" cy="206381"/>
          </a:xfrm>
          <a:prstGeom prst="rect">
            <a:avLst/>
          </a:prstGeom>
        </p:spPr>
        <p:txBody>
          <a:bodyPr vert="horz" lIns="91440" tIns="0" rIns="91440" bIns="45720" rtlCol="0" anchor="b" anchorCtr="0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DD3DB80-B894-403A-B48E-6FDC1A72010E}" type="slidenum">
              <a:rPr kumimoji="0" lang="zh-CN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90204"/>
                <a:ea typeface="微软雅黑" panose="020B0503020204020204" charset="-122"/>
                <a:cs typeface="+mn-cs"/>
              </a:rPr>
            </a:fld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90204"/>
              <a:ea typeface="微软雅黑" panose="020B0503020204020204" charset="-122"/>
              <a:cs typeface="+mn-cs"/>
            </a:endParaRPr>
          </a:p>
        </p:txBody>
      </p:sp>
      <p:cxnSp>
        <p:nvCxnSpPr>
          <p:cNvPr id="11" name="直接连接符 10"/>
          <p:cNvCxnSpPr/>
          <p:nvPr userDrawn="1"/>
        </p:nvCxnSpPr>
        <p:spPr>
          <a:xfrm>
            <a:off x="171507" y="824671"/>
            <a:ext cx="11822373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标题 5"/>
          <p:cNvSpPr>
            <a:spLocks noGrp="1"/>
          </p:cNvSpPr>
          <p:nvPr>
            <p:ph type="title" hasCustomPrompt="1"/>
          </p:nvPr>
        </p:nvSpPr>
        <p:spPr>
          <a:xfrm>
            <a:off x="171507" y="103259"/>
            <a:ext cx="11822373" cy="537443"/>
          </a:xfrm>
          <a:prstGeom prst="rect">
            <a:avLst/>
          </a:prstGeom>
        </p:spPr>
        <p:txBody>
          <a:bodyPr anchor="b"/>
          <a:lstStyle>
            <a:lvl1pPr>
              <a:defRPr/>
            </a:lvl1pPr>
          </a:lstStyle>
          <a:p>
            <a:r>
              <a:rPr lang="zh-CN" altLang="en-US" dirty="0"/>
              <a:t>标题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72d2fdfb8da93606a4b836a6cf30fcbf570dc6d9178c0b-ai3vDw.jpeg" descr="72d2fdfb8da93606a4b836a6cf30fcbf570dc6d9178c0b-ai3vDw.jpeg"/>
          <p:cNvPicPr>
            <a:picLocks noChangeAspect="1"/>
          </p:cNvPicPr>
          <p:nvPr userDrawn="1"/>
        </p:nvPicPr>
        <p:blipFill rotWithShape="1">
          <a:blip r:embed="rId2"/>
          <a:srcRect b="4492"/>
          <a:stretch>
            <a:fillRect/>
          </a:stretch>
        </p:blipFill>
        <p:spPr>
          <a:xfrm>
            <a:off x="0" y="1"/>
            <a:ext cx="12231566" cy="6858000"/>
          </a:xfrm>
          <a:prstGeom prst="rect">
            <a:avLst/>
          </a:prstGeom>
          <a:ln w="12700">
            <a:miter lim="400000"/>
            <a:headEnd/>
            <a:tailEnd/>
          </a:ln>
        </p:spPr>
      </p:pic>
      <p:sp>
        <p:nvSpPr>
          <p:cNvPr id="6" name="矩形"/>
          <p:cNvSpPr/>
          <p:nvPr userDrawn="1"/>
        </p:nvSpPr>
        <p:spPr>
          <a:xfrm>
            <a:off x="0" y="10581"/>
            <a:ext cx="12231566" cy="6847420"/>
          </a:xfrm>
          <a:prstGeom prst="rect">
            <a:avLst/>
          </a:prstGeom>
          <a:solidFill>
            <a:srgbClr val="000000">
              <a:alpha val="30174"/>
            </a:srgbClr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  <a:sym typeface="等线" panose="02010600030101010101" charset="-122"/>
            </a:endParaRPr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561320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r>
              <a:rPr kumimoji="0" lang="en-US" altLang="zh-CN" sz="7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90204"/>
                <a:ea typeface="华文楷体" panose="02010600040101010101" pitchFamily="2" charset="-122"/>
                <a:cs typeface="+mn-cs"/>
                <a:sym typeface="Trebuchet MS" panose="020B0703020202090204" pitchFamily="34" charset="0"/>
              </a:rPr>
              <a:t>【</a:t>
            </a:r>
            <a:r>
              <a:rPr kumimoji="0" lang="zh-CN" altLang="en-US" sz="7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90204"/>
                <a:ea typeface="华文楷体" panose="02010600040101010101" pitchFamily="2" charset="-122"/>
                <a:cs typeface="+mn-cs"/>
                <a:sym typeface="Trebuchet MS" panose="020B0703020202090204" pitchFamily="34" charset="0"/>
              </a:rPr>
              <a:t>材料汇总</a:t>
            </a:r>
            <a:r>
              <a:rPr kumimoji="0" lang="en-US" altLang="zh-CN" sz="7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90204"/>
                <a:ea typeface="华文楷体" panose="02010600040101010101" pitchFamily="2" charset="-122"/>
                <a:cs typeface="+mn-cs"/>
                <a:sym typeface="Trebuchet MS" panose="020B0703020202090204" pitchFamily="34" charset="0"/>
              </a:rPr>
              <a:t>】201809CIO office sample sldies v5.pptx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anose="020B0604020202090204"/>
              <a:ea typeface="华文楷体" panose="02010600040101010101" pitchFamily="2" charset="-122"/>
              <a:cs typeface="+mn-cs"/>
              <a:sym typeface="Trebuchet MS" panose="020B0703020202090204" pitchFamily="34" charset="0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1" y="140399"/>
            <a:ext cx="10934700" cy="72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lnSpc>
                <a:spcPct val="100000"/>
              </a:lnSpc>
              <a:defRPr b="1"/>
            </a:lvl1pPr>
          </a:lstStyle>
          <a:p>
            <a:r>
              <a:rPr lang="en-US" altLang="zh-CN" dirty="0"/>
              <a:t>Click to add title</a:t>
            </a:r>
            <a:endParaRPr lang="en-US" dirty="0"/>
          </a:p>
        </p:txBody>
      </p:sp>
      <p:sp>
        <p:nvSpPr>
          <p:cNvPr id="6" name="矩形 5"/>
          <p:cNvSpPr/>
          <p:nvPr userDrawn="1"/>
        </p:nvSpPr>
        <p:spPr>
          <a:xfrm>
            <a:off x="203223" y="6461080"/>
            <a:ext cx="11051664" cy="2974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  <a:sym typeface="Trebuchet MS" panose="020B0703020202090204" pitchFamily="34" charset="0"/>
              </a:rPr>
              <a:t>申明：本材料仅供集团内部学习交流使用，严禁出于商业目的使用，以避免不必要的纠纷。</a:t>
            </a:r>
            <a:r>
              <a:rPr kumimoji="0" lang="en-US" altLang="zh-CN" sz="1335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  <a:sym typeface="Trebuchet MS" panose="020B0703020202090204" pitchFamily="34" charset="0"/>
              </a:rPr>
              <a:t>		</a:t>
            </a:r>
            <a:endParaRPr kumimoji="0" lang="zh-CN" altLang="en-US" sz="1335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  <a:sym typeface="Trebuchet MS" panose="020B0703020202090204" pitchFamily="34" charset="0"/>
            </a:endParaRPr>
          </a:p>
        </p:txBody>
      </p:sp>
      <p:sp>
        <p:nvSpPr>
          <p:cNvPr id="8" name="灯片编号占位符 5"/>
          <p:cNvSpPr txBox="1"/>
          <p:nvPr userDrawn="1"/>
        </p:nvSpPr>
        <p:spPr>
          <a:xfrm>
            <a:off x="8869679" y="6395878"/>
            <a:ext cx="2909888" cy="206381"/>
          </a:xfrm>
          <a:prstGeom prst="rect">
            <a:avLst/>
          </a:prstGeom>
        </p:spPr>
        <p:txBody>
          <a:bodyPr vert="horz" lIns="91440" tIns="0" rIns="91440" bIns="45720" rtlCol="0" anchor="b" anchorCtr="0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DD3DB80-B894-403A-B48E-6FDC1A72010E}" type="slidenum">
              <a:rPr kumimoji="0" lang="zh-CN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90204"/>
                <a:ea typeface="微软雅黑" panose="020B0503020204020204" charset="-122"/>
                <a:cs typeface="+mn-cs"/>
              </a:rPr>
            </a:fld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90204"/>
              <a:ea typeface="微软雅黑" panose="020B0503020204020204" charset="-122"/>
              <a:cs typeface="+mn-cs"/>
            </a:endParaRP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-封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42" b="42"/>
          <a:stretch>
            <a:fillRect/>
          </a:stretch>
        </p:blipFill>
        <p:spPr>
          <a:xfrm>
            <a:off x="1016697" y="10123"/>
            <a:ext cx="11168799" cy="6844996"/>
          </a:xfrm>
          <a:prstGeom prst="rect">
            <a:avLst/>
          </a:prstGeom>
          <a:ln w="12700">
            <a:miter lim="400000"/>
            <a:headEnd/>
            <a:tailEnd/>
          </a:ln>
        </p:spPr>
      </p:pic>
      <p:pic>
        <p:nvPicPr>
          <p:cNvPr id="4" name="图片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815" y="0"/>
            <a:ext cx="11146185" cy="6858000"/>
          </a:xfrm>
          <a:prstGeom prst="rect">
            <a:avLst/>
          </a:prstGeom>
        </p:spPr>
      </p:pic>
      <p:sp>
        <p:nvSpPr>
          <p:cNvPr id="8" name="矩形 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5000">
                <a:srgbClr val="FDF1ED">
                  <a:alpha val="97647"/>
                </a:srgbClr>
              </a:gs>
              <a:gs pos="27000">
                <a:srgbClr val="FEF8F6">
                  <a:alpha val="86000"/>
                </a:srgbClr>
              </a:gs>
              <a:gs pos="56000">
                <a:schemeClr val="bg1">
                  <a:alpha val="86000"/>
                </a:schemeClr>
              </a:gs>
              <a:gs pos="0">
                <a:srgbClr val="FDEAE3"/>
              </a:gs>
              <a:gs pos="100000">
                <a:schemeClr val="bg1">
                  <a:alpha val="64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sp>
        <p:nvSpPr>
          <p:cNvPr id="30" name="任意多边形: 形状 29"/>
          <p:cNvSpPr/>
          <p:nvPr userDrawn="1"/>
        </p:nvSpPr>
        <p:spPr>
          <a:xfrm>
            <a:off x="6918699" y="3183037"/>
            <a:ext cx="3984653" cy="3682203"/>
          </a:xfrm>
          <a:custGeom>
            <a:avLst/>
            <a:gdLst>
              <a:gd name="connsiteX0" fmla="*/ 2696901 w 5266797"/>
              <a:gd name="connsiteY0" fmla="*/ 0 h 6875362"/>
              <a:gd name="connsiteX1" fmla="*/ 5266797 w 5266797"/>
              <a:gd name="connsiteY1" fmla="*/ 0 h 6875362"/>
              <a:gd name="connsiteX2" fmla="*/ 5266797 w 5266797"/>
              <a:gd name="connsiteY2" fmla="*/ 1408772 h 6875362"/>
              <a:gd name="connsiteX3" fmla="*/ 3126080 w 5266797"/>
              <a:gd name="connsiteY3" fmla="*/ 6866222 h 6875362"/>
              <a:gd name="connsiteX4" fmla="*/ 0 w 5266797"/>
              <a:gd name="connsiteY4" fmla="*/ 6875362 h 6875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66797" h="6875362">
                <a:moveTo>
                  <a:pt x="2696901" y="0"/>
                </a:moveTo>
                <a:lnTo>
                  <a:pt x="5266797" y="0"/>
                </a:lnTo>
                <a:lnTo>
                  <a:pt x="5266797" y="1408772"/>
                </a:lnTo>
                <a:lnTo>
                  <a:pt x="3126080" y="6866222"/>
                </a:lnTo>
                <a:lnTo>
                  <a:pt x="0" y="6875362"/>
                </a:lnTo>
                <a:close/>
              </a:path>
            </a:pathLst>
          </a:custGeom>
          <a:gradFill flip="none" rotWithShape="1">
            <a:gsLst>
              <a:gs pos="32000">
                <a:srgbClr val="FE832C"/>
              </a:gs>
              <a:gs pos="88000">
                <a:srgbClr val="FFCEAB"/>
              </a:gs>
              <a:gs pos="0">
                <a:srgbClr val="EA5504"/>
              </a:gs>
              <a:gs pos="100000">
                <a:srgbClr val="FBE9D5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pic>
        <p:nvPicPr>
          <p:cNvPr id="12" name="图片 11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 flipH="1">
            <a:off x="6229392" y="1300480"/>
            <a:ext cx="5962607" cy="5557520"/>
          </a:xfrm>
          <a:prstGeom prst="rect">
            <a:avLst/>
          </a:prstGeom>
        </p:spPr>
      </p:pic>
      <p:sp>
        <p:nvSpPr>
          <p:cNvPr id="13" name="任意多边形: 形状 12"/>
          <p:cNvSpPr/>
          <p:nvPr userDrawn="1"/>
        </p:nvSpPr>
        <p:spPr>
          <a:xfrm>
            <a:off x="0" y="0"/>
            <a:ext cx="690654" cy="745871"/>
          </a:xfrm>
          <a:custGeom>
            <a:avLst/>
            <a:gdLst>
              <a:gd name="connsiteX0" fmla="*/ 590479 w 631437"/>
              <a:gd name="connsiteY0" fmla="*/ 600003 h 681919"/>
              <a:gd name="connsiteX1" fmla="*/ 631437 w 631437"/>
              <a:gd name="connsiteY1" fmla="*/ 640961 h 681919"/>
              <a:gd name="connsiteX2" fmla="*/ 590479 w 631437"/>
              <a:gd name="connsiteY2" fmla="*/ 681919 h 681919"/>
              <a:gd name="connsiteX3" fmla="*/ 549521 w 631437"/>
              <a:gd name="connsiteY3" fmla="*/ 640961 h 681919"/>
              <a:gd name="connsiteX4" fmla="*/ 590479 w 631437"/>
              <a:gd name="connsiteY4" fmla="*/ 600003 h 681919"/>
              <a:gd name="connsiteX5" fmla="*/ 448555 w 631437"/>
              <a:gd name="connsiteY5" fmla="*/ 600003 h 681919"/>
              <a:gd name="connsiteX6" fmla="*/ 489513 w 631437"/>
              <a:gd name="connsiteY6" fmla="*/ 640961 h 681919"/>
              <a:gd name="connsiteX7" fmla="*/ 448555 w 631437"/>
              <a:gd name="connsiteY7" fmla="*/ 681919 h 681919"/>
              <a:gd name="connsiteX8" fmla="*/ 407597 w 631437"/>
              <a:gd name="connsiteY8" fmla="*/ 640961 h 681919"/>
              <a:gd name="connsiteX9" fmla="*/ 448555 w 631437"/>
              <a:gd name="connsiteY9" fmla="*/ 600003 h 681919"/>
              <a:gd name="connsiteX10" fmla="*/ 306633 w 631437"/>
              <a:gd name="connsiteY10" fmla="*/ 600003 h 681919"/>
              <a:gd name="connsiteX11" fmla="*/ 347591 w 631437"/>
              <a:gd name="connsiteY11" fmla="*/ 640961 h 681919"/>
              <a:gd name="connsiteX12" fmla="*/ 306633 w 631437"/>
              <a:gd name="connsiteY12" fmla="*/ 681919 h 681919"/>
              <a:gd name="connsiteX13" fmla="*/ 265675 w 631437"/>
              <a:gd name="connsiteY13" fmla="*/ 640961 h 681919"/>
              <a:gd name="connsiteX14" fmla="*/ 306633 w 631437"/>
              <a:gd name="connsiteY14" fmla="*/ 600003 h 681919"/>
              <a:gd name="connsiteX15" fmla="*/ 164711 w 631437"/>
              <a:gd name="connsiteY15" fmla="*/ 600003 h 681919"/>
              <a:gd name="connsiteX16" fmla="*/ 205669 w 631437"/>
              <a:gd name="connsiteY16" fmla="*/ 640961 h 681919"/>
              <a:gd name="connsiteX17" fmla="*/ 164711 w 631437"/>
              <a:gd name="connsiteY17" fmla="*/ 681919 h 681919"/>
              <a:gd name="connsiteX18" fmla="*/ 123753 w 631437"/>
              <a:gd name="connsiteY18" fmla="*/ 640961 h 681919"/>
              <a:gd name="connsiteX19" fmla="*/ 164711 w 631437"/>
              <a:gd name="connsiteY19" fmla="*/ 600003 h 681919"/>
              <a:gd name="connsiteX20" fmla="*/ 22789 w 631437"/>
              <a:gd name="connsiteY20" fmla="*/ 600003 h 681919"/>
              <a:gd name="connsiteX21" fmla="*/ 63747 w 631437"/>
              <a:gd name="connsiteY21" fmla="*/ 640961 h 681919"/>
              <a:gd name="connsiteX22" fmla="*/ 22789 w 631437"/>
              <a:gd name="connsiteY22" fmla="*/ 681919 h 681919"/>
              <a:gd name="connsiteX23" fmla="*/ 0 w 631437"/>
              <a:gd name="connsiteY23" fmla="*/ 672479 h 681919"/>
              <a:gd name="connsiteX24" fmla="*/ 0 w 631437"/>
              <a:gd name="connsiteY24" fmla="*/ 609443 h 681919"/>
              <a:gd name="connsiteX25" fmla="*/ 590479 w 631437"/>
              <a:gd name="connsiteY25" fmla="*/ 441888 h 681919"/>
              <a:gd name="connsiteX26" fmla="*/ 631437 w 631437"/>
              <a:gd name="connsiteY26" fmla="*/ 482846 h 681919"/>
              <a:gd name="connsiteX27" fmla="*/ 590479 w 631437"/>
              <a:gd name="connsiteY27" fmla="*/ 523804 h 681919"/>
              <a:gd name="connsiteX28" fmla="*/ 549521 w 631437"/>
              <a:gd name="connsiteY28" fmla="*/ 482846 h 681919"/>
              <a:gd name="connsiteX29" fmla="*/ 590479 w 631437"/>
              <a:gd name="connsiteY29" fmla="*/ 441888 h 681919"/>
              <a:gd name="connsiteX30" fmla="*/ 448555 w 631437"/>
              <a:gd name="connsiteY30" fmla="*/ 441888 h 681919"/>
              <a:gd name="connsiteX31" fmla="*/ 489513 w 631437"/>
              <a:gd name="connsiteY31" fmla="*/ 482846 h 681919"/>
              <a:gd name="connsiteX32" fmla="*/ 448555 w 631437"/>
              <a:gd name="connsiteY32" fmla="*/ 523804 h 681919"/>
              <a:gd name="connsiteX33" fmla="*/ 407597 w 631437"/>
              <a:gd name="connsiteY33" fmla="*/ 482846 h 681919"/>
              <a:gd name="connsiteX34" fmla="*/ 448555 w 631437"/>
              <a:gd name="connsiteY34" fmla="*/ 441888 h 681919"/>
              <a:gd name="connsiteX35" fmla="*/ 306633 w 631437"/>
              <a:gd name="connsiteY35" fmla="*/ 441888 h 681919"/>
              <a:gd name="connsiteX36" fmla="*/ 347591 w 631437"/>
              <a:gd name="connsiteY36" fmla="*/ 482846 h 681919"/>
              <a:gd name="connsiteX37" fmla="*/ 306633 w 631437"/>
              <a:gd name="connsiteY37" fmla="*/ 523804 h 681919"/>
              <a:gd name="connsiteX38" fmla="*/ 265675 w 631437"/>
              <a:gd name="connsiteY38" fmla="*/ 482846 h 681919"/>
              <a:gd name="connsiteX39" fmla="*/ 306633 w 631437"/>
              <a:gd name="connsiteY39" fmla="*/ 441888 h 681919"/>
              <a:gd name="connsiteX40" fmla="*/ 164711 w 631437"/>
              <a:gd name="connsiteY40" fmla="*/ 441888 h 681919"/>
              <a:gd name="connsiteX41" fmla="*/ 205669 w 631437"/>
              <a:gd name="connsiteY41" fmla="*/ 482846 h 681919"/>
              <a:gd name="connsiteX42" fmla="*/ 164711 w 631437"/>
              <a:gd name="connsiteY42" fmla="*/ 523804 h 681919"/>
              <a:gd name="connsiteX43" fmla="*/ 123753 w 631437"/>
              <a:gd name="connsiteY43" fmla="*/ 482846 h 681919"/>
              <a:gd name="connsiteX44" fmla="*/ 164711 w 631437"/>
              <a:gd name="connsiteY44" fmla="*/ 441888 h 681919"/>
              <a:gd name="connsiteX45" fmla="*/ 22789 w 631437"/>
              <a:gd name="connsiteY45" fmla="*/ 441888 h 681919"/>
              <a:gd name="connsiteX46" fmla="*/ 63747 w 631437"/>
              <a:gd name="connsiteY46" fmla="*/ 482846 h 681919"/>
              <a:gd name="connsiteX47" fmla="*/ 22789 w 631437"/>
              <a:gd name="connsiteY47" fmla="*/ 523804 h 681919"/>
              <a:gd name="connsiteX48" fmla="*/ 0 w 631437"/>
              <a:gd name="connsiteY48" fmla="*/ 514364 h 681919"/>
              <a:gd name="connsiteX49" fmla="*/ 0 w 631437"/>
              <a:gd name="connsiteY49" fmla="*/ 451328 h 681919"/>
              <a:gd name="connsiteX50" fmla="*/ 590479 w 631437"/>
              <a:gd name="connsiteY50" fmla="*/ 283773 h 681919"/>
              <a:gd name="connsiteX51" fmla="*/ 631437 w 631437"/>
              <a:gd name="connsiteY51" fmla="*/ 324731 h 681919"/>
              <a:gd name="connsiteX52" fmla="*/ 590479 w 631437"/>
              <a:gd name="connsiteY52" fmla="*/ 365689 h 681919"/>
              <a:gd name="connsiteX53" fmla="*/ 549521 w 631437"/>
              <a:gd name="connsiteY53" fmla="*/ 324731 h 681919"/>
              <a:gd name="connsiteX54" fmla="*/ 590479 w 631437"/>
              <a:gd name="connsiteY54" fmla="*/ 283773 h 681919"/>
              <a:gd name="connsiteX55" fmla="*/ 448555 w 631437"/>
              <a:gd name="connsiteY55" fmla="*/ 283773 h 681919"/>
              <a:gd name="connsiteX56" fmla="*/ 489513 w 631437"/>
              <a:gd name="connsiteY56" fmla="*/ 324731 h 681919"/>
              <a:gd name="connsiteX57" fmla="*/ 448555 w 631437"/>
              <a:gd name="connsiteY57" fmla="*/ 365689 h 681919"/>
              <a:gd name="connsiteX58" fmla="*/ 407597 w 631437"/>
              <a:gd name="connsiteY58" fmla="*/ 324731 h 681919"/>
              <a:gd name="connsiteX59" fmla="*/ 448555 w 631437"/>
              <a:gd name="connsiteY59" fmla="*/ 283773 h 681919"/>
              <a:gd name="connsiteX60" fmla="*/ 306633 w 631437"/>
              <a:gd name="connsiteY60" fmla="*/ 283773 h 681919"/>
              <a:gd name="connsiteX61" fmla="*/ 347591 w 631437"/>
              <a:gd name="connsiteY61" fmla="*/ 324731 h 681919"/>
              <a:gd name="connsiteX62" fmla="*/ 306633 w 631437"/>
              <a:gd name="connsiteY62" fmla="*/ 365689 h 681919"/>
              <a:gd name="connsiteX63" fmla="*/ 265675 w 631437"/>
              <a:gd name="connsiteY63" fmla="*/ 324731 h 681919"/>
              <a:gd name="connsiteX64" fmla="*/ 306633 w 631437"/>
              <a:gd name="connsiteY64" fmla="*/ 283773 h 681919"/>
              <a:gd name="connsiteX65" fmla="*/ 164711 w 631437"/>
              <a:gd name="connsiteY65" fmla="*/ 283773 h 681919"/>
              <a:gd name="connsiteX66" fmla="*/ 205669 w 631437"/>
              <a:gd name="connsiteY66" fmla="*/ 324731 h 681919"/>
              <a:gd name="connsiteX67" fmla="*/ 164711 w 631437"/>
              <a:gd name="connsiteY67" fmla="*/ 365689 h 681919"/>
              <a:gd name="connsiteX68" fmla="*/ 123753 w 631437"/>
              <a:gd name="connsiteY68" fmla="*/ 324731 h 681919"/>
              <a:gd name="connsiteX69" fmla="*/ 164711 w 631437"/>
              <a:gd name="connsiteY69" fmla="*/ 283773 h 681919"/>
              <a:gd name="connsiteX70" fmla="*/ 22789 w 631437"/>
              <a:gd name="connsiteY70" fmla="*/ 283773 h 681919"/>
              <a:gd name="connsiteX71" fmla="*/ 63747 w 631437"/>
              <a:gd name="connsiteY71" fmla="*/ 324731 h 681919"/>
              <a:gd name="connsiteX72" fmla="*/ 22789 w 631437"/>
              <a:gd name="connsiteY72" fmla="*/ 365689 h 681919"/>
              <a:gd name="connsiteX73" fmla="*/ 0 w 631437"/>
              <a:gd name="connsiteY73" fmla="*/ 356249 h 681919"/>
              <a:gd name="connsiteX74" fmla="*/ 0 w 631437"/>
              <a:gd name="connsiteY74" fmla="*/ 293213 h 681919"/>
              <a:gd name="connsiteX75" fmla="*/ 448555 w 631437"/>
              <a:gd name="connsiteY75" fmla="*/ 125658 h 681919"/>
              <a:gd name="connsiteX76" fmla="*/ 489513 w 631437"/>
              <a:gd name="connsiteY76" fmla="*/ 166616 h 681919"/>
              <a:gd name="connsiteX77" fmla="*/ 448555 w 631437"/>
              <a:gd name="connsiteY77" fmla="*/ 207574 h 681919"/>
              <a:gd name="connsiteX78" fmla="*/ 407597 w 631437"/>
              <a:gd name="connsiteY78" fmla="*/ 166616 h 681919"/>
              <a:gd name="connsiteX79" fmla="*/ 448555 w 631437"/>
              <a:gd name="connsiteY79" fmla="*/ 125658 h 681919"/>
              <a:gd name="connsiteX80" fmla="*/ 306633 w 631437"/>
              <a:gd name="connsiteY80" fmla="*/ 125658 h 681919"/>
              <a:gd name="connsiteX81" fmla="*/ 347591 w 631437"/>
              <a:gd name="connsiteY81" fmla="*/ 166616 h 681919"/>
              <a:gd name="connsiteX82" fmla="*/ 306633 w 631437"/>
              <a:gd name="connsiteY82" fmla="*/ 207574 h 681919"/>
              <a:gd name="connsiteX83" fmla="*/ 265675 w 631437"/>
              <a:gd name="connsiteY83" fmla="*/ 166616 h 681919"/>
              <a:gd name="connsiteX84" fmla="*/ 306633 w 631437"/>
              <a:gd name="connsiteY84" fmla="*/ 125658 h 681919"/>
              <a:gd name="connsiteX85" fmla="*/ 164711 w 631437"/>
              <a:gd name="connsiteY85" fmla="*/ 125658 h 681919"/>
              <a:gd name="connsiteX86" fmla="*/ 205669 w 631437"/>
              <a:gd name="connsiteY86" fmla="*/ 166616 h 681919"/>
              <a:gd name="connsiteX87" fmla="*/ 164711 w 631437"/>
              <a:gd name="connsiteY87" fmla="*/ 207574 h 681919"/>
              <a:gd name="connsiteX88" fmla="*/ 123753 w 631437"/>
              <a:gd name="connsiteY88" fmla="*/ 166616 h 681919"/>
              <a:gd name="connsiteX89" fmla="*/ 164711 w 631437"/>
              <a:gd name="connsiteY89" fmla="*/ 125658 h 681919"/>
              <a:gd name="connsiteX90" fmla="*/ 22789 w 631437"/>
              <a:gd name="connsiteY90" fmla="*/ 125658 h 681919"/>
              <a:gd name="connsiteX91" fmla="*/ 63747 w 631437"/>
              <a:gd name="connsiteY91" fmla="*/ 166616 h 681919"/>
              <a:gd name="connsiteX92" fmla="*/ 22789 w 631437"/>
              <a:gd name="connsiteY92" fmla="*/ 207574 h 681919"/>
              <a:gd name="connsiteX93" fmla="*/ 0 w 631437"/>
              <a:gd name="connsiteY93" fmla="*/ 198134 h 681919"/>
              <a:gd name="connsiteX94" fmla="*/ 0 w 631437"/>
              <a:gd name="connsiteY94" fmla="*/ 135098 h 681919"/>
              <a:gd name="connsiteX95" fmla="*/ 590479 w 631437"/>
              <a:gd name="connsiteY95" fmla="*/ 125658 h 681919"/>
              <a:gd name="connsiteX96" fmla="*/ 631437 w 631437"/>
              <a:gd name="connsiteY96" fmla="*/ 166616 h 681919"/>
              <a:gd name="connsiteX97" fmla="*/ 590479 w 631437"/>
              <a:gd name="connsiteY97" fmla="*/ 207574 h 681919"/>
              <a:gd name="connsiteX98" fmla="*/ 549521 w 631437"/>
              <a:gd name="connsiteY98" fmla="*/ 166616 h 681919"/>
              <a:gd name="connsiteX99" fmla="*/ 590479 w 631437"/>
              <a:gd name="connsiteY99" fmla="*/ 125658 h 681919"/>
              <a:gd name="connsiteX100" fmla="*/ 553042 w 631437"/>
              <a:gd name="connsiteY100" fmla="*/ 0 h 681919"/>
              <a:gd name="connsiteX101" fmla="*/ 627916 w 631437"/>
              <a:gd name="connsiteY101" fmla="*/ 0 h 681919"/>
              <a:gd name="connsiteX102" fmla="*/ 631437 w 631437"/>
              <a:gd name="connsiteY102" fmla="*/ 8501 h 681919"/>
              <a:gd name="connsiteX103" fmla="*/ 590479 w 631437"/>
              <a:gd name="connsiteY103" fmla="*/ 49459 h 681919"/>
              <a:gd name="connsiteX104" fmla="*/ 549521 w 631437"/>
              <a:gd name="connsiteY104" fmla="*/ 8501 h 681919"/>
              <a:gd name="connsiteX105" fmla="*/ 411118 w 631437"/>
              <a:gd name="connsiteY105" fmla="*/ 0 h 681919"/>
              <a:gd name="connsiteX106" fmla="*/ 485992 w 631437"/>
              <a:gd name="connsiteY106" fmla="*/ 0 h 681919"/>
              <a:gd name="connsiteX107" fmla="*/ 489513 w 631437"/>
              <a:gd name="connsiteY107" fmla="*/ 8501 h 681919"/>
              <a:gd name="connsiteX108" fmla="*/ 448555 w 631437"/>
              <a:gd name="connsiteY108" fmla="*/ 49459 h 681919"/>
              <a:gd name="connsiteX109" fmla="*/ 407597 w 631437"/>
              <a:gd name="connsiteY109" fmla="*/ 8501 h 681919"/>
              <a:gd name="connsiteX110" fmla="*/ 269196 w 631437"/>
              <a:gd name="connsiteY110" fmla="*/ 0 h 681919"/>
              <a:gd name="connsiteX111" fmla="*/ 344070 w 631437"/>
              <a:gd name="connsiteY111" fmla="*/ 0 h 681919"/>
              <a:gd name="connsiteX112" fmla="*/ 347591 w 631437"/>
              <a:gd name="connsiteY112" fmla="*/ 8501 h 681919"/>
              <a:gd name="connsiteX113" fmla="*/ 306633 w 631437"/>
              <a:gd name="connsiteY113" fmla="*/ 49459 h 681919"/>
              <a:gd name="connsiteX114" fmla="*/ 265675 w 631437"/>
              <a:gd name="connsiteY114" fmla="*/ 8501 h 681919"/>
              <a:gd name="connsiteX115" fmla="*/ 127274 w 631437"/>
              <a:gd name="connsiteY115" fmla="*/ 0 h 681919"/>
              <a:gd name="connsiteX116" fmla="*/ 202148 w 631437"/>
              <a:gd name="connsiteY116" fmla="*/ 0 h 681919"/>
              <a:gd name="connsiteX117" fmla="*/ 205669 w 631437"/>
              <a:gd name="connsiteY117" fmla="*/ 8501 h 681919"/>
              <a:gd name="connsiteX118" fmla="*/ 164711 w 631437"/>
              <a:gd name="connsiteY118" fmla="*/ 49459 h 681919"/>
              <a:gd name="connsiteX119" fmla="*/ 123753 w 631437"/>
              <a:gd name="connsiteY119" fmla="*/ 8501 h 681919"/>
              <a:gd name="connsiteX120" fmla="*/ 0 w 631437"/>
              <a:gd name="connsiteY120" fmla="*/ 0 h 681919"/>
              <a:gd name="connsiteX121" fmla="*/ 60226 w 631437"/>
              <a:gd name="connsiteY121" fmla="*/ 0 h 681919"/>
              <a:gd name="connsiteX122" fmla="*/ 63747 w 631437"/>
              <a:gd name="connsiteY122" fmla="*/ 8501 h 681919"/>
              <a:gd name="connsiteX123" fmla="*/ 22789 w 631437"/>
              <a:gd name="connsiteY123" fmla="*/ 49459 h 681919"/>
              <a:gd name="connsiteX124" fmla="*/ 0 w 631437"/>
              <a:gd name="connsiteY124" fmla="*/ 40019 h 6819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631437" h="681919">
                <a:moveTo>
                  <a:pt x="590479" y="600003"/>
                </a:moveTo>
                <a:cubicBezTo>
                  <a:pt x="613099" y="600003"/>
                  <a:pt x="631437" y="618341"/>
                  <a:pt x="631437" y="640961"/>
                </a:cubicBezTo>
                <a:cubicBezTo>
                  <a:pt x="631437" y="663581"/>
                  <a:pt x="613099" y="681919"/>
                  <a:pt x="590479" y="681919"/>
                </a:cubicBezTo>
                <a:cubicBezTo>
                  <a:pt x="567859" y="681919"/>
                  <a:pt x="549521" y="663581"/>
                  <a:pt x="549521" y="640961"/>
                </a:cubicBezTo>
                <a:cubicBezTo>
                  <a:pt x="549521" y="618341"/>
                  <a:pt x="567859" y="600003"/>
                  <a:pt x="590479" y="600003"/>
                </a:cubicBezTo>
                <a:close/>
                <a:moveTo>
                  <a:pt x="448555" y="600003"/>
                </a:moveTo>
                <a:cubicBezTo>
                  <a:pt x="471175" y="600003"/>
                  <a:pt x="489513" y="618341"/>
                  <a:pt x="489513" y="640961"/>
                </a:cubicBezTo>
                <a:cubicBezTo>
                  <a:pt x="489513" y="663581"/>
                  <a:pt x="471175" y="681919"/>
                  <a:pt x="448555" y="681919"/>
                </a:cubicBezTo>
                <a:cubicBezTo>
                  <a:pt x="425935" y="681919"/>
                  <a:pt x="407597" y="663581"/>
                  <a:pt x="407597" y="640961"/>
                </a:cubicBezTo>
                <a:cubicBezTo>
                  <a:pt x="407597" y="618341"/>
                  <a:pt x="425935" y="600003"/>
                  <a:pt x="448555" y="600003"/>
                </a:cubicBezTo>
                <a:close/>
                <a:moveTo>
                  <a:pt x="306633" y="600003"/>
                </a:moveTo>
                <a:cubicBezTo>
                  <a:pt x="329253" y="600003"/>
                  <a:pt x="347591" y="618341"/>
                  <a:pt x="347591" y="640961"/>
                </a:cubicBezTo>
                <a:cubicBezTo>
                  <a:pt x="347591" y="663581"/>
                  <a:pt x="329253" y="681919"/>
                  <a:pt x="306633" y="681919"/>
                </a:cubicBezTo>
                <a:cubicBezTo>
                  <a:pt x="284013" y="681919"/>
                  <a:pt x="265675" y="663581"/>
                  <a:pt x="265675" y="640961"/>
                </a:cubicBezTo>
                <a:cubicBezTo>
                  <a:pt x="265675" y="618341"/>
                  <a:pt x="284013" y="600003"/>
                  <a:pt x="306633" y="600003"/>
                </a:cubicBezTo>
                <a:close/>
                <a:moveTo>
                  <a:pt x="164711" y="600003"/>
                </a:moveTo>
                <a:cubicBezTo>
                  <a:pt x="187331" y="600003"/>
                  <a:pt x="205669" y="618341"/>
                  <a:pt x="205669" y="640961"/>
                </a:cubicBezTo>
                <a:cubicBezTo>
                  <a:pt x="205669" y="663581"/>
                  <a:pt x="187331" y="681919"/>
                  <a:pt x="164711" y="681919"/>
                </a:cubicBezTo>
                <a:cubicBezTo>
                  <a:pt x="142091" y="681919"/>
                  <a:pt x="123753" y="663581"/>
                  <a:pt x="123753" y="640961"/>
                </a:cubicBezTo>
                <a:cubicBezTo>
                  <a:pt x="123753" y="618341"/>
                  <a:pt x="142091" y="600003"/>
                  <a:pt x="164711" y="600003"/>
                </a:cubicBezTo>
                <a:close/>
                <a:moveTo>
                  <a:pt x="22789" y="600003"/>
                </a:moveTo>
                <a:cubicBezTo>
                  <a:pt x="45409" y="600003"/>
                  <a:pt x="63747" y="618341"/>
                  <a:pt x="63747" y="640961"/>
                </a:cubicBezTo>
                <a:cubicBezTo>
                  <a:pt x="63747" y="663581"/>
                  <a:pt x="45409" y="681919"/>
                  <a:pt x="22789" y="681919"/>
                </a:cubicBezTo>
                <a:lnTo>
                  <a:pt x="0" y="672479"/>
                </a:lnTo>
                <a:lnTo>
                  <a:pt x="0" y="609443"/>
                </a:lnTo>
                <a:close/>
                <a:moveTo>
                  <a:pt x="590479" y="441888"/>
                </a:moveTo>
                <a:cubicBezTo>
                  <a:pt x="613099" y="441888"/>
                  <a:pt x="631437" y="460226"/>
                  <a:pt x="631437" y="482846"/>
                </a:cubicBezTo>
                <a:cubicBezTo>
                  <a:pt x="631437" y="505466"/>
                  <a:pt x="613099" y="523804"/>
                  <a:pt x="590479" y="523804"/>
                </a:cubicBezTo>
                <a:cubicBezTo>
                  <a:pt x="567859" y="523804"/>
                  <a:pt x="549521" y="505466"/>
                  <a:pt x="549521" y="482846"/>
                </a:cubicBezTo>
                <a:cubicBezTo>
                  <a:pt x="549521" y="460226"/>
                  <a:pt x="567859" y="441888"/>
                  <a:pt x="590479" y="441888"/>
                </a:cubicBezTo>
                <a:close/>
                <a:moveTo>
                  <a:pt x="448555" y="441888"/>
                </a:moveTo>
                <a:cubicBezTo>
                  <a:pt x="471175" y="441888"/>
                  <a:pt x="489513" y="460226"/>
                  <a:pt x="489513" y="482846"/>
                </a:cubicBezTo>
                <a:cubicBezTo>
                  <a:pt x="489513" y="505466"/>
                  <a:pt x="471175" y="523804"/>
                  <a:pt x="448555" y="523804"/>
                </a:cubicBezTo>
                <a:cubicBezTo>
                  <a:pt x="425935" y="523804"/>
                  <a:pt x="407597" y="505466"/>
                  <a:pt x="407597" y="482846"/>
                </a:cubicBezTo>
                <a:cubicBezTo>
                  <a:pt x="407597" y="460226"/>
                  <a:pt x="425935" y="441888"/>
                  <a:pt x="448555" y="441888"/>
                </a:cubicBezTo>
                <a:close/>
                <a:moveTo>
                  <a:pt x="306633" y="441888"/>
                </a:moveTo>
                <a:cubicBezTo>
                  <a:pt x="329253" y="441888"/>
                  <a:pt x="347591" y="460226"/>
                  <a:pt x="347591" y="482846"/>
                </a:cubicBezTo>
                <a:cubicBezTo>
                  <a:pt x="347591" y="505466"/>
                  <a:pt x="329253" y="523804"/>
                  <a:pt x="306633" y="523804"/>
                </a:cubicBezTo>
                <a:cubicBezTo>
                  <a:pt x="284013" y="523804"/>
                  <a:pt x="265675" y="505466"/>
                  <a:pt x="265675" y="482846"/>
                </a:cubicBezTo>
                <a:cubicBezTo>
                  <a:pt x="265675" y="460226"/>
                  <a:pt x="284013" y="441888"/>
                  <a:pt x="306633" y="441888"/>
                </a:cubicBezTo>
                <a:close/>
                <a:moveTo>
                  <a:pt x="164711" y="441888"/>
                </a:moveTo>
                <a:cubicBezTo>
                  <a:pt x="187331" y="441888"/>
                  <a:pt x="205669" y="460226"/>
                  <a:pt x="205669" y="482846"/>
                </a:cubicBezTo>
                <a:cubicBezTo>
                  <a:pt x="205669" y="505466"/>
                  <a:pt x="187331" y="523804"/>
                  <a:pt x="164711" y="523804"/>
                </a:cubicBezTo>
                <a:cubicBezTo>
                  <a:pt x="142091" y="523804"/>
                  <a:pt x="123753" y="505466"/>
                  <a:pt x="123753" y="482846"/>
                </a:cubicBezTo>
                <a:cubicBezTo>
                  <a:pt x="123753" y="460226"/>
                  <a:pt x="142091" y="441888"/>
                  <a:pt x="164711" y="441888"/>
                </a:cubicBezTo>
                <a:close/>
                <a:moveTo>
                  <a:pt x="22789" y="441888"/>
                </a:moveTo>
                <a:cubicBezTo>
                  <a:pt x="45409" y="441888"/>
                  <a:pt x="63747" y="460226"/>
                  <a:pt x="63747" y="482846"/>
                </a:cubicBezTo>
                <a:cubicBezTo>
                  <a:pt x="63747" y="505466"/>
                  <a:pt x="45409" y="523804"/>
                  <a:pt x="22789" y="523804"/>
                </a:cubicBezTo>
                <a:lnTo>
                  <a:pt x="0" y="514364"/>
                </a:lnTo>
                <a:lnTo>
                  <a:pt x="0" y="451328"/>
                </a:lnTo>
                <a:close/>
                <a:moveTo>
                  <a:pt x="590479" y="283773"/>
                </a:moveTo>
                <a:cubicBezTo>
                  <a:pt x="613099" y="283773"/>
                  <a:pt x="631437" y="302111"/>
                  <a:pt x="631437" y="324731"/>
                </a:cubicBezTo>
                <a:cubicBezTo>
                  <a:pt x="631437" y="347351"/>
                  <a:pt x="613099" y="365689"/>
                  <a:pt x="590479" y="365689"/>
                </a:cubicBezTo>
                <a:cubicBezTo>
                  <a:pt x="567859" y="365689"/>
                  <a:pt x="549521" y="347351"/>
                  <a:pt x="549521" y="324731"/>
                </a:cubicBezTo>
                <a:cubicBezTo>
                  <a:pt x="549521" y="302111"/>
                  <a:pt x="567859" y="283773"/>
                  <a:pt x="590479" y="283773"/>
                </a:cubicBezTo>
                <a:close/>
                <a:moveTo>
                  <a:pt x="448555" y="283773"/>
                </a:moveTo>
                <a:cubicBezTo>
                  <a:pt x="471175" y="283773"/>
                  <a:pt x="489513" y="302111"/>
                  <a:pt x="489513" y="324731"/>
                </a:cubicBezTo>
                <a:cubicBezTo>
                  <a:pt x="489513" y="347351"/>
                  <a:pt x="471175" y="365689"/>
                  <a:pt x="448555" y="365689"/>
                </a:cubicBezTo>
                <a:cubicBezTo>
                  <a:pt x="425935" y="365689"/>
                  <a:pt x="407597" y="347351"/>
                  <a:pt x="407597" y="324731"/>
                </a:cubicBezTo>
                <a:cubicBezTo>
                  <a:pt x="407597" y="302111"/>
                  <a:pt x="425935" y="283773"/>
                  <a:pt x="448555" y="283773"/>
                </a:cubicBezTo>
                <a:close/>
                <a:moveTo>
                  <a:pt x="306633" y="283773"/>
                </a:moveTo>
                <a:cubicBezTo>
                  <a:pt x="329253" y="283773"/>
                  <a:pt x="347591" y="302111"/>
                  <a:pt x="347591" y="324731"/>
                </a:cubicBezTo>
                <a:cubicBezTo>
                  <a:pt x="347591" y="347351"/>
                  <a:pt x="329253" y="365689"/>
                  <a:pt x="306633" y="365689"/>
                </a:cubicBezTo>
                <a:cubicBezTo>
                  <a:pt x="284013" y="365689"/>
                  <a:pt x="265675" y="347351"/>
                  <a:pt x="265675" y="324731"/>
                </a:cubicBezTo>
                <a:cubicBezTo>
                  <a:pt x="265675" y="302111"/>
                  <a:pt x="284013" y="283773"/>
                  <a:pt x="306633" y="283773"/>
                </a:cubicBezTo>
                <a:close/>
                <a:moveTo>
                  <a:pt x="164711" y="283773"/>
                </a:moveTo>
                <a:cubicBezTo>
                  <a:pt x="187331" y="283773"/>
                  <a:pt x="205669" y="302111"/>
                  <a:pt x="205669" y="324731"/>
                </a:cubicBezTo>
                <a:cubicBezTo>
                  <a:pt x="205669" y="347351"/>
                  <a:pt x="187331" y="365689"/>
                  <a:pt x="164711" y="365689"/>
                </a:cubicBezTo>
                <a:cubicBezTo>
                  <a:pt x="142091" y="365689"/>
                  <a:pt x="123753" y="347351"/>
                  <a:pt x="123753" y="324731"/>
                </a:cubicBezTo>
                <a:cubicBezTo>
                  <a:pt x="123753" y="302111"/>
                  <a:pt x="142091" y="283773"/>
                  <a:pt x="164711" y="283773"/>
                </a:cubicBezTo>
                <a:close/>
                <a:moveTo>
                  <a:pt x="22789" y="283773"/>
                </a:moveTo>
                <a:cubicBezTo>
                  <a:pt x="45409" y="283773"/>
                  <a:pt x="63747" y="302111"/>
                  <a:pt x="63747" y="324731"/>
                </a:cubicBezTo>
                <a:cubicBezTo>
                  <a:pt x="63747" y="347351"/>
                  <a:pt x="45409" y="365689"/>
                  <a:pt x="22789" y="365689"/>
                </a:cubicBezTo>
                <a:lnTo>
                  <a:pt x="0" y="356249"/>
                </a:lnTo>
                <a:lnTo>
                  <a:pt x="0" y="293213"/>
                </a:lnTo>
                <a:close/>
                <a:moveTo>
                  <a:pt x="448555" y="125658"/>
                </a:moveTo>
                <a:cubicBezTo>
                  <a:pt x="471175" y="125658"/>
                  <a:pt x="489513" y="143996"/>
                  <a:pt x="489513" y="166616"/>
                </a:cubicBezTo>
                <a:cubicBezTo>
                  <a:pt x="489513" y="189236"/>
                  <a:pt x="471175" y="207574"/>
                  <a:pt x="448555" y="207574"/>
                </a:cubicBezTo>
                <a:cubicBezTo>
                  <a:pt x="425935" y="207574"/>
                  <a:pt x="407597" y="189236"/>
                  <a:pt x="407597" y="166616"/>
                </a:cubicBezTo>
                <a:cubicBezTo>
                  <a:pt x="407597" y="143996"/>
                  <a:pt x="425935" y="125658"/>
                  <a:pt x="448555" y="125658"/>
                </a:cubicBezTo>
                <a:close/>
                <a:moveTo>
                  <a:pt x="306633" y="125658"/>
                </a:moveTo>
                <a:cubicBezTo>
                  <a:pt x="329253" y="125658"/>
                  <a:pt x="347591" y="143996"/>
                  <a:pt x="347591" y="166616"/>
                </a:cubicBezTo>
                <a:cubicBezTo>
                  <a:pt x="347591" y="189236"/>
                  <a:pt x="329253" y="207574"/>
                  <a:pt x="306633" y="207574"/>
                </a:cubicBezTo>
                <a:cubicBezTo>
                  <a:pt x="284013" y="207574"/>
                  <a:pt x="265675" y="189236"/>
                  <a:pt x="265675" y="166616"/>
                </a:cubicBezTo>
                <a:cubicBezTo>
                  <a:pt x="265675" y="143996"/>
                  <a:pt x="284013" y="125658"/>
                  <a:pt x="306633" y="125658"/>
                </a:cubicBezTo>
                <a:close/>
                <a:moveTo>
                  <a:pt x="164711" y="125658"/>
                </a:moveTo>
                <a:cubicBezTo>
                  <a:pt x="187331" y="125658"/>
                  <a:pt x="205669" y="143996"/>
                  <a:pt x="205669" y="166616"/>
                </a:cubicBezTo>
                <a:cubicBezTo>
                  <a:pt x="205669" y="189236"/>
                  <a:pt x="187331" y="207574"/>
                  <a:pt x="164711" y="207574"/>
                </a:cubicBezTo>
                <a:cubicBezTo>
                  <a:pt x="142091" y="207574"/>
                  <a:pt x="123753" y="189236"/>
                  <a:pt x="123753" y="166616"/>
                </a:cubicBezTo>
                <a:cubicBezTo>
                  <a:pt x="123753" y="143996"/>
                  <a:pt x="142091" y="125658"/>
                  <a:pt x="164711" y="125658"/>
                </a:cubicBezTo>
                <a:close/>
                <a:moveTo>
                  <a:pt x="22789" y="125658"/>
                </a:moveTo>
                <a:cubicBezTo>
                  <a:pt x="45409" y="125658"/>
                  <a:pt x="63747" y="143996"/>
                  <a:pt x="63747" y="166616"/>
                </a:cubicBezTo>
                <a:cubicBezTo>
                  <a:pt x="63747" y="189236"/>
                  <a:pt x="45409" y="207574"/>
                  <a:pt x="22789" y="207574"/>
                </a:cubicBezTo>
                <a:lnTo>
                  <a:pt x="0" y="198134"/>
                </a:lnTo>
                <a:lnTo>
                  <a:pt x="0" y="135098"/>
                </a:lnTo>
                <a:close/>
                <a:moveTo>
                  <a:pt x="590479" y="125658"/>
                </a:moveTo>
                <a:cubicBezTo>
                  <a:pt x="613099" y="125658"/>
                  <a:pt x="631437" y="143996"/>
                  <a:pt x="631437" y="166616"/>
                </a:cubicBezTo>
                <a:cubicBezTo>
                  <a:pt x="631437" y="189236"/>
                  <a:pt x="613099" y="207574"/>
                  <a:pt x="590479" y="207574"/>
                </a:cubicBezTo>
                <a:cubicBezTo>
                  <a:pt x="567859" y="207574"/>
                  <a:pt x="549521" y="189236"/>
                  <a:pt x="549521" y="166616"/>
                </a:cubicBezTo>
                <a:cubicBezTo>
                  <a:pt x="549521" y="143996"/>
                  <a:pt x="567859" y="125658"/>
                  <a:pt x="590479" y="125658"/>
                </a:cubicBezTo>
                <a:close/>
                <a:moveTo>
                  <a:pt x="553042" y="0"/>
                </a:moveTo>
                <a:lnTo>
                  <a:pt x="627916" y="0"/>
                </a:lnTo>
                <a:lnTo>
                  <a:pt x="631437" y="8501"/>
                </a:lnTo>
                <a:cubicBezTo>
                  <a:pt x="631437" y="31121"/>
                  <a:pt x="613099" y="49459"/>
                  <a:pt x="590479" y="49459"/>
                </a:cubicBezTo>
                <a:cubicBezTo>
                  <a:pt x="567859" y="49459"/>
                  <a:pt x="549521" y="31121"/>
                  <a:pt x="549521" y="8501"/>
                </a:cubicBezTo>
                <a:close/>
                <a:moveTo>
                  <a:pt x="411118" y="0"/>
                </a:moveTo>
                <a:lnTo>
                  <a:pt x="485992" y="0"/>
                </a:lnTo>
                <a:lnTo>
                  <a:pt x="489513" y="8501"/>
                </a:lnTo>
                <a:cubicBezTo>
                  <a:pt x="489513" y="31121"/>
                  <a:pt x="471175" y="49459"/>
                  <a:pt x="448555" y="49459"/>
                </a:cubicBezTo>
                <a:cubicBezTo>
                  <a:pt x="425935" y="49459"/>
                  <a:pt x="407597" y="31121"/>
                  <a:pt x="407597" y="8501"/>
                </a:cubicBezTo>
                <a:close/>
                <a:moveTo>
                  <a:pt x="269196" y="0"/>
                </a:moveTo>
                <a:lnTo>
                  <a:pt x="344070" y="0"/>
                </a:lnTo>
                <a:lnTo>
                  <a:pt x="347591" y="8501"/>
                </a:lnTo>
                <a:cubicBezTo>
                  <a:pt x="347591" y="31121"/>
                  <a:pt x="329253" y="49459"/>
                  <a:pt x="306633" y="49459"/>
                </a:cubicBezTo>
                <a:cubicBezTo>
                  <a:pt x="284013" y="49459"/>
                  <a:pt x="265675" y="31121"/>
                  <a:pt x="265675" y="8501"/>
                </a:cubicBezTo>
                <a:close/>
                <a:moveTo>
                  <a:pt x="127274" y="0"/>
                </a:moveTo>
                <a:lnTo>
                  <a:pt x="202148" y="0"/>
                </a:lnTo>
                <a:lnTo>
                  <a:pt x="205669" y="8501"/>
                </a:lnTo>
                <a:cubicBezTo>
                  <a:pt x="205669" y="31121"/>
                  <a:pt x="187331" y="49459"/>
                  <a:pt x="164711" y="49459"/>
                </a:cubicBezTo>
                <a:cubicBezTo>
                  <a:pt x="142091" y="49459"/>
                  <a:pt x="123753" y="31121"/>
                  <a:pt x="123753" y="8501"/>
                </a:cubicBezTo>
                <a:close/>
                <a:moveTo>
                  <a:pt x="0" y="0"/>
                </a:moveTo>
                <a:lnTo>
                  <a:pt x="60226" y="0"/>
                </a:lnTo>
                <a:lnTo>
                  <a:pt x="63747" y="8501"/>
                </a:lnTo>
                <a:cubicBezTo>
                  <a:pt x="63747" y="31121"/>
                  <a:pt x="45409" y="49459"/>
                  <a:pt x="22789" y="49459"/>
                </a:cubicBezTo>
                <a:lnTo>
                  <a:pt x="0" y="40019"/>
                </a:lnTo>
                <a:close/>
              </a:path>
            </a:pathLst>
          </a:custGeom>
          <a:gradFill flip="none" rotWithShape="1">
            <a:gsLst>
              <a:gs pos="6000">
                <a:srgbClr val="FE832C"/>
              </a:gs>
              <a:gs pos="61000">
                <a:srgbClr val="FFCEAB"/>
              </a:gs>
              <a:gs pos="0">
                <a:srgbClr val="EA5504"/>
              </a:gs>
              <a:gs pos="100000">
                <a:srgbClr val="FBE9D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grpSp>
        <p:nvGrpSpPr>
          <p:cNvPr id="14" name="组合 13"/>
          <p:cNvGrpSpPr/>
          <p:nvPr userDrawn="1"/>
        </p:nvGrpSpPr>
        <p:grpSpPr>
          <a:xfrm>
            <a:off x="741424" y="571834"/>
            <a:ext cx="2812005" cy="468667"/>
            <a:chOff x="660400" y="492126"/>
            <a:chExt cx="3257550" cy="542924"/>
          </a:xfrm>
        </p:grpSpPr>
        <p:sp>
          <p:nvSpPr>
            <p:cNvPr id="15" name="Freeform 5"/>
            <p:cNvSpPr>
              <a:spLocks noEditPoints="1"/>
            </p:cNvSpPr>
            <p:nvPr/>
          </p:nvSpPr>
          <p:spPr bwMode="auto">
            <a:xfrm>
              <a:off x="660400" y="492126"/>
              <a:ext cx="3257550" cy="285750"/>
            </a:xfrm>
            <a:custGeom>
              <a:avLst/>
              <a:gdLst>
                <a:gd name="T0" fmla="*/ 1282 w 1998"/>
                <a:gd name="T1" fmla="*/ 16 h 174"/>
                <a:gd name="T2" fmla="*/ 1247 w 1998"/>
                <a:gd name="T3" fmla="*/ 166 h 174"/>
                <a:gd name="T4" fmla="*/ 1376 w 1998"/>
                <a:gd name="T5" fmla="*/ 167 h 174"/>
                <a:gd name="T6" fmla="*/ 1409 w 1998"/>
                <a:gd name="T7" fmla="*/ 17 h 174"/>
                <a:gd name="T8" fmla="*/ 1184 w 1998"/>
                <a:gd name="T9" fmla="*/ 166 h 174"/>
                <a:gd name="T10" fmla="*/ 1214 w 1998"/>
                <a:gd name="T11" fmla="*/ 13 h 174"/>
                <a:gd name="T12" fmla="*/ 1122 w 1998"/>
                <a:gd name="T13" fmla="*/ 41 h 174"/>
                <a:gd name="T14" fmla="*/ 1007 w 1998"/>
                <a:gd name="T15" fmla="*/ 17 h 174"/>
                <a:gd name="T16" fmla="*/ 1042 w 1998"/>
                <a:gd name="T17" fmla="*/ 122 h 174"/>
                <a:gd name="T18" fmla="*/ 1994 w 1998"/>
                <a:gd name="T19" fmla="*/ 13 h 174"/>
                <a:gd name="T20" fmla="*/ 1863 w 1998"/>
                <a:gd name="T21" fmla="*/ 13 h 174"/>
                <a:gd name="T22" fmla="*/ 1840 w 1998"/>
                <a:gd name="T23" fmla="*/ 170 h 174"/>
                <a:gd name="T24" fmla="*/ 1971 w 1998"/>
                <a:gd name="T25" fmla="*/ 170 h 174"/>
                <a:gd name="T26" fmla="*/ 1994 w 1998"/>
                <a:gd name="T27" fmla="*/ 13 h 174"/>
                <a:gd name="T28" fmla="*/ 1488 w 1998"/>
                <a:gd name="T29" fmla="*/ 172 h 174"/>
                <a:gd name="T30" fmla="*/ 1513 w 1998"/>
                <a:gd name="T31" fmla="*/ 104 h 174"/>
                <a:gd name="T32" fmla="*/ 1471 w 1998"/>
                <a:gd name="T33" fmla="*/ 142 h 174"/>
                <a:gd name="T34" fmla="*/ 1562 w 1998"/>
                <a:gd name="T35" fmla="*/ 44 h 174"/>
                <a:gd name="T36" fmla="*/ 1596 w 1998"/>
                <a:gd name="T37" fmla="*/ 58 h 174"/>
                <a:gd name="T38" fmla="*/ 767 w 1998"/>
                <a:gd name="T39" fmla="*/ 112 h 174"/>
                <a:gd name="T40" fmla="*/ 894 w 1998"/>
                <a:gd name="T41" fmla="*/ 65 h 174"/>
                <a:gd name="T42" fmla="*/ 832 w 1998"/>
                <a:gd name="T43" fmla="*/ 51 h 174"/>
                <a:gd name="T44" fmla="*/ 731 w 1998"/>
                <a:gd name="T45" fmla="*/ 48 h 174"/>
                <a:gd name="T46" fmla="*/ 692 w 1998"/>
                <a:gd name="T47" fmla="*/ 85 h 174"/>
                <a:gd name="T48" fmla="*/ 767 w 1998"/>
                <a:gd name="T49" fmla="*/ 138 h 174"/>
                <a:gd name="T50" fmla="*/ 700 w 1998"/>
                <a:gd name="T51" fmla="*/ 170 h 174"/>
                <a:gd name="T52" fmla="*/ 859 w 1998"/>
                <a:gd name="T53" fmla="*/ 170 h 174"/>
                <a:gd name="T54" fmla="*/ 859 w 1998"/>
                <a:gd name="T55" fmla="*/ 146 h 174"/>
                <a:gd name="T56" fmla="*/ 894 w 1998"/>
                <a:gd name="T57" fmla="*/ 89 h 174"/>
                <a:gd name="T58" fmla="*/ 1740 w 1998"/>
                <a:gd name="T59" fmla="*/ 13 h 174"/>
                <a:gd name="T60" fmla="*/ 1663 w 1998"/>
                <a:gd name="T61" fmla="*/ 170 h 174"/>
                <a:gd name="T62" fmla="*/ 1816 w 1998"/>
                <a:gd name="T63" fmla="*/ 170 h 174"/>
                <a:gd name="T64" fmla="*/ 597 w 1998"/>
                <a:gd name="T65" fmla="*/ 98 h 174"/>
                <a:gd name="T66" fmla="*/ 654 w 1998"/>
                <a:gd name="T67" fmla="*/ 46 h 174"/>
                <a:gd name="T68" fmla="*/ 416 w 1998"/>
                <a:gd name="T69" fmla="*/ 28 h 174"/>
                <a:gd name="T70" fmla="*/ 239 w 1998"/>
                <a:gd name="T71" fmla="*/ 148 h 174"/>
                <a:gd name="T72" fmla="*/ 423 w 1998"/>
                <a:gd name="T73" fmla="*/ 6 h 174"/>
                <a:gd name="T74" fmla="*/ 872 w 1998"/>
                <a:gd name="T75" fmla="*/ 34 h 174"/>
                <a:gd name="T76" fmla="*/ 897 w 1998"/>
                <a:gd name="T77" fmla="*/ 32 h 174"/>
                <a:gd name="T78" fmla="*/ 782 w 1998"/>
                <a:gd name="T79" fmla="*/ 0 h 174"/>
                <a:gd name="T80" fmla="*/ 693 w 1998"/>
                <a:gd name="T81" fmla="*/ 45 h 174"/>
                <a:gd name="T82" fmla="*/ 179 w 1998"/>
                <a:gd name="T83" fmla="*/ 49 h 174"/>
                <a:gd name="T84" fmla="*/ 88 w 1998"/>
                <a:gd name="T85" fmla="*/ 49 h 174"/>
                <a:gd name="T86" fmla="*/ 118 w 1998"/>
                <a:gd name="T87" fmla="*/ 1 h 174"/>
                <a:gd name="T88" fmla="*/ 0 w 1998"/>
                <a:gd name="T89" fmla="*/ 46 h 174"/>
                <a:gd name="T90" fmla="*/ 91 w 1998"/>
                <a:gd name="T91" fmla="*/ 174 h 174"/>
                <a:gd name="T92" fmla="*/ 210 w 1998"/>
                <a:gd name="T93" fmla="*/ 118 h 174"/>
                <a:gd name="T94" fmla="*/ 379 w 1998"/>
                <a:gd name="T95" fmla="*/ 112 h 174"/>
                <a:gd name="T96" fmla="*/ 357 w 1998"/>
                <a:gd name="T97" fmla="*/ 75 h 174"/>
                <a:gd name="T98" fmla="*/ 284 w 1998"/>
                <a:gd name="T99" fmla="*/ 61 h 174"/>
                <a:gd name="T100" fmla="*/ 328 w 1998"/>
                <a:gd name="T101" fmla="*/ 93 h 174"/>
                <a:gd name="T102" fmla="*/ 401 w 1998"/>
                <a:gd name="T103" fmla="*/ 104 h 174"/>
                <a:gd name="T104" fmla="*/ 512 w 1998"/>
                <a:gd name="T105" fmla="*/ 46 h 174"/>
                <a:gd name="T106" fmla="*/ 669 w 1998"/>
                <a:gd name="T107" fmla="*/ 115 h 174"/>
                <a:gd name="T108" fmla="*/ 666 w 1998"/>
                <a:gd name="T109" fmla="*/ 14 h 174"/>
                <a:gd name="T110" fmla="*/ 479 w 1998"/>
                <a:gd name="T111" fmla="*/ 33 h 174"/>
                <a:gd name="T112" fmla="*/ 469 w 1998"/>
                <a:gd name="T113" fmla="*/ 135 h 174"/>
                <a:gd name="T114" fmla="*/ 583 w 1998"/>
                <a:gd name="T115" fmla="*/ 174 h 174"/>
                <a:gd name="T116" fmla="*/ 673 w 1998"/>
                <a:gd name="T117" fmla="*/ 119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98" h="174">
                  <a:moveTo>
                    <a:pt x="1405" y="13"/>
                  </a:moveTo>
                  <a:cubicBezTo>
                    <a:pt x="1382" y="13"/>
                    <a:pt x="1382" y="13"/>
                    <a:pt x="1382" y="13"/>
                  </a:cubicBezTo>
                  <a:cubicBezTo>
                    <a:pt x="1379" y="13"/>
                    <a:pt x="1378" y="15"/>
                    <a:pt x="1378" y="17"/>
                  </a:cubicBezTo>
                  <a:cubicBezTo>
                    <a:pt x="1378" y="125"/>
                    <a:pt x="1378" y="125"/>
                    <a:pt x="1378" y="125"/>
                  </a:cubicBezTo>
                  <a:cubicBezTo>
                    <a:pt x="1365" y="111"/>
                    <a:pt x="1284" y="18"/>
                    <a:pt x="1282" y="16"/>
                  </a:cubicBezTo>
                  <a:cubicBezTo>
                    <a:pt x="1279" y="13"/>
                    <a:pt x="1276" y="13"/>
                    <a:pt x="1275" y="13"/>
                  </a:cubicBezTo>
                  <a:cubicBezTo>
                    <a:pt x="1275" y="13"/>
                    <a:pt x="1275" y="13"/>
                    <a:pt x="1275" y="13"/>
                  </a:cubicBezTo>
                  <a:cubicBezTo>
                    <a:pt x="1251" y="13"/>
                    <a:pt x="1251" y="13"/>
                    <a:pt x="1251" y="13"/>
                  </a:cubicBezTo>
                  <a:cubicBezTo>
                    <a:pt x="1249" y="13"/>
                    <a:pt x="1247" y="15"/>
                    <a:pt x="1247" y="17"/>
                  </a:cubicBezTo>
                  <a:cubicBezTo>
                    <a:pt x="1247" y="166"/>
                    <a:pt x="1247" y="166"/>
                    <a:pt x="1247" y="166"/>
                  </a:cubicBezTo>
                  <a:cubicBezTo>
                    <a:pt x="1247" y="168"/>
                    <a:pt x="1249" y="170"/>
                    <a:pt x="1251" y="170"/>
                  </a:cubicBezTo>
                  <a:cubicBezTo>
                    <a:pt x="1275" y="170"/>
                    <a:pt x="1275" y="170"/>
                    <a:pt x="1275" y="170"/>
                  </a:cubicBezTo>
                  <a:cubicBezTo>
                    <a:pt x="1277" y="170"/>
                    <a:pt x="1279" y="168"/>
                    <a:pt x="1279" y="166"/>
                  </a:cubicBezTo>
                  <a:cubicBezTo>
                    <a:pt x="1279" y="57"/>
                    <a:pt x="1279" y="57"/>
                    <a:pt x="1279" y="57"/>
                  </a:cubicBezTo>
                  <a:cubicBezTo>
                    <a:pt x="1287" y="67"/>
                    <a:pt x="1373" y="165"/>
                    <a:pt x="1376" y="167"/>
                  </a:cubicBezTo>
                  <a:cubicBezTo>
                    <a:pt x="1378" y="169"/>
                    <a:pt x="1381" y="170"/>
                    <a:pt x="1383" y="170"/>
                  </a:cubicBezTo>
                  <a:cubicBezTo>
                    <a:pt x="1383" y="170"/>
                    <a:pt x="1383" y="170"/>
                    <a:pt x="1383" y="170"/>
                  </a:cubicBezTo>
                  <a:cubicBezTo>
                    <a:pt x="1405" y="170"/>
                    <a:pt x="1405" y="170"/>
                    <a:pt x="1405" y="170"/>
                  </a:cubicBezTo>
                  <a:cubicBezTo>
                    <a:pt x="1407" y="170"/>
                    <a:pt x="1409" y="168"/>
                    <a:pt x="1409" y="166"/>
                  </a:cubicBezTo>
                  <a:cubicBezTo>
                    <a:pt x="1409" y="17"/>
                    <a:pt x="1409" y="17"/>
                    <a:pt x="1409" y="17"/>
                  </a:cubicBezTo>
                  <a:cubicBezTo>
                    <a:pt x="1409" y="15"/>
                    <a:pt x="1407" y="13"/>
                    <a:pt x="1405" y="13"/>
                  </a:cubicBezTo>
                  <a:moveTo>
                    <a:pt x="1214" y="13"/>
                  </a:moveTo>
                  <a:cubicBezTo>
                    <a:pt x="1188" y="13"/>
                    <a:pt x="1188" y="13"/>
                    <a:pt x="1188" y="13"/>
                  </a:cubicBezTo>
                  <a:cubicBezTo>
                    <a:pt x="1186" y="13"/>
                    <a:pt x="1184" y="15"/>
                    <a:pt x="1184" y="17"/>
                  </a:cubicBezTo>
                  <a:cubicBezTo>
                    <a:pt x="1184" y="166"/>
                    <a:pt x="1184" y="166"/>
                    <a:pt x="1184" y="166"/>
                  </a:cubicBezTo>
                  <a:cubicBezTo>
                    <a:pt x="1184" y="168"/>
                    <a:pt x="1186" y="170"/>
                    <a:pt x="1188" y="170"/>
                  </a:cubicBezTo>
                  <a:cubicBezTo>
                    <a:pt x="1214" y="170"/>
                    <a:pt x="1214" y="170"/>
                    <a:pt x="1214" y="170"/>
                  </a:cubicBezTo>
                  <a:cubicBezTo>
                    <a:pt x="1216" y="170"/>
                    <a:pt x="1218" y="168"/>
                    <a:pt x="1218" y="166"/>
                  </a:cubicBezTo>
                  <a:cubicBezTo>
                    <a:pt x="1218" y="17"/>
                    <a:pt x="1218" y="17"/>
                    <a:pt x="1218" y="17"/>
                  </a:cubicBezTo>
                  <a:cubicBezTo>
                    <a:pt x="1218" y="15"/>
                    <a:pt x="1216" y="13"/>
                    <a:pt x="1214" y="13"/>
                  </a:cubicBezTo>
                  <a:moveTo>
                    <a:pt x="1125" y="91"/>
                  </a:moveTo>
                  <a:cubicBezTo>
                    <a:pt x="1125" y="93"/>
                    <a:pt x="1124" y="94"/>
                    <a:pt x="1122" y="94"/>
                  </a:cubicBezTo>
                  <a:cubicBezTo>
                    <a:pt x="1042" y="94"/>
                    <a:pt x="1042" y="94"/>
                    <a:pt x="1042" y="94"/>
                  </a:cubicBezTo>
                  <a:cubicBezTo>
                    <a:pt x="1042" y="41"/>
                    <a:pt x="1042" y="41"/>
                    <a:pt x="1042" y="41"/>
                  </a:cubicBezTo>
                  <a:cubicBezTo>
                    <a:pt x="1122" y="41"/>
                    <a:pt x="1122" y="41"/>
                    <a:pt x="1122" y="41"/>
                  </a:cubicBezTo>
                  <a:cubicBezTo>
                    <a:pt x="1124" y="41"/>
                    <a:pt x="1125" y="42"/>
                    <a:pt x="1125" y="44"/>
                  </a:cubicBezTo>
                  <a:lnTo>
                    <a:pt x="1125" y="91"/>
                  </a:lnTo>
                  <a:close/>
                  <a:moveTo>
                    <a:pt x="1108" y="13"/>
                  </a:moveTo>
                  <a:cubicBezTo>
                    <a:pt x="1011" y="13"/>
                    <a:pt x="1011" y="13"/>
                    <a:pt x="1011" y="13"/>
                  </a:cubicBezTo>
                  <a:cubicBezTo>
                    <a:pt x="1009" y="13"/>
                    <a:pt x="1007" y="15"/>
                    <a:pt x="1007" y="17"/>
                  </a:cubicBezTo>
                  <a:cubicBezTo>
                    <a:pt x="1007" y="166"/>
                    <a:pt x="1007" y="166"/>
                    <a:pt x="1007" y="166"/>
                  </a:cubicBezTo>
                  <a:cubicBezTo>
                    <a:pt x="1007" y="168"/>
                    <a:pt x="1009" y="170"/>
                    <a:pt x="1011" y="170"/>
                  </a:cubicBezTo>
                  <a:cubicBezTo>
                    <a:pt x="1038" y="170"/>
                    <a:pt x="1038" y="170"/>
                    <a:pt x="1038" y="170"/>
                  </a:cubicBezTo>
                  <a:cubicBezTo>
                    <a:pt x="1040" y="170"/>
                    <a:pt x="1042" y="168"/>
                    <a:pt x="1042" y="166"/>
                  </a:cubicBezTo>
                  <a:cubicBezTo>
                    <a:pt x="1042" y="122"/>
                    <a:pt x="1042" y="122"/>
                    <a:pt x="1042" y="122"/>
                  </a:cubicBezTo>
                  <a:cubicBezTo>
                    <a:pt x="1108" y="122"/>
                    <a:pt x="1108" y="122"/>
                    <a:pt x="1108" y="122"/>
                  </a:cubicBezTo>
                  <a:cubicBezTo>
                    <a:pt x="1137" y="122"/>
                    <a:pt x="1161" y="104"/>
                    <a:pt x="1161" y="78"/>
                  </a:cubicBezTo>
                  <a:cubicBezTo>
                    <a:pt x="1161" y="61"/>
                    <a:pt x="1161" y="61"/>
                    <a:pt x="1161" y="61"/>
                  </a:cubicBezTo>
                  <a:cubicBezTo>
                    <a:pt x="1161" y="34"/>
                    <a:pt x="1137" y="13"/>
                    <a:pt x="1108" y="13"/>
                  </a:cubicBezTo>
                  <a:moveTo>
                    <a:pt x="1994" y="13"/>
                  </a:moveTo>
                  <a:cubicBezTo>
                    <a:pt x="1970" y="13"/>
                    <a:pt x="1970" y="13"/>
                    <a:pt x="1970" y="13"/>
                  </a:cubicBezTo>
                  <a:cubicBezTo>
                    <a:pt x="1968" y="13"/>
                    <a:pt x="1967" y="15"/>
                    <a:pt x="1967" y="17"/>
                  </a:cubicBezTo>
                  <a:cubicBezTo>
                    <a:pt x="1967" y="125"/>
                    <a:pt x="1967" y="125"/>
                    <a:pt x="1967" y="125"/>
                  </a:cubicBezTo>
                  <a:cubicBezTo>
                    <a:pt x="1954" y="111"/>
                    <a:pt x="1872" y="18"/>
                    <a:pt x="1870" y="16"/>
                  </a:cubicBezTo>
                  <a:cubicBezTo>
                    <a:pt x="1868" y="13"/>
                    <a:pt x="1865" y="13"/>
                    <a:pt x="1863" y="13"/>
                  </a:cubicBezTo>
                  <a:cubicBezTo>
                    <a:pt x="1863" y="13"/>
                    <a:pt x="1863" y="13"/>
                    <a:pt x="1863" y="13"/>
                  </a:cubicBezTo>
                  <a:cubicBezTo>
                    <a:pt x="1840" y="13"/>
                    <a:pt x="1840" y="13"/>
                    <a:pt x="1840" y="13"/>
                  </a:cubicBezTo>
                  <a:cubicBezTo>
                    <a:pt x="1838" y="13"/>
                    <a:pt x="1836" y="15"/>
                    <a:pt x="1836" y="17"/>
                  </a:cubicBezTo>
                  <a:cubicBezTo>
                    <a:pt x="1836" y="166"/>
                    <a:pt x="1836" y="166"/>
                    <a:pt x="1836" y="166"/>
                  </a:cubicBezTo>
                  <a:cubicBezTo>
                    <a:pt x="1836" y="168"/>
                    <a:pt x="1838" y="170"/>
                    <a:pt x="1840" y="170"/>
                  </a:cubicBezTo>
                  <a:cubicBezTo>
                    <a:pt x="1864" y="170"/>
                    <a:pt x="1864" y="170"/>
                    <a:pt x="1864" y="170"/>
                  </a:cubicBezTo>
                  <a:cubicBezTo>
                    <a:pt x="1866" y="170"/>
                    <a:pt x="1867" y="168"/>
                    <a:pt x="1867" y="166"/>
                  </a:cubicBezTo>
                  <a:cubicBezTo>
                    <a:pt x="1867" y="57"/>
                    <a:pt x="1867" y="57"/>
                    <a:pt x="1867" y="57"/>
                  </a:cubicBezTo>
                  <a:cubicBezTo>
                    <a:pt x="1876" y="67"/>
                    <a:pt x="1962" y="165"/>
                    <a:pt x="1964" y="167"/>
                  </a:cubicBezTo>
                  <a:cubicBezTo>
                    <a:pt x="1967" y="169"/>
                    <a:pt x="1969" y="170"/>
                    <a:pt x="1971" y="170"/>
                  </a:cubicBezTo>
                  <a:cubicBezTo>
                    <a:pt x="1971" y="170"/>
                    <a:pt x="1971" y="170"/>
                    <a:pt x="1971" y="170"/>
                  </a:cubicBezTo>
                  <a:cubicBezTo>
                    <a:pt x="1994" y="170"/>
                    <a:pt x="1994" y="170"/>
                    <a:pt x="1994" y="170"/>
                  </a:cubicBezTo>
                  <a:cubicBezTo>
                    <a:pt x="1996" y="170"/>
                    <a:pt x="1998" y="168"/>
                    <a:pt x="1998" y="166"/>
                  </a:cubicBezTo>
                  <a:cubicBezTo>
                    <a:pt x="1998" y="17"/>
                    <a:pt x="1998" y="17"/>
                    <a:pt x="1998" y="17"/>
                  </a:cubicBezTo>
                  <a:cubicBezTo>
                    <a:pt x="1998" y="15"/>
                    <a:pt x="1996" y="13"/>
                    <a:pt x="1994" y="13"/>
                  </a:cubicBezTo>
                  <a:moveTo>
                    <a:pt x="1542" y="11"/>
                  </a:moveTo>
                  <a:cubicBezTo>
                    <a:pt x="1488" y="11"/>
                    <a:pt x="1488" y="11"/>
                    <a:pt x="1488" y="11"/>
                  </a:cubicBezTo>
                  <a:cubicBezTo>
                    <a:pt x="1458" y="11"/>
                    <a:pt x="1434" y="32"/>
                    <a:pt x="1434" y="58"/>
                  </a:cubicBezTo>
                  <a:cubicBezTo>
                    <a:pt x="1434" y="124"/>
                    <a:pt x="1434" y="124"/>
                    <a:pt x="1434" y="124"/>
                  </a:cubicBezTo>
                  <a:cubicBezTo>
                    <a:pt x="1434" y="150"/>
                    <a:pt x="1458" y="172"/>
                    <a:pt x="1488" y="172"/>
                  </a:cubicBezTo>
                  <a:cubicBezTo>
                    <a:pt x="1542" y="172"/>
                    <a:pt x="1542" y="172"/>
                    <a:pt x="1542" y="172"/>
                  </a:cubicBezTo>
                  <a:cubicBezTo>
                    <a:pt x="1572" y="172"/>
                    <a:pt x="1596" y="150"/>
                    <a:pt x="1596" y="124"/>
                  </a:cubicBezTo>
                  <a:cubicBezTo>
                    <a:pt x="1596" y="82"/>
                    <a:pt x="1596" y="82"/>
                    <a:pt x="1596" y="82"/>
                  </a:cubicBezTo>
                  <a:cubicBezTo>
                    <a:pt x="1513" y="82"/>
                    <a:pt x="1513" y="82"/>
                    <a:pt x="1513" y="82"/>
                  </a:cubicBezTo>
                  <a:cubicBezTo>
                    <a:pt x="1513" y="104"/>
                    <a:pt x="1513" y="104"/>
                    <a:pt x="1513" y="104"/>
                  </a:cubicBezTo>
                  <a:cubicBezTo>
                    <a:pt x="1513" y="106"/>
                    <a:pt x="1515" y="108"/>
                    <a:pt x="1517" y="108"/>
                  </a:cubicBezTo>
                  <a:cubicBezTo>
                    <a:pt x="1562" y="108"/>
                    <a:pt x="1562" y="108"/>
                    <a:pt x="1562" y="108"/>
                  </a:cubicBezTo>
                  <a:cubicBezTo>
                    <a:pt x="1562" y="138"/>
                    <a:pt x="1562" y="138"/>
                    <a:pt x="1562" y="138"/>
                  </a:cubicBezTo>
                  <a:cubicBezTo>
                    <a:pt x="1562" y="140"/>
                    <a:pt x="1560" y="142"/>
                    <a:pt x="1558" y="142"/>
                  </a:cubicBezTo>
                  <a:cubicBezTo>
                    <a:pt x="1471" y="142"/>
                    <a:pt x="1471" y="142"/>
                    <a:pt x="1471" y="142"/>
                  </a:cubicBezTo>
                  <a:cubicBezTo>
                    <a:pt x="1469" y="142"/>
                    <a:pt x="1468" y="140"/>
                    <a:pt x="1468" y="138"/>
                  </a:cubicBezTo>
                  <a:cubicBezTo>
                    <a:pt x="1468" y="44"/>
                    <a:pt x="1468" y="44"/>
                    <a:pt x="1468" y="44"/>
                  </a:cubicBezTo>
                  <a:cubicBezTo>
                    <a:pt x="1468" y="42"/>
                    <a:pt x="1469" y="41"/>
                    <a:pt x="1471" y="41"/>
                  </a:cubicBezTo>
                  <a:cubicBezTo>
                    <a:pt x="1558" y="41"/>
                    <a:pt x="1558" y="41"/>
                    <a:pt x="1558" y="41"/>
                  </a:cubicBezTo>
                  <a:cubicBezTo>
                    <a:pt x="1560" y="41"/>
                    <a:pt x="1562" y="42"/>
                    <a:pt x="1562" y="44"/>
                  </a:cubicBezTo>
                  <a:cubicBezTo>
                    <a:pt x="1562" y="62"/>
                    <a:pt x="1562" y="62"/>
                    <a:pt x="1562" y="62"/>
                  </a:cubicBezTo>
                  <a:cubicBezTo>
                    <a:pt x="1562" y="64"/>
                    <a:pt x="1564" y="66"/>
                    <a:pt x="1566" y="66"/>
                  </a:cubicBezTo>
                  <a:cubicBezTo>
                    <a:pt x="1592" y="66"/>
                    <a:pt x="1592" y="66"/>
                    <a:pt x="1592" y="66"/>
                  </a:cubicBezTo>
                  <a:cubicBezTo>
                    <a:pt x="1594" y="66"/>
                    <a:pt x="1596" y="64"/>
                    <a:pt x="1596" y="62"/>
                  </a:cubicBezTo>
                  <a:cubicBezTo>
                    <a:pt x="1596" y="58"/>
                    <a:pt x="1596" y="58"/>
                    <a:pt x="1596" y="58"/>
                  </a:cubicBezTo>
                  <a:cubicBezTo>
                    <a:pt x="1596" y="32"/>
                    <a:pt x="1572" y="11"/>
                    <a:pt x="1542" y="11"/>
                  </a:cubicBezTo>
                  <a:moveTo>
                    <a:pt x="832" y="96"/>
                  </a:moveTo>
                  <a:cubicBezTo>
                    <a:pt x="832" y="103"/>
                    <a:pt x="831" y="108"/>
                    <a:pt x="823" y="112"/>
                  </a:cubicBezTo>
                  <a:cubicBezTo>
                    <a:pt x="816" y="115"/>
                    <a:pt x="805" y="121"/>
                    <a:pt x="795" y="125"/>
                  </a:cubicBezTo>
                  <a:cubicBezTo>
                    <a:pt x="785" y="121"/>
                    <a:pt x="774" y="115"/>
                    <a:pt x="767" y="112"/>
                  </a:cubicBezTo>
                  <a:cubicBezTo>
                    <a:pt x="758" y="108"/>
                    <a:pt x="757" y="103"/>
                    <a:pt x="757" y="96"/>
                  </a:cubicBezTo>
                  <a:cubicBezTo>
                    <a:pt x="757" y="89"/>
                    <a:pt x="757" y="89"/>
                    <a:pt x="757" y="89"/>
                  </a:cubicBezTo>
                  <a:cubicBezTo>
                    <a:pt x="832" y="89"/>
                    <a:pt x="832" y="89"/>
                    <a:pt x="832" y="89"/>
                  </a:cubicBezTo>
                  <a:lnTo>
                    <a:pt x="832" y="96"/>
                  </a:lnTo>
                  <a:close/>
                  <a:moveTo>
                    <a:pt x="894" y="65"/>
                  </a:moveTo>
                  <a:cubicBezTo>
                    <a:pt x="862" y="65"/>
                    <a:pt x="862" y="65"/>
                    <a:pt x="862" y="65"/>
                  </a:cubicBezTo>
                  <a:cubicBezTo>
                    <a:pt x="862" y="51"/>
                    <a:pt x="862" y="51"/>
                    <a:pt x="862" y="51"/>
                  </a:cubicBezTo>
                  <a:cubicBezTo>
                    <a:pt x="862" y="49"/>
                    <a:pt x="860" y="48"/>
                    <a:pt x="858" y="48"/>
                  </a:cubicBezTo>
                  <a:cubicBezTo>
                    <a:pt x="836" y="48"/>
                    <a:pt x="836" y="48"/>
                    <a:pt x="836" y="48"/>
                  </a:cubicBezTo>
                  <a:cubicBezTo>
                    <a:pt x="834" y="48"/>
                    <a:pt x="832" y="49"/>
                    <a:pt x="832" y="51"/>
                  </a:cubicBezTo>
                  <a:cubicBezTo>
                    <a:pt x="832" y="65"/>
                    <a:pt x="832" y="65"/>
                    <a:pt x="832" y="65"/>
                  </a:cubicBezTo>
                  <a:cubicBezTo>
                    <a:pt x="757" y="65"/>
                    <a:pt x="757" y="65"/>
                    <a:pt x="757" y="65"/>
                  </a:cubicBezTo>
                  <a:cubicBezTo>
                    <a:pt x="757" y="51"/>
                    <a:pt x="757" y="51"/>
                    <a:pt x="757" y="51"/>
                  </a:cubicBezTo>
                  <a:cubicBezTo>
                    <a:pt x="757" y="49"/>
                    <a:pt x="755" y="48"/>
                    <a:pt x="753" y="48"/>
                  </a:cubicBezTo>
                  <a:cubicBezTo>
                    <a:pt x="731" y="48"/>
                    <a:pt x="731" y="48"/>
                    <a:pt x="731" y="48"/>
                  </a:cubicBezTo>
                  <a:cubicBezTo>
                    <a:pt x="729" y="48"/>
                    <a:pt x="728" y="49"/>
                    <a:pt x="728" y="51"/>
                  </a:cubicBezTo>
                  <a:cubicBezTo>
                    <a:pt x="728" y="65"/>
                    <a:pt x="728" y="65"/>
                    <a:pt x="728" y="65"/>
                  </a:cubicBezTo>
                  <a:cubicBezTo>
                    <a:pt x="695" y="65"/>
                    <a:pt x="695" y="65"/>
                    <a:pt x="695" y="65"/>
                  </a:cubicBezTo>
                  <a:cubicBezTo>
                    <a:pt x="693" y="65"/>
                    <a:pt x="692" y="67"/>
                    <a:pt x="692" y="69"/>
                  </a:cubicBezTo>
                  <a:cubicBezTo>
                    <a:pt x="692" y="85"/>
                    <a:pt x="692" y="85"/>
                    <a:pt x="692" y="85"/>
                  </a:cubicBezTo>
                  <a:cubicBezTo>
                    <a:pt x="692" y="87"/>
                    <a:pt x="693" y="89"/>
                    <a:pt x="695" y="89"/>
                  </a:cubicBezTo>
                  <a:cubicBezTo>
                    <a:pt x="727" y="89"/>
                    <a:pt x="727" y="89"/>
                    <a:pt x="727" y="89"/>
                  </a:cubicBezTo>
                  <a:cubicBezTo>
                    <a:pt x="727" y="99"/>
                    <a:pt x="727" y="99"/>
                    <a:pt x="727" y="99"/>
                  </a:cubicBezTo>
                  <a:cubicBezTo>
                    <a:pt x="727" y="111"/>
                    <a:pt x="733" y="122"/>
                    <a:pt x="747" y="129"/>
                  </a:cubicBezTo>
                  <a:cubicBezTo>
                    <a:pt x="753" y="132"/>
                    <a:pt x="760" y="135"/>
                    <a:pt x="767" y="138"/>
                  </a:cubicBezTo>
                  <a:cubicBezTo>
                    <a:pt x="754" y="143"/>
                    <a:pt x="743" y="146"/>
                    <a:pt x="731" y="146"/>
                  </a:cubicBezTo>
                  <a:cubicBezTo>
                    <a:pt x="700" y="146"/>
                    <a:pt x="700" y="146"/>
                    <a:pt x="700" y="146"/>
                  </a:cubicBezTo>
                  <a:cubicBezTo>
                    <a:pt x="698" y="146"/>
                    <a:pt x="696" y="148"/>
                    <a:pt x="696" y="150"/>
                  </a:cubicBezTo>
                  <a:cubicBezTo>
                    <a:pt x="696" y="166"/>
                    <a:pt x="696" y="166"/>
                    <a:pt x="696" y="166"/>
                  </a:cubicBezTo>
                  <a:cubicBezTo>
                    <a:pt x="696" y="168"/>
                    <a:pt x="698" y="170"/>
                    <a:pt x="700" y="170"/>
                  </a:cubicBezTo>
                  <a:cubicBezTo>
                    <a:pt x="730" y="170"/>
                    <a:pt x="730" y="170"/>
                    <a:pt x="730" y="170"/>
                  </a:cubicBezTo>
                  <a:cubicBezTo>
                    <a:pt x="742" y="170"/>
                    <a:pt x="757" y="167"/>
                    <a:pt x="769" y="162"/>
                  </a:cubicBezTo>
                  <a:cubicBezTo>
                    <a:pt x="774" y="161"/>
                    <a:pt x="784" y="156"/>
                    <a:pt x="795" y="151"/>
                  </a:cubicBezTo>
                  <a:cubicBezTo>
                    <a:pt x="806" y="156"/>
                    <a:pt x="815" y="161"/>
                    <a:pt x="820" y="162"/>
                  </a:cubicBezTo>
                  <a:cubicBezTo>
                    <a:pt x="833" y="167"/>
                    <a:pt x="847" y="170"/>
                    <a:pt x="859" y="170"/>
                  </a:cubicBezTo>
                  <a:cubicBezTo>
                    <a:pt x="889" y="170"/>
                    <a:pt x="889" y="170"/>
                    <a:pt x="889" y="170"/>
                  </a:cubicBezTo>
                  <a:cubicBezTo>
                    <a:pt x="891" y="170"/>
                    <a:pt x="893" y="168"/>
                    <a:pt x="893" y="166"/>
                  </a:cubicBezTo>
                  <a:cubicBezTo>
                    <a:pt x="893" y="150"/>
                    <a:pt x="893" y="150"/>
                    <a:pt x="893" y="150"/>
                  </a:cubicBezTo>
                  <a:cubicBezTo>
                    <a:pt x="893" y="148"/>
                    <a:pt x="891" y="146"/>
                    <a:pt x="889" y="146"/>
                  </a:cubicBezTo>
                  <a:cubicBezTo>
                    <a:pt x="859" y="146"/>
                    <a:pt x="859" y="146"/>
                    <a:pt x="859" y="146"/>
                  </a:cubicBezTo>
                  <a:cubicBezTo>
                    <a:pt x="847" y="146"/>
                    <a:pt x="835" y="143"/>
                    <a:pt x="823" y="138"/>
                  </a:cubicBezTo>
                  <a:cubicBezTo>
                    <a:pt x="830" y="135"/>
                    <a:pt x="837" y="132"/>
                    <a:pt x="842" y="129"/>
                  </a:cubicBezTo>
                  <a:cubicBezTo>
                    <a:pt x="857" y="122"/>
                    <a:pt x="862" y="111"/>
                    <a:pt x="862" y="99"/>
                  </a:cubicBezTo>
                  <a:cubicBezTo>
                    <a:pt x="862" y="89"/>
                    <a:pt x="862" y="89"/>
                    <a:pt x="862" y="89"/>
                  </a:cubicBezTo>
                  <a:cubicBezTo>
                    <a:pt x="894" y="89"/>
                    <a:pt x="894" y="89"/>
                    <a:pt x="894" y="89"/>
                  </a:cubicBezTo>
                  <a:cubicBezTo>
                    <a:pt x="896" y="89"/>
                    <a:pt x="898" y="87"/>
                    <a:pt x="898" y="85"/>
                  </a:cubicBezTo>
                  <a:cubicBezTo>
                    <a:pt x="898" y="69"/>
                    <a:pt x="898" y="69"/>
                    <a:pt x="898" y="69"/>
                  </a:cubicBezTo>
                  <a:cubicBezTo>
                    <a:pt x="898" y="67"/>
                    <a:pt x="896" y="65"/>
                    <a:pt x="894" y="65"/>
                  </a:cubicBezTo>
                  <a:moveTo>
                    <a:pt x="1747" y="17"/>
                  </a:moveTo>
                  <a:cubicBezTo>
                    <a:pt x="1745" y="14"/>
                    <a:pt x="1743" y="13"/>
                    <a:pt x="1740" y="13"/>
                  </a:cubicBezTo>
                  <a:cubicBezTo>
                    <a:pt x="1716" y="13"/>
                    <a:pt x="1716" y="13"/>
                    <a:pt x="1716" y="13"/>
                  </a:cubicBezTo>
                  <a:cubicBezTo>
                    <a:pt x="1713" y="13"/>
                    <a:pt x="1711" y="14"/>
                    <a:pt x="1710" y="17"/>
                  </a:cubicBezTo>
                  <a:cubicBezTo>
                    <a:pt x="1636" y="162"/>
                    <a:pt x="1636" y="162"/>
                    <a:pt x="1636" y="162"/>
                  </a:cubicBezTo>
                  <a:cubicBezTo>
                    <a:pt x="1634" y="167"/>
                    <a:pt x="1636" y="170"/>
                    <a:pt x="1640" y="170"/>
                  </a:cubicBezTo>
                  <a:cubicBezTo>
                    <a:pt x="1663" y="170"/>
                    <a:pt x="1663" y="170"/>
                    <a:pt x="1663" y="170"/>
                  </a:cubicBezTo>
                  <a:cubicBezTo>
                    <a:pt x="1667" y="170"/>
                    <a:pt x="1668" y="169"/>
                    <a:pt x="1670" y="165"/>
                  </a:cubicBezTo>
                  <a:cubicBezTo>
                    <a:pt x="1728" y="49"/>
                    <a:pt x="1728" y="49"/>
                    <a:pt x="1728" y="49"/>
                  </a:cubicBezTo>
                  <a:cubicBezTo>
                    <a:pt x="1786" y="165"/>
                    <a:pt x="1786" y="165"/>
                    <a:pt x="1786" y="165"/>
                  </a:cubicBezTo>
                  <a:cubicBezTo>
                    <a:pt x="1788" y="169"/>
                    <a:pt x="1789" y="170"/>
                    <a:pt x="1793" y="170"/>
                  </a:cubicBezTo>
                  <a:cubicBezTo>
                    <a:pt x="1816" y="170"/>
                    <a:pt x="1816" y="170"/>
                    <a:pt x="1816" y="170"/>
                  </a:cubicBezTo>
                  <a:cubicBezTo>
                    <a:pt x="1820" y="170"/>
                    <a:pt x="1823" y="167"/>
                    <a:pt x="1820" y="162"/>
                  </a:cubicBezTo>
                  <a:lnTo>
                    <a:pt x="1747" y="17"/>
                  </a:lnTo>
                  <a:close/>
                  <a:moveTo>
                    <a:pt x="629" y="46"/>
                  </a:moveTo>
                  <a:cubicBezTo>
                    <a:pt x="626" y="46"/>
                    <a:pt x="623" y="48"/>
                    <a:pt x="622" y="49"/>
                  </a:cubicBezTo>
                  <a:cubicBezTo>
                    <a:pt x="597" y="98"/>
                    <a:pt x="597" y="98"/>
                    <a:pt x="597" y="98"/>
                  </a:cubicBezTo>
                  <a:cubicBezTo>
                    <a:pt x="596" y="100"/>
                    <a:pt x="597" y="102"/>
                    <a:pt x="599" y="102"/>
                  </a:cubicBezTo>
                  <a:cubicBezTo>
                    <a:pt x="625" y="102"/>
                    <a:pt x="625" y="102"/>
                    <a:pt x="625" y="102"/>
                  </a:cubicBezTo>
                  <a:cubicBezTo>
                    <a:pt x="628" y="102"/>
                    <a:pt x="630" y="100"/>
                    <a:pt x="631" y="98"/>
                  </a:cubicBezTo>
                  <a:cubicBezTo>
                    <a:pt x="656" y="49"/>
                    <a:pt x="656" y="49"/>
                    <a:pt x="656" y="49"/>
                  </a:cubicBezTo>
                  <a:cubicBezTo>
                    <a:pt x="657" y="48"/>
                    <a:pt x="656" y="46"/>
                    <a:pt x="654" y="46"/>
                  </a:cubicBezTo>
                  <a:lnTo>
                    <a:pt x="629" y="46"/>
                  </a:lnTo>
                  <a:close/>
                  <a:moveTo>
                    <a:pt x="416" y="146"/>
                  </a:moveTo>
                  <a:cubicBezTo>
                    <a:pt x="269" y="146"/>
                    <a:pt x="269" y="146"/>
                    <a:pt x="269" y="146"/>
                  </a:cubicBezTo>
                  <a:cubicBezTo>
                    <a:pt x="269" y="28"/>
                    <a:pt x="269" y="28"/>
                    <a:pt x="269" y="28"/>
                  </a:cubicBezTo>
                  <a:cubicBezTo>
                    <a:pt x="416" y="28"/>
                    <a:pt x="416" y="28"/>
                    <a:pt x="416" y="28"/>
                  </a:cubicBezTo>
                  <a:lnTo>
                    <a:pt x="416" y="146"/>
                  </a:lnTo>
                  <a:close/>
                  <a:moveTo>
                    <a:pt x="423" y="6"/>
                  </a:moveTo>
                  <a:cubicBezTo>
                    <a:pt x="261" y="6"/>
                    <a:pt x="261" y="6"/>
                    <a:pt x="261" y="6"/>
                  </a:cubicBezTo>
                  <a:cubicBezTo>
                    <a:pt x="249" y="6"/>
                    <a:pt x="239" y="16"/>
                    <a:pt x="239" y="28"/>
                  </a:cubicBezTo>
                  <a:cubicBezTo>
                    <a:pt x="239" y="148"/>
                    <a:pt x="239" y="148"/>
                    <a:pt x="239" y="148"/>
                  </a:cubicBezTo>
                  <a:cubicBezTo>
                    <a:pt x="239" y="160"/>
                    <a:pt x="249" y="169"/>
                    <a:pt x="261" y="169"/>
                  </a:cubicBezTo>
                  <a:cubicBezTo>
                    <a:pt x="423" y="169"/>
                    <a:pt x="423" y="169"/>
                    <a:pt x="423" y="169"/>
                  </a:cubicBezTo>
                  <a:cubicBezTo>
                    <a:pt x="435" y="169"/>
                    <a:pt x="445" y="160"/>
                    <a:pt x="445" y="148"/>
                  </a:cubicBezTo>
                  <a:cubicBezTo>
                    <a:pt x="445" y="28"/>
                    <a:pt x="445" y="28"/>
                    <a:pt x="445" y="28"/>
                  </a:cubicBezTo>
                  <a:cubicBezTo>
                    <a:pt x="445" y="16"/>
                    <a:pt x="435" y="6"/>
                    <a:pt x="423" y="6"/>
                  </a:cubicBezTo>
                  <a:moveTo>
                    <a:pt x="697" y="49"/>
                  </a:moveTo>
                  <a:cubicBezTo>
                    <a:pt x="714" y="49"/>
                    <a:pt x="714" y="49"/>
                    <a:pt x="714" y="49"/>
                  </a:cubicBezTo>
                  <a:cubicBezTo>
                    <a:pt x="716" y="49"/>
                    <a:pt x="718" y="47"/>
                    <a:pt x="718" y="45"/>
                  </a:cubicBezTo>
                  <a:cubicBezTo>
                    <a:pt x="718" y="34"/>
                    <a:pt x="718" y="34"/>
                    <a:pt x="718" y="34"/>
                  </a:cubicBezTo>
                  <a:cubicBezTo>
                    <a:pt x="872" y="34"/>
                    <a:pt x="872" y="34"/>
                    <a:pt x="872" y="34"/>
                  </a:cubicBezTo>
                  <a:cubicBezTo>
                    <a:pt x="872" y="45"/>
                    <a:pt x="872" y="45"/>
                    <a:pt x="872" y="45"/>
                  </a:cubicBezTo>
                  <a:cubicBezTo>
                    <a:pt x="872" y="47"/>
                    <a:pt x="873" y="49"/>
                    <a:pt x="875" y="49"/>
                  </a:cubicBezTo>
                  <a:cubicBezTo>
                    <a:pt x="893" y="49"/>
                    <a:pt x="893" y="49"/>
                    <a:pt x="893" y="49"/>
                  </a:cubicBezTo>
                  <a:cubicBezTo>
                    <a:pt x="895" y="49"/>
                    <a:pt x="897" y="47"/>
                    <a:pt x="897" y="45"/>
                  </a:cubicBezTo>
                  <a:cubicBezTo>
                    <a:pt x="897" y="32"/>
                    <a:pt x="897" y="32"/>
                    <a:pt x="897" y="32"/>
                  </a:cubicBezTo>
                  <a:cubicBezTo>
                    <a:pt x="897" y="22"/>
                    <a:pt x="888" y="13"/>
                    <a:pt x="877" y="13"/>
                  </a:cubicBezTo>
                  <a:cubicBezTo>
                    <a:pt x="811" y="13"/>
                    <a:pt x="811" y="13"/>
                    <a:pt x="811" y="13"/>
                  </a:cubicBezTo>
                  <a:cubicBezTo>
                    <a:pt x="811" y="4"/>
                    <a:pt x="811" y="4"/>
                    <a:pt x="811" y="4"/>
                  </a:cubicBezTo>
                  <a:cubicBezTo>
                    <a:pt x="811" y="2"/>
                    <a:pt x="809" y="0"/>
                    <a:pt x="807" y="0"/>
                  </a:cubicBezTo>
                  <a:cubicBezTo>
                    <a:pt x="782" y="0"/>
                    <a:pt x="782" y="0"/>
                    <a:pt x="782" y="0"/>
                  </a:cubicBezTo>
                  <a:cubicBezTo>
                    <a:pt x="780" y="0"/>
                    <a:pt x="778" y="2"/>
                    <a:pt x="778" y="4"/>
                  </a:cubicBezTo>
                  <a:cubicBezTo>
                    <a:pt x="778" y="13"/>
                    <a:pt x="778" y="13"/>
                    <a:pt x="778" y="13"/>
                  </a:cubicBezTo>
                  <a:cubicBezTo>
                    <a:pt x="712" y="13"/>
                    <a:pt x="712" y="13"/>
                    <a:pt x="712" y="13"/>
                  </a:cubicBezTo>
                  <a:cubicBezTo>
                    <a:pt x="702" y="13"/>
                    <a:pt x="693" y="22"/>
                    <a:pt x="693" y="32"/>
                  </a:cubicBezTo>
                  <a:cubicBezTo>
                    <a:pt x="693" y="45"/>
                    <a:pt x="693" y="45"/>
                    <a:pt x="693" y="45"/>
                  </a:cubicBezTo>
                  <a:cubicBezTo>
                    <a:pt x="693" y="47"/>
                    <a:pt x="695" y="49"/>
                    <a:pt x="697" y="49"/>
                  </a:cubicBezTo>
                  <a:moveTo>
                    <a:pt x="179" y="115"/>
                  </a:moveTo>
                  <a:cubicBezTo>
                    <a:pt x="122" y="115"/>
                    <a:pt x="122" y="115"/>
                    <a:pt x="122" y="115"/>
                  </a:cubicBezTo>
                  <a:cubicBezTo>
                    <a:pt x="122" y="49"/>
                    <a:pt x="122" y="49"/>
                    <a:pt x="122" y="49"/>
                  </a:cubicBezTo>
                  <a:cubicBezTo>
                    <a:pt x="179" y="49"/>
                    <a:pt x="179" y="49"/>
                    <a:pt x="179" y="49"/>
                  </a:cubicBezTo>
                  <a:lnTo>
                    <a:pt x="179" y="115"/>
                  </a:lnTo>
                  <a:close/>
                  <a:moveTo>
                    <a:pt x="88" y="115"/>
                  </a:moveTo>
                  <a:cubicBezTo>
                    <a:pt x="31" y="115"/>
                    <a:pt x="31" y="115"/>
                    <a:pt x="31" y="115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88" y="49"/>
                    <a:pt x="88" y="49"/>
                    <a:pt x="88" y="49"/>
                  </a:cubicBezTo>
                  <a:lnTo>
                    <a:pt x="88" y="115"/>
                  </a:lnTo>
                  <a:close/>
                  <a:moveTo>
                    <a:pt x="188" y="2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22" y="5"/>
                    <a:pt x="122" y="5"/>
                    <a:pt x="122" y="5"/>
                  </a:cubicBezTo>
                  <a:cubicBezTo>
                    <a:pt x="122" y="3"/>
                    <a:pt x="120" y="1"/>
                    <a:pt x="118" y="1"/>
                  </a:cubicBezTo>
                  <a:cubicBezTo>
                    <a:pt x="91" y="1"/>
                    <a:pt x="91" y="1"/>
                    <a:pt x="91" y="1"/>
                  </a:cubicBezTo>
                  <a:cubicBezTo>
                    <a:pt x="89" y="1"/>
                    <a:pt x="88" y="3"/>
                    <a:pt x="88" y="5"/>
                  </a:cubicBezTo>
                  <a:cubicBezTo>
                    <a:pt x="88" y="24"/>
                    <a:pt x="88" y="24"/>
                    <a:pt x="88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10" y="24"/>
                    <a:pt x="0" y="34"/>
                    <a:pt x="0" y="46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130"/>
                    <a:pt x="10" y="140"/>
                    <a:pt x="22" y="140"/>
                  </a:cubicBezTo>
                  <a:cubicBezTo>
                    <a:pt x="88" y="140"/>
                    <a:pt x="88" y="140"/>
                    <a:pt x="88" y="140"/>
                  </a:cubicBezTo>
                  <a:cubicBezTo>
                    <a:pt x="88" y="171"/>
                    <a:pt x="88" y="171"/>
                    <a:pt x="88" y="171"/>
                  </a:cubicBezTo>
                  <a:cubicBezTo>
                    <a:pt x="88" y="173"/>
                    <a:pt x="89" y="174"/>
                    <a:pt x="91" y="174"/>
                  </a:cubicBezTo>
                  <a:cubicBezTo>
                    <a:pt x="118" y="174"/>
                    <a:pt x="118" y="174"/>
                    <a:pt x="118" y="174"/>
                  </a:cubicBezTo>
                  <a:cubicBezTo>
                    <a:pt x="120" y="174"/>
                    <a:pt x="122" y="173"/>
                    <a:pt x="122" y="171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88" y="140"/>
                    <a:pt x="188" y="140"/>
                    <a:pt x="188" y="140"/>
                  </a:cubicBezTo>
                  <a:cubicBezTo>
                    <a:pt x="200" y="140"/>
                    <a:pt x="210" y="130"/>
                    <a:pt x="210" y="118"/>
                  </a:cubicBezTo>
                  <a:cubicBezTo>
                    <a:pt x="210" y="46"/>
                    <a:pt x="210" y="46"/>
                    <a:pt x="210" y="46"/>
                  </a:cubicBezTo>
                  <a:cubicBezTo>
                    <a:pt x="210" y="34"/>
                    <a:pt x="200" y="24"/>
                    <a:pt x="188" y="24"/>
                  </a:cubicBezTo>
                  <a:moveTo>
                    <a:pt x="401" y="104"/>
                  </a:moveTo>
                  <a:cubicBezTo>
                    <a:pt x="379" y="104"/>
                    <a:pt x="379" y="104"/>
                    <a:pt x="379" y="104"/>
                  </a:cubicBezTo>
                  <a:cubicBezTo>
                    <a:pt x="379" y="112"/>
                    <a:pt x="379" y="112"/>
                    <a:pt x="379" y="112"/>
                  </a:cubicBezTo>
                  <a:cubicBezTo>
                    <a:pt x="357" y="112"/>
                    <a:pt x="357" y="112"/>
                    <a:pt x="357" y="112"/>
                  </a:cubicBezTo>
                  <a:cubicBezTo>
                    <a:pt x="357" y="93"/>
                    <a:pt x="357" y="93"/>
                    <a:pt x="357" y="93"/>
                  </a:cubicBezTo>
                  <a:cubicBezTo>
                    <a:pt x="395" y="93"/>
                    <a:pt x="395" y="93"/>
                    <a:pt x="395" y="93"/>
                  </a:cubicBezTo>
                  <a:cubicBezTo>
                    <a:pt x="395" y="75"/>
                    <a:pt x="395" y="75"/>
                    <a:pt x="395" y="75"/>
                  </a:cubicBezTo>
                  <a:cubicBezTo>
                    <a:pt x="357" y="75"/>
                    <a:pt x="357" y="75"/>
                    <a:pt x="357" y="75"/>
                  </a:cubicBezTo>
                  <a:cubicBezTo>
                    <a:pt x="357" y="61"/>
                    <a:pt x="357" y="61"/>
                    <a:pt x="357" y="61"/>
                  </a:cubicBezTo>
                  <a:cubicBezTo>
                    <a:pt x="401" y="61"/>
                    <a:pt x="401" y="61"/>
                    <a:pt x="401" y="61"/>
                  </a:cubicBezTo>
                  <a:cubicBezTo>
                    <a:pt x="401" y="41"/>
                    <a:pt x="401" y="41"/>
                    <a:pt x="401" y="41"/>
                  </a:cubicBezTo>
                  <a:cubicBezTo>
                    <a:pt x="284" y="41"/>
                    <a:pt x="284" y="41"/>
                    <a:pt x="284" y="41"/>
                  </a:cubicBezTo>
                  <a:cubicBezTo>
                    <a:pt x="284" y="61"/>
                    <a:pt x="284" y="61"/>
                    <a:pt x="284" y="61"/>
                  </a:cubicBezTo>
                  <a:cubicBezTo>
                    <a:pt x="328" y="61"/>
                    <a:pt x="328" y="61"/>
                    <a:pt x="328" y="61"/>
                  </a:cubicBezTo>
                  <a:cubicBezTo>
                    <a:pt x="328" y="75"/>
                    <a:pt x="328" y="75"/>
                    <a:pt x="328" y="75"/>
                  </a:cubicBezTo>
                  <a:cubicBezTo>
                    <a:pt x="290" y="75"/>
                    <a:pt x="290" y="75"/>
                    <a:pt x="290" y="75"/>
                  </a:cubicBezTo>
                  <a:cubicBezTo>
                    <a:pt x="290" y="93"/>
                    <a:pt x="290" y="93"/>
                    <a:pt x="290" y="93"/>
                  </a:cubicBezTo>
                  <a:cubicBezTo>
                    <a:pt x="328" y="93"/>
                    <a:pt x="328" y="93"/>
                    <a:pt x="328" y="93"/>
                  </a:cubicBezTo>
                  <a:cubicBezTo>
                    <a:pt x="328" y="112"/>
                    <a:pt x="328" y="112"/>
                    <a:pt x="328" y="112"/>
                  </a:cubicBezTo>
                  <a:cubicBezTo>
                    <a:pt x="284" y="112"/>
                    <a:pt x="284" y="112"/>
                    <a:pt x="284" y="112"/>
                  </a:cubicBezTo>
                  <a:cubicBezTo>
                    <a:pt x="284" y="132"/>
                    <a:pt x="284" y="132"/>
                    <a:pt x="284" y="132"/>
                  </a:cubicBezTo>
                  <a:cubicBezTo>
                    <a:pt x="401" y="132"/>
                    <a:pt x="401" y="132"/>
                    <a:pt x="401" y="132"/>
                  </a:cubicBezTo>
                  <a:lnTo>
                    <a:pt x="401" y="104"/>
                  </a:lnTo>
                  <a:close/>
                  <a:moveTo>
                    <a:pt x="516" y="102"/>
                  </a:moveTo>
                  <a:cubicBezTo>
                    <a:pt x="542" y="102"/>
                    <a:pt x="542" y="102"/>
                    <a:pt x="542" y="102"/>
                  </a:cubicBezTo>
                  <a:cubicBezTo>
                    <a:pt x="544" y="102"/>
                    <a:pt x="545" y="100"/>
                    <a:pt x="544" y="98"/>
                  </a:cubicBezTo>
                  <a:cubicBezTo>
                    <a:pt x="519" y="49"/>
                    <a:pt x="519" y="49"/>
                    <a:pt x="519" y="49"/>
                  </a:cubicBezTo>
                  <a:cubicBezTo>
                    <a:pt x="518" y="48"/>
                    <a:pt x="515" y="46"/>
                    <a:pt x="512" y="46"/>
                  </a:cubicBezTo>
                  <a:cubicBezTo>
                    <a:pt x="487" y="46"/>
                    <a:pt x="487" y="46"/>
                    <a:pt x="487" y="46"/>
                  </a:cubicBezTo>
                  <a:cubicBezTo>
                    <a:pt x="485" y="46"/>
                    <a:pt x="484" y="48"/>
                    <a:pt x="485" y="49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511" y="100"/>
                    <a:pt x="513" y="102"/>
                    <a:pt x="516" y="102"/>
                  </a:cubicBezTo>
                  <a:moveTo>
                    <a:pt x="669" y="115"/>
                  </a:moveTo>
                  <a:cubicBezTo>
                    <a:pt x="587" y="115"/>
                    <a:pt x="587" y="115"/>
                    <a:pt x="587" y="115"/>
                  </a:cubicBezTo>
                  <a:cubicBezTo>
                    <a:pt x="587" y="33"/>
                    <a:pt x="587" y="33"/>
                    <a:pt x="587" y="33"/>
                  </a:cubicBezTo>
                  <a:cubicBezTo>
                    <a:pt x="662" y="33"/>
                    <a:pt x="662" y="33"/>
                    <a:pt x="662" y="33"/>
                  </a:cubicBezTo>
                  <a:cubicBezTo>
                    <a:pt x="664" y="33"/>
                    <a:pt x="666" y="31"/>
                    <a:pt x="666" y="29"/>
                  </a:cubicBezTo>
                  <a:cubicBezTo>
                    <a:pt x="666" y="14"/>
                    <a:pt x="666" y="14"/>
                    <a:pt x="666" y="14"/>
                  </a:cubicBezTo>
                  <a:cubicBezTo>
                    <a:pt x="666" y="11"/>
                    <a:pt x="664" y="10"/>
                    <a:pt x="662" y="10"/>
                  </a:cubicBezTo>
                  <a:cubicBezTo>
                    <a:pt x="479" y="10"/>
                    <a:pt x="479" y="10"/>
                    <a:pt x="479" y="10"/>
                  </a:cubicBezTo>
                  <a:cubicBezTo>
                    <a:pt x="477" y="10"/>
                    <a:pt x="475" y="11"/>
                    <a:pt x="475" y="14"/>
                  </a:cubicBezTo>
                  <a:cubicBezTo>
                    <a:pt x="475" y="29"/>
                    <a:pt x="475" y="29"/>
                    <a:pt x="475" y="29"/>
                  </a:cubicBezTo>
                  <a:cubicBezTo>
                    <a:pt x="475" y="31"/>
                    <a:pt x="477" y="33"/>
                    <a:pt x="479" y="33"/>
                  </a:cubicBezTo>
                  <a:cubicBezTo>
                    <a:pt x="554" y="33"/>
                    <a:pt x="554" y="33"/>
                    <a:pt x="554" y="33"/>
                  </a:cubicBezTo>
                  <a:cubicBezTo>
                    <a:pt x="554" y="115"/>
                    <a:pt x="554" y="115"/>
                    <a:pt x="554" y="115"/>
                  </a:cubicBezTo>
                  <a:cubicBezTo>
                    <a:pt x="472" y="115"/>
                    <a:pt x="472" y="115"/>
                    <a:pt x="472" y="115"/>
                  </a:cubicBezTo>
                  <a:cubicBezTo>
                    <a:pt x="470" y="115"/>
                    <a:pt x="469" y="117"/>
                    <a:pt x="469" y="119"/>
                  </a:cubicBezTo>
                  <a:cubicBezTo>
                    <a:pt x="469" y="135"/>
                    <a:pt x="469" y="135"/>
                    <a:pt x="469" y="135"/>
                  </a:cubicBezTo>
                  <a:cubicBezTo>
                    <a:pt x="469" y="137"/>
                    <a:pt x="470" y="139"/>
                    <a:pt x="472" y="139"/>
                  </a:cubicBezTo>
                  <a:cubicBezTo>
                    <a:pt x="554" y="139"/>
                    <a:pt x="554" y="139"/>
                    <a:pt x="554" y="139"/>
                  </a:cubicBezTo>
                  <a:cubicBezTo>
                    <a:pt x="554" y="171"/>
                    <a:pt x="554" y="171"/>
                    <a:pt x="554" y="171"/>
                  </a:cubicBezTo>
                  <a:cubicBezTo>
                    <a:pt x="554" y="173"/>
                    <a:pt x="556" y="174"/>
                    <a:pt x="558" y="174"/>
                  </a:cubicBezTo>
                  <a:cubicBezTo>
                    <a:pt x="583" y="174"/>
                    <a:pt x="583" y="174"/>
                    <a:pt x="583" y="174"/>
                  </a:cubicBezTo>
                  <a:cubicBezTo>
                    <a:pt x="585" y="174"/>
                    <a:pt x="587" y="173"/>
                    <a:pt x="587" y="171"/>
                  </a:cubicBezTo>
                  <a:cubicBezTo>
                    <a:pt x="587" y="139"/>
                    <a:pt x="587" y="139"/>
                    <a:pt x="587" y="139"/>
                  </a:cubicBezTo>
                  <a:cubicBezTo>
                    <a:pt x="669" y="139"/>
                    <a:pt x="669" y="139"/>
                    <a:pt x="669" y="139"/>
                  </a:cubicBezTo>
                  <a:cubicBezTo>
                    <a:pt x="671" y="139"/>
                    <a:pt x="673" y="137"/>
                    <a:pt x="673" y="135"/>
                  </a:cubicBezTo>
                  <a:cubicBezTo>
                    <a:pt x="673" y="119"/>
                    <a:pt x="673" y="119"/>
                    <a:pt x="673" y="119"/>
                  </a:cubicBezTo>
                  <a:cubicBezTo>
                    <a:pt x="673" y="117"/>
                    <a:pt x="671" y="115"/>
                    <a:pt x="669" y="115"/>
                  </a:cubicBezTo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16" name="Freeform 6"/>
            <p:cNvSpPr/>
            <p:nvPr/>
          </p:nvSpPr>
          <p:spPr bwMode="auto">
            <a:xfrm>
              <a:off x="3438525" y="693738"/>
              <a:ext cx="77788" cy="76200"/>
            </a:xfrm>
            <a:custGeom>
              <a:avLst/>
              <a:gdLst>
                <a:gd name="T0" fmla="*/ 44 w 48"/>
                <a:gd name="T1" fmla="*/ 0 h 46"/>
                <a:gd name="T2" fmla="*/ 4 w 48"/>
                <a:gd name="T3" fmla="*/ 0 h 46"/>
                <a:gd name="T4" fmla="*/ 0 w 48"/>
                <a:gd name="T5" fmla="*/ 3 h 46"/>
                <a:gd name="T6" fmla="*/ 0 w 48"/>
                <a:gd name="T7" fmla="*/ 43 h 46"/>
                <a:gd name="T8" fmla="*/ 4 w 48"/>
                <a:gd name="T9" fmla="*/ 46 h 46"/>
                <a:gd name="T10" fmla="*/ 44 w 48"/>
                <a:gd name="T11" fmla="*/ 46 h 46"/>
                <a:gd name="T12" fmla="*/ 48 w 48"/>
                <a:gd name="T13" fmla="*/ 43 h 46"/>
                <a:gd name="T14" fmla="*/ 48 w 48"/>
                <a:gd name="T15" fmla="*/ 3 h 46"/>
                <a:gd name="T16" fmla="*/ 44 w 48"/>
                <a:gd name="T17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46">
                  <a:moveTo>
                    <a:pt x="4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5"/>
                    <a:pt x="2" y="46"/>
                    <a:pt x="4" y="46"/>
                  </a:cubicBezTo>
                  <a:cubicBezTo>
                    <a:pt x="44" y="46"/>
                    <a:pt x="44" y="46"/>
                    <a:pt x="44" y="46"/>
                  </a:cubicBezTo>
                  <a:cubicBezTo>
                    <a:pt x="46" y="46"/>
                    <a:pt x="48" y="45"/>
                    <a:pt x="48" y="43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1"/>
                    <a:pt x="46" y="0"/>
                    <a:pt x="44" y="0"/>
                  </a:cubicBezTo>
                </a:path>
              </a:pathLst>
            </a:custGeom>
            <a:solidFill>
              <a:srgbClr val="005E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17" name="Oval 7"/>
            <p:cNvSpPr>
              <a:spLocks noChangeArrowheads="1"/>
            </p:cNvSpPr>
            <p:nvPr/>
          </p:nvSpPr>
          <p:spPr bwMode="auto">
            <a:xfrm>
              <a:off x="1385888" y="952500"/>
              <a:ext cx="17463" cy="20637"/>
            </a:xfrm>
            <a:prstGeom prst="ellipse">
              <a:avLst/>
            </a:pr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18" name="Freeform 8"/>
            <p:cNvSpPr>
              <a:spLocks noEditPoints="1"/>
            </p:cNvSpPr>
            <p:nvPr/>
          </p:nvSpPr>
          <p:spPr bwMode="auto">
            <a:xfrm>
              <a:off x="1001713" y="893763"/>
              <a:ext cx="142875" cy="133350"/>
            </a:xfrm>
            <a:custGeom>
              <a:avLst/>
              <a:gdLst>
                <a:gd name="T0" fmla="*/ 43 w 88"/>
                <a:gd name="T1" fmla="*/ 0 h 81"/>
                <a:gd name="T2" fmla="*/ 51 w 88"/>
                <a:gd name="T3" fmla="*/ 4 h 81"/>
                <a:gd name="T4" fmla="*/ 84 w 88"/>
                <a:gd name="T5" fmla="*/ 22 h 81"/>
                <a:gd name="T6" fmla="*/ 87 w 88"/>
                <a:gd name="T7" fmla="*/ 28 h 81"/>
                <a:gd name="T8" fmla="*/ 82 w 88"/>
                <a:gd name="T9" fmla="*/ 29 h 81"/>
                <a:gd name="T10" fmla="*/ 49 w 88"/>
                <a:gd name="T11" fmla="*/ 12 h 81"/>
                <a:gd name="T12" fmla="*/ 43 w 88"/>
                <a:gd name="T13" fmla="*/ 8 h 81"/>
                <a:gd name="T14" fmla="*/ 38 w 88"/>
                <a:gd name="T15" fmla="*/ 11 h 81"/>
                <a:gd name="T16" fmla="*/ 6 w 88"/>
                <a:gd name="T17" fmla="*/ 30 h 81"/>
                <a:gd name="T18" fmla="*/ 1 w 88"/>
                <a:gd name="T19" fmla="*/ 28 h 81"/>
                <a:gd name="T20" fmla="*/ 3 w 88"/>
                <a:gd name="T21" fmla="*/ 23 h 81"/>
                <a:gd name="T22" fmla="*/ 35 w 88"/>
                <a:gd name="T23" fmla="*/ 5 h 81"/>
                <a:gd name="T24" fmla="*/ 43 w 88"/>
                <a:gd name="T25" fmla="*/ 0 h 81"/>
                <a:gd name="T26" fmla="*/ 21 w 88"/>
                <a:gd name="T27" fmla="*/ 25 h 81"/>
                <a:gd name="T28" fmla="*/ 68 w 88"/>
                <a:gd name="T29" fmla="*/ 25 h 81"/>
                <a:gd name="T30" fmla="*/ 71 w 88"/>
                <a:gd name="T31" fmla="*/ 28 h 81"/>
                <a:gd name="T32" fmla="*/ 68 w 88"/>
                <a:gd name="T33" fmla="*/ 31 h 81"/>
                <a:gd name="T34" fmla="*/ 48 w 88"/>
                <a:gd name="T35" fmla="*/ 31 h 81"/>
                <a:gd name="T36" fmla="*/ 48 w 88"/>
                <a:gd name="T37" fmla="*/ 42 h 81"/>
                <a:gd name="T38" fmla="*/ 80 w 88"/>
                <a:gd name="T39" fmla="*/ 42 h 81"/>
                <a:gd name="T40" fmla="*/ 83 w 88"/>
                <a:gd name="T41" fmla="*/ 46 h 81"/>
                <a:gd name="T42" fmla="*/ 80 w 88"/>
                <a:gd name="T43" fmla="*/ 49 h 81"/>
                <a:gd name="T44" fmla="*/ 48 w 88"/>
                <a:gd name="T45" fmla="*/ 49 h 81"/>
                <a:gd name="T46" fmla="*/ 48 w 88"/>
                <a:gd name="T47" fmla="*/ 74 h 81"/>
                <a:gd name="T48" fmla="*/ 61 w 88"/>
                <a:gd name="T49" fmla="*/ 74 h 81"/>
                <a:gd name="T50" fmla="*/ 60 w 88"/>
                <a:gd name="T51" fmla="*/ 70 h 81"/>
                <a:gd name="T52" fmla="*/ 70 w 88"/>
                <a:gd name="T53" fmla="*/ 53 h 81"/>
                <a:gd name="T54" fmla="*/ 75 w 88"/>
                <a:gd name="T55" fmla="*/ 51 h 81"/>
                <a:gd name="T56" fmla="*/ 76 w 88"/>
                <a:gd name="T57" fmla="*/ 56 h 81"/>
                <a:gd name="T58" fmla="*/ 66 w 88"/>
                <a:gd name="T59" fmla="*/ 73 h 81"/>
                <a:gd name="T60" fmla="*/ 64 w 88"/>
                <a:gd name="T61" fmla="*/ 74 h 81"/>
                <a:gd name="T62" fmla="*/ 84 w 88"/>
                <a:gd name="T63" fmla="*/ 74 h 81"/>
                <a:gd name="T64" fmla="*/ 87 w 88"/>
                <a:gd name="T65" fmla="*/ 77 h 81"/>
                <a:gd name="T66" fmla="*/ 84 w 88"/>
                <a:gd name="T67" fmla="*/ 81 h 81"/>
                <a:gd name="T68" fmla="*/ 6 w 88"/>
                <a:gd name="T69" fmla="*/ 81 h 81"/>
                <a:gd name="T70" fmla="*/ 2 w 88"/>
                <a:gd name="T71" fmla="*/ 77 h 81"/>
                <a:gd name="T72" fmla="*/ 6 w 88"/>
                <a:gd name="T73" fmla="*/ 74 h 81"/>
                <a:gd name="T74" fmla="*/ 40 w 88"/>
                <a:gd name="T75" fmla="*/ 74 h 81"/>
                <a:gd name="T76" fmla="*/ 40 w 88"/>
                <a:gd name="T77" fmla="*/ 49 h 81"/>
                <a:gd name="T78" fmla="*/ 9 w 88"/>
                <a:gd name="T79" fmla="*/ 49 h 81"/>
                <a:gd name="T80" fmla="*/ 6 w 88"/>
                <a:gd name="T81" fmla="*/ 46 h 81"/>
                <a:gd name="T82" fmla="*/ 9 w 88"/>
                <a:gd name="T83" fmla="*/ 42 h 81"/>
                <a:gd name="T84" fmla="*/ 40 w 88"/>
                <a:gd name="T85" fmla="*/ 42 h 81"/>
                <a:gd name="T86" fmla="*/ 40 w 88"/>
                <a:gd name="T87" fmla="*/ 31 h 81"/>
                <a:gd name="T88" fmla="*/ 21 w 88"/>
                <a:gd name="T89" fmla="*/ 31 h 81"/>
                <a:gd name="T90" fmla="*/ 18 w 88"/>
                <a:gd name="T91" fmla="*/ 28 h 81"/>
                <a:gd name="T92" fmla="*/ 21 w 88"/>
                <a:gd name="T93" fmla="*/ 25 h 81"/>
                <a:gd name="T94" fmla="*/ 20 w 88"/>
                <a:gd name="T95" fmla="*/ 54 h 81"/>
                <a:gd name="T96" fmla="*/ 27 w 88"/>
                <a:gd name="T97" fmla="*/ 67 h 81"/>
                <a:gd name="T98" fmla="*/ 26 w 88"/>
                <a:gd name="T99" fmla="*/ 72 h 81"/>
                <a:gd name="T100" fmla="*/ 21 w 88"/>
                <a:gd name="T101" fmla="*/ 71 h 81"/>
                <a:gd name="T102" fmla="*/ 14 w 88"/>
                <a:gd name="T103" fmla="*/ 57 h 81"/>
                <a:gd name="T104" fmla="*/ 14 w 88"/>
                <a:gd name="T105" fmla="*/ 53 h 81"/>
                <a:gd name="T106" fmla="*/ 20 w 88"/>
                <a:gd name="T107" fmla="*/ 54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8" h="81">
                  <a:moveTo>
                    <a:pt x="43" y="0"/>
                  </a:moveTo>
                  <a:cubicBezTo>
                    <a:pt x="44" y="0"/>
                    <a:pt x="47" y="1"/>
                    <a:pt x="51" y="4"/>
                  </a:cubicBezTo>
                  <a:cubicBezTo>
                    <a:pt x="61" y="12"/>
                    <a:pt x="72" y="18"/>
                    <a:pt x="84" y="22"/>
                  </a:cubicBezTo>
                  <a:cubicBezTo>
                    <a:pt x="87" y="23"/>
                    <a:pt x="88" y="25"/>
                    <a:pt x="87" y="28"/>
                  </a:cubicBezTo>
                  <a:cubicBezTo>
                    <a:pt x="86" y="30"/>
                    <a:pt x="85" y="30"/>
                    <a:pt x="82" y="29"/>
                  </a:cubicBezTo>
                  <a:cubicBezTo>
                    <a:pt x="70" y="25"/>
                    <a:pt x="59" y="19"/>
                    <a:pt x="49" y="12"/>
                  </a:cubicBezTo>
                  <a:cubicBezTo>
                    <a:pt x="46" y="10"/>
                    <a:pt x="44" y="8"/>
                    <a:pt x="43" y="8"/>
                  </a:cubicBezTo>
                  <a:cubicBezTo>
                    <a:pt x="43" y="8"/>
                    <a:pt x="41" y="9"/>
                    <a:pt x="38" y="11"/>
                  </a:cubicBezTo>
                  <a:cubicBezTo>
                    <a:pt x="28" y="19"/>
                    <a:pt x="18" y="25"/>
                    <a:pt x="6" y="30"/>
                  </a:cubicBezTo>
                  <a:cubicBezTo>
                    <a:pt x="4" y="31"/>
                    <a:pt x="2" y="30"/>
                    <a:pt x="1" y="28"/>
                  </a:cubicBezTo>
                  <a:cubicBezTo>
                    <a:pt x="0" y="26"/>
                    <a:pt x="1" y="24"/>
                    <a:pt x="3" y="23"/>
                  </a:cubicBezTo>
                  <a:cubicBezTo>
                    <a:pt x="15" y="19"/>
                    <a:pt x="26" y="13"/>
                    <a:pt x="35" y="5"/>
                  </a:cubicBezTo>
                  <a:cubicBezTo>
                    <a:pt x="39" y="2"/>
                    <a:pt x="42" y="0"/>
                    <a:pt x="43" y="0"/>
                  </a:cubicBezTo>
                  <a:close/>
                  <a:moveTo>
                    <a:pt x="21" y="25"/>
                  </a:moveTo>
                  <a:cubicBezTo>
                    <a:pt x="68" y="25"/>
                    <a:pt x="68" y="25"/>
                    <a:pt x="68" y="25"/>
                  </a:cubicBezTo>
                  <a:cubicBezTo>
                    <a:pt x="70" y="25"/>
                    <a:pt x="71" y="26"/>
                    <a:pt x="71" y="28"/>
                  </a:cubicBezTo>
                  <a:cubicBezTo>
                    <a:pt x="71" y="30"/>
                    <a:pt x="70" y="31"/>
                    <a:pt x="6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80" y="42"/>
                    <a:pt x="80" y="42"/>
                    <a:pt x="80" y="42"/>
                  </a:cubicBezTo>
                  <a:cubicBezTo>
                    <a:pt x="82" y="42"/>
                    <a:pt x="83" y="43"/>
                    <a:pt x="83" y="46"/>
                  </a:cubicBezTo>
                  <a:cubicBezTo>
                    <a:pt x="83" y="48"/>
                    <a:pt x="82" y="49"/>
                    <a:pt x="80" y="49"/>
                  </a:cubicBezTo>
                  <a:cubicBezTo>
                    <a:pt x="48" y="49"/>
                    <a:pt x="48" y="49"/>
                    <a:pt x="48" y="49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59" y="73"/>
                    <a:pt x="59" y="72"/>
                    <a:pt x="60" y="70"/>
                  </a:cubicBezTo>
                  <a:cubicBezTo>
                    <a:pt x="64" y="64"/>
                    <a:pt x="67" y="59"/>
                    <a:pt x="70" y="53"/>
                  </a:cubicBezTo>
                  <a:cubicBezTo>
                    <a:pt x="71" y="51"/>
                    <a:pt x="73" y="50"/>
                    <a:pt x="75" y="51"/>
                  </a:cubicBezTo>
                  <a:cubicBezTo>
                    <a:pt x="76" y="52"/>
                    <a:pt x="77" y="54"/>
                    <a:pt x="76" y="56"/>
                  </a:cubicBezTo>
                  <a:cubicBezTo>
                    <a:pt x="72" y="65"/>
                    <a:pt x="69" y="70"/>
                    <a:pt x="66" y="73"/>
                  </a:cubicBezTo>
                  <a:cubicBezTo>
                    <a:pt x="65" y="74"/>
                    <a:pt x="65" y="74"/>
                    <a:pt x="64" y="74"/>
                  </a:cubicBezTo>
                  <a:cubicBezTo>
                    <a:pt x="84" y="74"/>
                    <a:pt x="84" y="74"/>
                    <a:pt x="84" y="74"/>
                  </a:cubicBezTo>
                  <a:cubicBezTo>
                    <a:pt x="86" y="74"/>
                    <a:pt x="87" y="75"/>
                    <a:pt x="87" y="77"/>
                  </a:cubicBezTo>
                  <a:cubicBezTo>
                    <a:pt x="87" y="79"/>
                    <a:pt x="86" y="81"/>
                    <a:pt x="84" y="81"/>
                  </a:cubicBezTo>
                  <a:cubicBezTo>
                    <a:pt x="6" y="81"/>
                    <a:pt x="6" y="81"/>
                    <a:pt x="6" y="81"/>
                  </a:cubicBezTo>
                  <a:cubicBezTo>
                    <a:pt x="3" y="81"/>
                    <a:pt x="2" y="79"/>
                    <a:pt x="2" y="77"/>
                  </a:cubicBezTo>
                  <a:cubicBezTo>
                    <a:pt x="2" y="75"/>
                    <a:pt x="3" y="74"/>
                    <a:pt x="6" y="74"/>
                  </a:cubicBezTo>
                  <a:cubicBezTo>
                    <a:pt x="40" y="74"/>
                    <a:pt x="40" y="74"/>
                    <a:pt x="40" y="74"/>
                  </a:cubicBezTo>
                  <a:cubicBezTo>
                    <a:pt x="40" y="49"/>
                    <a:pt x="40" y="49"/>
                    <a:pt x="40" y="49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7" y="49"/>
                    <a:pt x="6" y="48"/>
                    <a:pt x="6" y="46"/>
                  </a:cubicBezTo>
                  <a:cubicBezTo>
                    <a:pt x="6" y="43"/>
                    <a:pt x="7" y="42"/>
                    <a:pt x="9" y="42"/>
                  </a:cubicBezTo>
                  <a:cubicBezTo>
                    <a:pt x="40" y="42"/>
                    <a:pt x="40" y="42"/>
                    <a:pt x="40" y="42"/>
                  </a:cubicBezTo>
                  <a:cubicBezTo>
                    <a:pt x="40" y="31"/>
                    <a:pt x="40" y="31"/>
                    <a:pt x="40" y="31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19" y="31"/>
                    <a:pt x="18" y="30"/>
                    <a:pt x="18" y="28"/>
                  </a:cubicBezTo>
                  <a:cubicBezTo>
                    <a:pt x="18" y="26"/>
                    <a:pt x="19" y="25"/>
                    <a:pt x="21" y="25"/>
                  </a:cubicBezTo>
                  <a:close/>
                  <a:moveTo>
                    <a:pt x="20" y="54"/>
                  </a:moveTo>
                  <a:cubicBezTo>
                    <a:pt x="23" y="58"/>
                    <a:pt x="25" y="63"/>
                    <a:pt x="27" y="67"/>
                  </a:cubicBezTo>
                  <a:cubicBezTo>
                    <a:pt x="28" y="69"/>
                    <a:pt x="28" y="71"/>
                    <a:pt x="26" y="72"/>
                  </a:cubicBezTo>
                  <a:cubicBezTo>
                    <a:pt x="24" y="73"/>
                    <a:pt x="23" y="73"/>
                    <a:pt x="21" y="71"/>
                  </a:cubicBezTo>
                  <a:cubicBezTo>
                    <a:pt x="19" y="67"/>
                    <a:pt x="17" y="62"/>
                    <a:pt x="14" y="57"/>
                  </a:cubicBezTo>
                  <a:cubicBezTo>
                    <a:pt x="12" y="55"/>
                    <a:pt x="13" y="54"/>
                    <a:pt x="14" y="53"/>
                  </a:cubicBezTo>
                  <a:cubicBezTo>
                    <a:pt x="16" y="52"/>
                    <a:pt x="18" y="52"/>
                    <a:pt x="20" y="54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19" name="Freeform 9"/>
            <p:cNvSpPr>
              <a:spLocks noEditPoints="1"/>
            </p:cNvSpPr>
            <p:nvPr/>
          </p:nvSpPr>
          <p:spPr bwMode="auto">
            <a:xfrm>
              <a:off x="1168400" y="895350"/>
              <a:ext cx="136525" cy="139700"/>
            </a:xfrm>
            <a:custGeom>
              <a:avLst/>
              <a:gdLst>
                <a:gd name="T0" fmla="*/ 39 w 83"/>
                <a:gd name="T1" fmla="*/ 1 h 85"/>
                <a:gd name="T2" fmla="*/ 39 w 83"/>
                <a:gd name="T3" fmla="*/ 7 h 85"/>
                <a:gd name="T4" fmla="*/ 0 w 83"/>
                <a:gd name="T5" fmla="*/ 4 h 85"/>
                <a:gd name="T6" fmla="*/ 6 w 83"/>
                <a:gd name="T7" fmla="*/ 35 h 85"/>
                <a:gd name="T8" fmla="*/ 42 w 83"/>
                <a:gd name="T9" fmla="*/ 41 h 85"/>
                <a:gd name="T10" fmla="*/ 28 w 83"/>
                <a:gd name="T11" fmla="*/ 80 h 85"/>
                <a:gd name="T12" fmla="*/ 30 w 83"/>
                <a:gd name="T13" fmla="*/ 74 h 85"/>
                <a:gd name="T14" fmla="*/ 36 w 83"/>
                <a:gd name="T15" fmla="*/ 42 h 85"/>
                <a:gd name="T16" fmla="*/ 8 w 83"/>
                <a:gd name="T17" fmla="*/ 40 h 85"/>
                <a:gd name="T18" fmla="*/ 6 w 83"/>
                <a:gd name="T19" fmla="*/ 79 h 85"/>
                <a:gd name="T20" fmla="*/ 0 w 83"/>
                <a:gd name="T21" fmla="*/ 79 h 85"/>
                <a:gd name="T22" fmla="*/ 6 w 83"/>
                <a:gd name="T23" fmla="*/ 35 h 85"/>
                <a:gd name="T24" fmla="*/ 32 w 83"/>
                <a:gd name="T25" fmla="*/ 11 h 85"/>
                <a:gd name="T26" fmla="*/ 37 w 83"/>
                <a:gd name="T27" fmla="*/ 23 h 85"/>
                <a:gd name="T28" fmla="*/ 9 w 83"/>
                <a:gd name="T29" fmla="*/ 29 h 85"/>
                <a:gd name="T30" fmla="*/ 4 w 83"/>
                <a:gd name="T31" fmla="*/ 17 h 85"/>
                <a:gd name="T32" fmla="*/ 10 w 83"/>
                <a:gd name="T33" fmla="*/ 56 h 85"/>
                <a:gd name="T34" fmla="*/ 23 w 83"/>
                <a:gd name="T35" fmla="*/ 53 h 85"/>
                <a:gd name="T36" fmla="*/ 31 w 83"/>
                <a:gd name="T37" fmla="*/ 41 h 85"/>
                <a:gd name="T38" fmla="*/ 31 w 83"/>
                <a:gd name="T39" fmla="*/ 48 h 85"/>
                <a:gd name="T40" fmla="*/ 32 w 83"/>
                <a:gd name="T41" fmla="*/ 56 h 85"/>
                <a:gd name="T42" fmla="*/ 32 w 83"/>
                <a:gd name="T43" fmla="*/ 61 h 85"/>
                <a:gd name="T44" fmla="*/ 24 w 83"/>
                <a:gd name="T45" fmla="*/ 76 h 85"/>
                <a:gd name="T46" fmla="*/ 18 w 83"/>
                <a:gd name="T47" fmla="*/ 76 h 85"/>
                <a:gd name="T48" fmla="*/ 10 w 83"/>
                <a:gd name="T49" fmla="*/ 61 h 85"/>
                <a:gd name="T50" fmla="*/ 10 w 83"/>
                <a:gd name="T51" fmla="*/ 56 h 85"/>
                <a:gd name="T52" fmla="*/ 17 w 83"/>
                <a:gd name="T53" fmla="*/ 46 h 85"/>
                <a:gd name="T54" fmla="*/ 17 w 83"/>
                <a:gd name="T55" fmla="*/ 55 h 85"/>
                <a:gd name="T56" fmla="*/ 11 w 83"/>
                <a:gd name="T57" fmla="*/ 50 h 85"/>
                <a:gd name="T58" fmla="*/ 11 w 83"/>
                <a:gd name="T59" fmla="*/ 42 h 85"/>
                <a:gd name="T60" fmla="*/ 30 w 83"/>
                <a:gd name="T61" fmla="*/ 17 h 85"/>
                <a:gd name="T62" fmla="*/ 10 w 83"/>
                <a:gd name="T63" fmla="*/ 19 h 85"/>
                <a:gd name="T64" fmla="*/ 12 w 83"/>
                <a:gd name="T65" fmla="*/ 23 h 85"/>
                <a:gd name="T66" fmla="*/ 31 w 83"/>
                <a:gd name="T67" fmla="*/ 21 h 85"/>
                <a:gd name="T68" fmla="*/ 30 w 83"/>
                <a:gd name="T69" fmla="*/ 17 h 85"/>
                <a:gd name="T70" fmla="*/ 66 w 83"/>
                <a:gd name="T71" fmla="*/ 11 h 85"/>
                <a:gd name="T72" fmla="*/ 79 w 83"/>
                <a:gd name="T73" fmla="*/ 16 h 85"/>
                <a:gd name="T74" fmla="*/ 75 w 83"/>
                <a:gd name="T75" fmla="*/ 54 h 85"/>
                <a:gd name="T76" fmla="*/ 66 w 83"/>
                <a:gd name="T77" fmla="*/ 73 h 85"/>
                <a:gd name="T78" fmla="*/ 71 w 83"/>
                <a:gd name="T79" fmla="*/ 63 h 85"/>
                <a:gd name="T80" fmla="*/ 77 w 83"/>
                <a:gd name="T81" fmla="*/ 61 h 85"/>
                <a:gd name="T82" fmla="*/ 81 w 83"/>
                <a:gd name="T83" fmla="*/ 84 h 85"/>
                <a:gd name="T84" fmla="*/ 75 w 83"/>
                <a:gd name="T85" fmla="*/ 77 h 85"/>
                <a:gd name="T86" fmla="*/ 44 w 83"/>
                <a:gd name="T87" fmla="*/ 78 h 85"/>
                <a:gd name="T88" fmla="*/ 59 w 83"/>
                <a:gd name="T89" fmla="*/ 73 h 85"/>
                <a:gd name="T90" fmla="*/ 52 w 83"/>
                <a:gd name="T91" fmla="*/ 54 h 85"/>
                <a:gd name="T92" fmla="*/ 46 w 83"/>
                <a:gd name="T93" fmla="*/ 16 h 85"/>
                <a:gd name="T94" fmla="*/ 59 w 83"/>
                <a:gd name="T95" fmla="*/ 11 h 85"/>
                <a:gd name="T96" fmla="*/ 62 w 83"/>
                <a:gd name="T97" fmla="*/ 0 h 85"/>
                <a:gd name="T98" fmla="*/ 55 w 83"/>
                <a:gd name="T99" fmla="*/ 17 h 85"/>
                <a:gd name="T100" fmla="*/ 52 w 83"/>
                <a:gd name="T101" fmla="*/ 46 h 85"/>
                <a:gd name="T102" fmla="*/ 59 w 83"/>
                <a:gd name="T103" fmla="*/ 47 h 85"/>
                <a:gd name="T104" fmla="*/ 55 w 83"/>
                <a:gd name="T105" fmla="*/ 17 h 85"/>
                <a:gd name="T106" fmla="*/ 66 w 83"/>
                <a:gd name="T107" fmla="*/ 17 h 85"/>
                <a:gd name="T108" fmla="*/ 71 w 83"/>
                <a:gd name="T109" fmla="*/ 47 h 85"/>
                <a:gd name="T110" fmla="*/ 73 w 83"/>
                <a:gd name="T111" fmla="*/ 2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3" h="85">
                  <a:moveTo>
                    <a:pt x="4" y="1"/>
                  </a:moveTo>
                  <a:cubicBezTo>
                    <a:pt x="39" y="1"/>
                    <a:pt x="39" y="1"/>
                    <a:pt x="39" y="1"/>
                  </a:cubicBezTo>
                  <a:cubicBezTo>
                    <a:pt x="41" y="1"/>
                    <a:pt x="42" y="2"/>
                    <a:pt x="42" y="4"/>
                  </a:cubicBezTo>
                  <a:cubicBezTo>
                    <a:pt x="42" y="6"/>
                    <a:pt x="41" y="7"/>
                    <a:pt x="39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1" y="7"/>
                    <a:pt x="0" y="6"/>
                    <a:pt x="0" y="4"/>
                  </a:cubicBezTo>
                  <a:cubicBezTo>
                    <a:pt x="0" y="2"/>
                    <a:pt x="1" y="1"/>
                    <a:pt x="4" y="1"/>
                  </a:cubicBezTo>
                  <a:close/>
                  <a:moveTo>
                    <a:pt x="6" y="35"/>
                  </a:moveTo>
                  <a:cubicBezTo>
                    <a:pt x="35" y="35"/>
                    <a:pt x="35" y="35"/>
                    <a:pt x="35" y="35"/>
                  </a:cubicBezTo>
                  <a:cubicBezTo>
                    <a:pt x="40" y="35"/>
                    <a:pt x="43" y="37"/>
                    <a:pt x="42" y="41"/>
                  </a:cubicBezTo>
                  <a:cubicBezTo>
                    <a:pt x="42" y="74"/>
                    <a:pt x="42" y="74"/>
                    <a:pt x="42" y="74"/>
                  </a:cubicBezTo>
                  <a:cubicBezTo>
                    <a:pt x="42" y="81"/>
                    <a:pt x="37" y="82"/>
                    <a:pt x="28" y="80"/>
                  </a:cubicBezTo>
                  <a:cubicBezTo>
                    <a:pt x="26" y="79"/>
                    <a:pt x="26" y="78"/>
                    <a:pt x="26" y="76"/>
                  </a:cubicBezTo>
                  <a:cubicBezTo>
                    <a:pt x="27" y="74"/>
                    <a:pt x="28" y="74"/>
                    <a:pt x="30" y="74"/>
                  </a:cubicBezTo>
                  <a:cubicBezTo>
                    <a:pt x="34" y="76"/>
                    <a:pt x="36" y="76"/>
                    <a:pt x="36" y="73"/>
                  </a:cubicBezTo>
                  <a:cubicBezTo>
                    <a:pt x="36" y="42"/>
                    <a:pt x="36" y="42"/>
                    <a:pt x="36" y="42"/>
                  </a:cubicBezTo>
                  <a:cubicBezTo>
                    <a:pt x="36" y="41"/>
                    <a:pt x="36" y="40"/>
                    <a:pt x="35" y="40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6" y="40"/>
                    <a:pt x="5" y="41"/>
                    <a:pt x="6" y="43"/>
                  </a:cubicBezTo>
                  <a:cubicBezTo>
                    <a:pt x="6" y="79"/>
                    <a:pt x="6" y="79"/>
                    <a:pt x="6" y="79"/>
                  </a:cubicBezTo>
                  <a:cubicBezTo>
                    <a:pt x="5" y="81"/>
                    <a:pt x="4" y="82"/>
                    <a:pt x="3" y="82"/>
                  </a:cubicBezTo>
                  <a:cubicBezTo>
                    <a:pt x="1" y="82"/>
                    <a:pt x="0" y="81"/>
                    <a:pt x="0" y="79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37"/>
                    <a:pt x="2" y="35"/>
                    <a:pt x="6" y="35"/>
                  </a:cubicBezTo>
                  <a:close/>
                  <a:moveTo>
                    <a:pt x="9" y="11"/>
                  </a:moveTo>
                  <a:cubicBezTo>
                    <a:pt x="32" y="11"/>
                    <a:pt x="32" y="11"/>
                    <a:pt x="32" y="11"/>
                  </a:cubicBezTo>
                  <a:cubicBezTo>
                    <a:pt x="36" y="11"/>
                    <a:pt x="38" y="13"/>
                    <a:pt x="37" y="17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8" y="28"/>
                    <a:pt x="36" y="30"/>
                    <a:pt x="32" y="29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5" y="29"/>
                    <a:pt x="4" y="27"/>
                    <a:pt x="4" y="23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3" y="13"/>
                    <a:pt x="5" y="11"/>
                    <a:pt x="9" y="11"/>
                  </a:cubicBezTo>
                  <a:close/>
                  <a:moveTo>
                    <a:pt x="10" y="56"/>
                  </a:moveTo>
                  <a:cubicBezTo>
                    <a:pt x="22" y="56"/>
                    <a:pt x="22" y="56"/>
                    <a:pt x="22" y="56"/>
                  </a:cubicBezTo>
                  <a:cubicBezTo>
                    <a:pt x="22" y="55"/>
                    <a:pt x="22" y="54"/>
                    <a:pt x="23" y="53"/>
                  </a:cubicBezTo>
                  <a:cubicBezTo>
                    <a:pt x="24" y="50"/>
                    <a:pt x="26" y="46"/>
                    <a:pt x="27" y="43"/>
                  </a:cubicBezTo>
                  <a:cubicBezTo>
                    <a:pt x="28" y="41"/>
                    <a:pt x="29" y="41"/>
                    <a:pt x="31" y="41"/>
                  </a:cubicBezTo>
                  <a:cubicBezTo>
                    <a:pt x="33" y="42"/>
                    <a:pt x="33" y="44"/>
                    <a:pt x="33" y="46"/>
                  </a:cubicBezTo>
                  <a:cubicBezTo>
                    <a:pt x="32" y="47"/>
                    <a:pt x="32" y="47"/>
                    <a:pt x="31" y="48"/>
                  </a:cubicBezTo>
                  <a:cubicBezTo>
                    <a:pt x="30" y="52"/>
                    <a:pt x="29" y="54"/>
                    <a:pt x="28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3" y="56"/>
                    <a:pt x="34" y="57"/>
                    <a:pt x="34" y="59"/>
                  </a:cubicBezTo>
                  <a:cubicBezTo>
                    <a:pt x="34" y="61"/>
                    <a:pt x="33" y="61"/>
                    <a:pt x="32" y="61"/>
                  </a:cubicBezTo>
                  <a:cubicBezTo>
                    <a:pt x="24" y="61"/>
                    <a:pt x="24" y="61"/>
                    <a:pt x="24" y="61"/>
                  </a:cubicBezTo>
                  <a:cubicBezTo>
                    <a:pt x="24" y="76"/>
                    <a:pt x="24" y="76"/>
                    <a:pt x="24" y="76"/>
                  </a:cubicBezTo>
                  <a:cubicBezTo>
                    <a:pt x="23" y="77"/>
                    <a:pt x="22" y="78"/>
                    <a:pt x="20" y="78"/>
                  </a:cubicBezTo>
                  <a:cubicBezTo>
                    <a:pt x="19" y="78"/>
                    <a:pt x="18" y="77"/>
                    <a:pt x="18" y="76"/>
                  </a:cubicBezTo>
                  <a:cubicBezTo>
                    <a:pt x="18" y="61"/>
                    <a:pt x="18" y="61"/>
                    <a:pt x="18" y="61"/>
                  </a:cubicBezTo>
                  <a:cubicBezTo>
                    <a:pt x="10" y="61"/>
                    <a:pt x="10" y="61"/>
                    <a:pt x="10" y="61"/>
                  </a:cubicBezTo>
                  <a:cubicBezTo>
                    <a:pt x="8" y="61"/>
                    <a:pt x="7" y="61"/>
                    <a:pt x="7" y="59"/>
                  </a:cubicBezTo>
                  <a:cubicBezTo>
                    <a:pt x="7" y="57"/>
                    <a:pt x="8" y="56"/>
                    <a:pt x="10" y="56"/>
                  </a:cubicBezTo>
                  <a:close/>
                  <a:moveTo>
                    <a:pt x="15" y="43"/>
                  </a:moveTo>
                  <a:cubicBezTo>
                    <a:pt x="15" y="44"/>
                    <a:pt x="16" y="45"/>
                    <a:pt x="17" y="46"/>
                  </a:cubicBezTo>
                  <a:cubicBezTo>
                    <a:pt x="17" y="48"/>
                    <a:pt x="18" y="49"/>
                    <a:pt x="19" y="51"/>
                  </a:cubicBezTo>
                  <a:cubicBezTo>
                    <a:pt x="19" y="53"/>
                    <a:pt x="19" y="54"/>
                    <a:pt x="17" y="55"/>
                  </a:cubicBezTo>
                  <a:cubicBezTo>
                    <a:pt x="15" y="56"/>
                    <a:pt x="13" y="55"/>
                    <a:pt x="13" y="53"/>
                  </a:cubicBezTo>
                  <a:cubicBezTo>
                    <a:pt x="12" y="52"/>
                    <a:pt x="12" y="51"/>
                    <a:pt x="11" y="50"/>
                  </a:cubicBezTo>
                  <a:cubicBezTo>
                    <a:pt x="11" y="48"/>
                    <a:pt x="10" y="47"/>
                    <a:pt x="10" y="46"/>
                  </a:cubicBezTo>
                  <a:cubicBezTo>
                    <a:pt x="9" y="44"/>
                    <a:pt x="9" y="43"/>
                    <a:pt x="11" y="42"/>
                  </a:cubicBezTo>
                  <a:cubicBezTo>
                    <a:pt x="13" y="41"/>
                    <a:pt x="14" y="41"/>
                    <a:pt x="15" y="43"/>
                  </a:cubicBezTo>
                  <a:close/>
                  <a:moveTo>
                    <a:pt x="30" y="17"/>
                  </a:moveTo>
                  <a:cubicBezTo>
                    <a:pt x="11" y="17"/>
                    <a:pt x="11" y="17"/>
                    <a:pt x="11" y="17"/>
                  </a:cubicBezTo>
                  <a:cubicBezTo>
                    <a:pt x="10" y="17"/>
                    <a:pt x="9" y="18"/>
                    <a:pt x="10" y="19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10" y="23"/>
                    <a:pt x="10" y="23"/>
                    <a:pt x="12" y="23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31" y="23"/>
                    <a:pt x="31" y="23"/>
                    <a:pt x="31" y="21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1" y="18"/>
                    <a:pt x="31" y="17"/>
                    <a:pt x="30" y="17"/>
                  </a:cubicBezTo>
                  <a:close/>
                  <a:moveTo>
                    <a:pt x="66" y="3"/>
                  </a:moveTo>
                  <a:cubicBezTo>
                    <a:pt x="66" y="11"/>
                    <a:pt x="66" y="11"/>
                    <a:pt x="66" y="11"/>
                  </a:cubicBezTo>
                  <a:cubicBezTo>
                    <a:pt x="74" y="11"/>
                    <a:pt x="74" y="11"/>
                    <a:pt x="74" y="11"/>
                  </a:cubicBezTo>
                  <a:cubicBezTo>
                    <a:pt x="78" y="11"/>
                    <a:pt x="79" y="12"/>
                    <a:pt x="79" y="16"/>
                  </a:cubicBezTo>
                  <a:cubicBezTo>
                    <a:pt x="79" y="48"/>
                    <a:pt x="79" y="48"/>
                    <a:pt x="79" y="48"/>
                  </a:cubicBezTo>
                  <a:cubicBezTo>
                    <a:pt x="79" y="52"/>
                    <a:pt x="78" y="54"/>
                    <a:pt x="75" y="54"/>
                  </a:cubicBezTo>
                  <a:cubicBezTo>
                    <a:pt x="66" y="54"/>
                    <a:pt x="66" y="54"/>
                    <a:pt x="66" y="54"/>
                  </a:cubicBezTo>
                  <a:cubicBezTo>
                    <a:pt x="66" y="73"/>
                    <a:pt x="66" y="73"/>
                    <a:pt x="66" y="73"/>
                  </a:cubicBezTo>
                  <a:cubicBezTo>
                    <a:pt x="74" y="72"/>
                    <a:pt x="74" y="72"/>
                    <a:pt x="74" y="72"/>
                  </a:cubicBezTo>
                  <a:cubicBezTo>
                    <a:pt x="72" y="67"/>
                    <a:pt x="71" y="64"/>
                    <a:pt x="71" y="63"/>
                  </a:cubicBezTo>
                  <a:cubicBezTo>
                    <a:pt x="70" y="61"/>
                    <a:pt x="71" y="60"/>
                    <a:pt x="73" y="59"/>
                  </a:cubicBezTo>
                  <a:cubicBezTo>
                    <a:pt x="75" y="59"/>
                    <a:pt x="76" y="59"/>
                    <a:pt x="77" y="61"/>
                  </a:cubicBezTo>
                  <a:cubicBezTo>
                    <a:pt x="80" y="69"/>
                    <a:pt x="82" y="76"/>
                    <a:pt x="83" y="81"/>
                  </a:cubicBezTo>
                  <a:cubicBezTo>
                    <a:pt x="83" y="83"/>
                    <a:pt x="83" y="84"/>
                    <a:pt x="81" y="84"/>
                  </a:cubicBezTo>
                  <a:cubicBezTo>
                    <a:pt x="79" y="85"/>
                    <a:pt x="77" y="84"/>
                    <a:pt x="77" y="82"/>
                  </a:cubicBezTo>
                  <a:cubicBezTo>
                    <a:pt x="77" y="82"/>
                    <a:pt x="76" y="80"/>
                    <a:pt x="75" y="77"/>
                  </a:cubicBezTo>
                  <a:cubicBezTo>
                    <a:pt x="58" y="79"/>
                    <a:pt x="48" y="81"/>
                    <a:pt x="48" y="81"/>
                  </a:cubicBezTo>
                  <a:cubicBezTo>
                    <a:pt x="46" y="81"/>
                    <a:pt x="44" y="80"/>
                    <a:pt x="44" y="78"/>
                  </a:cubicBezTo>
                  <a:cubicBezTo>
                    <a:pt x="44" y="76"/>
                    <a:pt x="45" y="75"/>
                    <a:pt x="47" y="74"/>
                  </a:cubicBezTo>
                  <a:cubicBezTo>
                    <a:pt x="48" y="74"/>
                    <a:pt x="52" y="74"/>
                    <a:pt x="59" y="73"/>
                  </a:cubicBezTo>
                  <a:cubicBezTo>
                    <a:pt x="59" y="54"/>
                    <a:pt x="59" y="54"/>
                    <a:pt x="59" y="54"/>
                  </a:cubicBezTo>
                  <a:cubicBezTo>
                    <a:pt x="52" y="54"/>
                    <a:pt x="52" y="54"/>
                    <a:pt x="52" y="54"/>
                  </a:cubicBezTo>
                  <a:cubicBezTo>
                    <a:pt x="48" y="54"/>
                    <a:pt x="45" y="52"/>
                    <a:pt x="46" y="49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6" y="12"/>
                    <a:pt x="48" y="11"/>
                    <a:pt x="52" y="11"/>
                  </a:cubicBezTo>
                  <a:cubicBezTo>
                    <a:pt x="59" y="11"/>
                    <a:pt x="59" y="11"/>
                    <a:pt x="59" y="11"/>
                  </a:cubicBezTo>
                  <a:cubicBezTo>
                    <a:pt x="59" y="3"/>
                    <a:pt x="59" y="3"/>
                    <a:pt x="59" y="3"/>
                  </a:cubicBezTo>
                  <a:cubicBezTo>
                    <a:pt x="59" y="1"/>
                    <a:pt x="60" y="0"/>
                    <a:pt x="62" y="0"/>
                  </a:cubicBezTo>
                  <a:cubicBezTo>
                    <a:pt x="65" y="0"/>
                    <a:pt x="66" y="1"/>
                    <a:pt x="66" y="3"/>
                  </a:cubicBezTo>
                  <a:close/>
                  <a:moveTo>
                    <a:pt x="55" y="17"/>
                  </a:moveTo>
                  <a:cubicBezTo>
                    <a:pt x="53" y="17"/>
                    <a:pt x="52" y="18"/>
                    <a:pt x="52" y="20"/>
                  </a:cubicBezTo>
                  <a:cubicBezTo>
                    <a:pt x="52" y="46"/>
                    <a:pt x="52" y="46"/>
                    <a:pt x="52" y="46"/>
                  </a:cubicBezTo>
                  <a:cubicBezTo>
                    <a:pt x="52" y="47"/>
                    <a:pt x="53" y="48"/>
                    <a:pt x="54" y="47"/>
                  </a:cubicBezTo>
                  <a:cubicBezTo>
                    <a:pt x="59" y="47"/>
                    <a:pt x="59" y="47"/>
                    <a:pt x="59" y="47"/>
                  </a:cubicBezTo>
                  <a:cubicBezTo>
                    <a:pt x="59" y="17"/>
                    <a:pt x="59" y="17"/>
                    <a:pt x="59" y="17"/>
                  </a:cubicBezTo>
                  <a:lnTo>
                    <a:pt x="55" y="17"/>
                  </a:lnTo>
                  <a:close/>
                  <a:moveTo>
                    <a:pt x="71" y="17"/>
                  </a:moveTo>
                  <a:cubicBezTo>
                    <a:pt x="66" y="17"/>
                    <a:pt x="66" y="17"/>
                    <a:pt x="66" y="17"/>
                  </a:cubicBezTo>
                  <a:cubicBezTo>
                    <a:pt x="66" y="47"/>
                    <a:pt x="66" y="47"/>
                    <a:pt x="66" y="47"/>
                  </a:cubicBezTo>
                  <a:cubicBezTo>
                    <a:pt x="71" y="47"/>
                    <a:pt x="71" y="47"/>
                    <a:pt x="71" y="47"/>
                  </a:cubicBezTo>
                  <a:cubicBezTo>
                    <a:pt x="72" y="48"/>
                    <a:pt x="73" y="47"/>
                    <a:pt x="73" y="46"/>
                  </a:cubicBezTo>
                  <a:cubicBezTo>
                    <a:pt x="73" y="20"/>
                    <a:pt x="73" y="20"/>
                    <a:pt x="73" y="20"/>
                  </a:cubicBezTo>
                  <a:cubicBezTo>
                    <a:pt x="73" y="18"/>
                    <a:pt x="72" y="17"/>
                    <a:pt x="71" y="17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20" name="Freeform 10"/>
            <p:cNvSpPr>
              <a:spLocks noEditPoints="1"/>
            </p:cNvSpPr>
            <p:nvPr/>
          </p:nvSpPr>
          <p:spPr bwMode="auto">
            <a:xfrm>
              <a:off x="1476375" y="896938"/>
              <a:ext cx="144463" cy="136525"/>
            </a:xfrm>
            <a:custGeom>
              <a:avLst/>
              <a:gdLst>
                <a:gd name="T0" fmla="*/ 34 w 88"/>
                <a:gd name="T1" fmla="*/ 0 h 83"/>
                <a:gd name="T2" fmla="*/ 38 w 88"/>
                <a:gd name="T3" fmla="*/ 2 h 83"/>
                <a:gd name="T4" fmla="*/ 36 w 88"/>
                <a:gd name="T5" fmla="*/ 6 h 83"/>
                <a:gd name="T6" fmla="*/ 25 w 88"/>
                <a:gd name="T7" fmla="*/ 8 h 83"/>
                <a:gd name="T8" fmla="*/ 25 w 88"/>
                <a:gd name="T9" fmla="*/ 23 h 83"/>
                <a:gd name="T10" fmla="*/ 37 w 88"/>
                <a:gd name="T11" fmla="*/ 23 h 83"/>
                <a:gd name="T12" fmla="*/ 37 w 88"/>
                <a:gd name="T13" fmla="*/ 30 h 83"/>
                <a:gd name="T14" fmla="*/ 25 w 88"/>
                <a:gd name="T15" fmla="*/ 30 h 83"/>
                <a:gd name="T16" fmla="*/ 25 w 88"/>
                <a:gd name="T17" fmla="*/ 32 h 83"/>
                <a:gd name="T18" fmla="*/ 39 w 88"/>
                <a:gd name="T19" fmla="*/ 49 h 83"/>
                <a:gd name="T20" fmla="*/ 38 w 88"/>
                <a:gd name="T21" fmla="*/ 54 h 83"/>
                <a:gd name="T22" fmla="*/ 34 w 88"/>
                <a:gd name="T23" fmla="*/ 53 h 83"/>
                <a:gd name="T24" fmla="*/ 25 w 88"/>
                <a:gd name="T25" fmla="*/ 41 h 83"/>
                <a:gd name="T26" fmla="*/ 25 w 88"/>
                <a:gd name="T27" fmla="*/ 79 h 83"/>
                <a:gd name="T28" fmla="*/ 22 w 88"/>
                <a:gd name="T29" fmla="*/ 82 h 83"/>
                <a:gd name="T30" fmla="*/ 19 w 88"/>
                <a:gd name="T31" fmla="*/ 79 h 83"/>
                <a:gd name="T32" fmla="*/ 19 w 88"/>
                <a:gd name="T33" fmla="*/ 42 h 83"/>
                <a:gd name="T34" fmla="*/ 7 w 88"/>
                <a:gd name="T35" fmla="*/ 59 h 83"/>
                <a:gd name="T36" fmla="*/ 1 w 88"/>
                <a:gd name="T37" fmla="*/ 59 h 83"/>
                <a:gd name="T38" fmla="*/ 2 w 88"/>
                <a:gd name="T39" fmla="*/ 54 h 83"/>
                <a:gd name="T40" fmla="*/ 18 w 88"/>
                <a:gd name="T41" fmla="*/ 30 h 83"/>
                <a:gd name="T42" fmla="*/ 5 w 88"/>
                <a:gd name="T43" fmla="*/ 30 h 83"/>
                <a:gd name="T44" fmla="*/ 5 w 88"/>
                <a:gd name="T45" fmla="*/ 23 h 83"/>
                <a:gd name="T46" fmla="*/ 19 w 88"/>
                <a:gd name="T47" fmla="*/ 23 h 83"/>
                <a:gd name="T48" fmla="*/ 19 w 88"/>
                <a:gd name="T49" fmla="*/ 9 h 83"/>
                <a:gd name="T50" fmla="*/ 7 w 88"/>
                <a:gd name="T51" fmla="*/ 10 h 83"/>
                <a:gd name="T52" fmla="*/ 6 w 88"/>
                <a:gd name="T53" fmla="*/ 3 h 83"/>
                <a:gd name="T54" fmla="*/ 34 w 88"/>
                <a:gd name="T55" fmla="*/ 0 h 83"/>
                <a:gd name="T56" fmla="*/ 76 w 88"/>
                <a:gd name="T57" fmla="*/ 4 h 83"/>
                <a:gd name="T58" fmla="*/ 76 w 88"/>
                <a:gd name="T59" fmla="*/ 52 h 83"/>
                <a:gd name="T60" fmla="*/ 81 w 88"/>
                <a:gd name="T61" fmla="*/ 51 h 83"/>
                <a:gd name="T62" fmla="*/ 84 w 88"/>
                <a:gd name="T63" fmla="*/ 50 h 83"/>
                <a:gd name="T64" fmla="*/ 85 w 88"/>
                <a:gd name="T65" fmla="*/ 58 h 83"/>
                <a:gd name="T66" fmla="*/ 76 w 88"/>
                <a:gd name="T67" fmla="*/ 59 h 83"/>
                <a:gd name="T68" fmla="*/ 76 w 88"/>
                <a:gd name="T69" fmla="*/ 80 h 83"/>
                <a:gd name="T70" fmla="*/ 72 w 88"/>
                <a:gd name="T71" fmla="*/ 83 h 83"/>
                <a:gd name="T72" fmla="*/ 69 w 88"/>
                <a:gd name="T73" fmla="*/ 80 h 83"/>
                <a:gd name="T74" fmla="*/ 69 w 88"/>
                <a:gd name="T75" fmla="*/ 60 h 83"/>
                <a:gd name="T76" fmla="*/ 37 w 88"/>
                <a:gd name="T77" fmla="*/ 65 h 83"/>
                <a:gd name="T78" fmla="*/ 33 w 88"/>
                <a:gd name="T79" fmla="*/ 62 h 83"/>
                <a:gd name="T80" fmla="*/ 36 w 88"/>
                <a:gd name="T81" fmla="*/ 58 h 83"/>
                <a:gd name="T82" fmla="*/ 42 w 88"/>
                <a:gd name="T83" fmla="*/ 57 h 83"/>
                <a:gd name="T84" fmla="*/ 69 w 88"/>
                <a:gd name="T85" fmla="*/ 53 h 83"/>
                <a:gd name="T86" fmla="*/ 69 w 88"/>
                <a:gd name="T87" fmla="*/ 5 h 83"/>
                <a:gd name="T88" fmla="*/ 72 w 88"/>
                <a:gd name="T89" fmla="*/ 2 h 83"/>
                <a:gd name="T90" fmla="*/ 76 w 88"/>
                <a:gd name="T91" fmla="*/ 4 h 83"/>
                <a:gd name="T92" fmla="*/ 47 w 88"/>
                <a:gd name="T93" fmla="*/ 26 h 83"/>
                <a:gd name="T94" fmla="*/ 60 w 88"/>
                <a:gd name="T95" fmla="*/ 40 h 83"/>
                <a:gd name="T96" fmla="*/ 59 w 88"/>
                <a:gd name="T97" fmla="*/ 45 h 83"/>
                <a:gd name="T98" fmla="*/ 55 w 88"/>
                <a:gd name="T99" fmla="*/ 45 h 83"/>
                <a:gd name="T100" fmla="*/ 42 w 88"/>
                <a:gd name="T101" fmla="*/ 31 h 83"/>
                <a:gd name="T102" fmla="*/ 42 w 88"/>
                <a:gd name="T103" fmla="*/ 26 h 83"/>
                <a:gd name="T104" fmla="*/ 47 w 88"/>
                <a:gd name="T105" fmla="*/ 26 h 83"/>
                <a:gd name="T106" fmla="*/ 51 w 88"/>
                <a:gd name="T107" fmla="*/ 5 h 83"/>
                <a:gd name="T108" fmla="*/ 65 w 88"/>
                <a:gd name="T109" fmla="*/ 21 h 83"/>
                <a:gd name="T110" fmla="*/ 64 w 88"/>
                <a:gd name="T111" fmla="*/ 26 h 83"/>
                <a:gd name="T112" fmla="*/ 60 w 88"/>
                <a:gd name="T113" fmla="*/ 25 h 83"/>
                <a:gd name="T114" fmla="*/ 46 w 88"/>
                <a:gd name="T115" fmla="*/ 10 h 83"/>
                <a:gd name="T116" fmla="*/ 46 w 88"/>
                <a:gd name="T117" fmla="*/ 5 h 83"/>
                <a:gd name="T118" fmla="*/ 51 w 88"/>
                <a:gd name="T119" fmla="*/ 5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8" h="83">
                  <a:moveTo>
                    <a:pt x="34" y="0"/>
                  </a:moveTo>
                  <a:cubicBezTo>
                    <a:pt x="36" y="0"/>
                    <a:pt x="38" y="0"/>
                    <a:pt x="38" y="2"/>
                  </a:cubicBezTo>
                  <a:cubicBezTo>
                    <a:pt x="39" y="4"/>
                    <a:pt x="38" y="6"/>
                    <a:pt x="36" y="6"/>
                  </a:cubicBezTo>
                  <a:cubicBezTo>
                    <a:pt x="33" y="7"/>
                    <a:pt x="29" y="8"/>
                    <a:pt x="25" y="8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41" y="26"/>
                    <a:pt x="41" y="28"/>
                    <a:pt x="37" y="30"/>
                  </a:cubicBezTo>
                  <a:cubicBezTo>
                    <a:pt x="25" y="30"/>
                    <a:pt x="25" y="30"/>
                    <a:pt x="25" y="30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31" y="38"/>
                    <a:pt x="36" y="43"/>
                    <a:pt x="39" y="49"/>
                  </a:cubicBezTo>
                  <a:cubicBezTo>
                    <a:pt x="40" y="51"/>
                    <a:pt x="40" y="53"/>
                    <a:pt x="38" y="54"/>
                  </a:cubicBezTo>
                  <a:cubicBezTo>
                    <a:pt x="36" y="56"/>
                    <a:pt x="35" y="55"/>
                    <a:pt x="34" y="53"/>
                  </a:cubicBezTo>
                  <a:cubicBezTo>
                    <a:pt x="32" y="50"/>
                    <a:pt x="29" y="46"/>
                    <a:pt x="25" y="41"/>
                  </a:cubicBezTo>
                  <a:cubicBezTo>
                    <a:pt x="25" y="79"/>
                    <a:pt x="25" y="79"/>
                    <a:pt x="25" y="79"/>
                  </a:cubicBezTo>
                  <a:cubicBezTo>
                    <a:pt x="25" y="80"/>
                    <a:pt x="24" y="81"/>
                    <a:pt x="22" y="82"/>
                  </a:cubicBezTo>
                  <a:cubicBezTo>
                    <a:pt x="20" y="81"/>
                    <a:pt x="19" y="80"/>
                    <a:pt x="19" y="79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5" y="49"/>
                    <a:pt x="11" y="54"/>
                    <a:pt x="7" y="59"/>
                  </a:cubicBezTo>
                  <a:cubicBezTo>
                    <a:pt x="5" y="61"/>
                    <a:pt x="3" y="61"/>
                    <a:pt x="1" y="59"/>
                  </a:cubicBezTo>
                  <a:cubicBezTo>
                    <a:pt x="0" y="58"/>
                    <a:pt x="0" y="56"/>
                    <a:pt x="2" y="54"/>
                  </a:cubicBezTo>
                  <a:cubicBezTo>
                    <a:pt x="9" y="48"/>
                    <a:pt x="14" y="40"/>
                    <a:pt x="18" y="30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1" y="28"/>
                    <a:pt x="1" y="25"/>
                    <a:pt x="5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5" y="10"/>
                    <a:pt x="11" y="10"/>
                    <a:pt x="7" y="10"/>
                  </a:cubicBezTo>
                  <a:cubicBezTo>
                    <a:pt x="3" y="9"/>
                    <a:pt x="3" y="6"/>
                    <a:pt x="6" y="3"/>
                  </a:cubicBezTo>
                  <a:cubicBezTo>
                    <a:pt x="15" y="3"/>
                    <a:pt x="25" y="2"/>
                    <a:pt x="34" y="0"/>
                  </a:cubicBezTo>
                  <a:close/>
                  <a:moveTo>
                    <a:pt x="76" y="4"/>
                  </a:moveTo>
                  <a:cubicBezTo>
                    <a:pt x="76" y="52"/>
                    <a:pt x="76" y="52"/>
                    <a:pt x="76" y="52"/>
                  </a:cubicBezTo>
                  <a:cubicBezTo>
                    <a:pt x="77" y="51"/>
                    <a:pt x="79" y="51"/>
                    <a:pt x="81" y="51"/>
                  </a:cubicBezTo>
                  <a:cubicBezTo>
                    <a:pt x="83" y="51"/>
                    <a:pt x="84" y="50"/>
                    <a:pt x="84" y="50"/>
                  </a:cubicBezTo>
                  <a:cubicBezTo>
                    <a:pt x="88" y="53"/>
                    <a:pt x="88" y="55"/>
                    <a:pt x="85" y="58"/>
                  </a:cubicBezTo>
                  <a:cubicBezTo>
                    <a:pt x="80" y="58"/>
                    <a:pt x="77" y="59"/>
                    <a:pt x="76" y="59"/>
                  </a:cubicBezTo>
                  <a:cubicBezTo>
                    <a:pt x="76" y="80"/>
                    <a:pt x="76" y="80"/>
                    <a:pt x="76" y="80"/>
                  </a:cubicBezTo>
                  <a:cubicBezTo>
                    <a:pt x="75" y="82"/>
                    <a:pt x="74" y="83"/>
                    <a:pt x="72" y="83"/>
                  </a:cubicBezTo>
                  <a:cubicBezTo>
                    <a:pt x="70" y="83"/>
                    <a:pt x="69" y="82"/>
                    <a:pt x="69" y="80"/>
                  </a:cubicBezTo>
                  <a:cubicBezTo>
                    <a:pt x="69" y="60"/>
                    <a:pt x="69" y="60"/>
                    <a:pt x="69" y="60"/>
                  </a:cubicBezTo>
                  <a:cubicBezTo>
                    <a:pt x="54" y="63"/>
                    <a:pt x="43" y="64"/>
                    <a:pt x="37" y="65"/>
                  </a:cubicBezTo>
                  <a:cubicBezTo>
                    <a:pt x="35" y="65"/>
                    <a:pt x="34" y="64"/>
                    <a:pt x="33" y="62"/>
                  </a:cubicBezTo>
                  <a:cubicBezTo>
                    <a:pt x="33" y="60"/>
                    <a:pt x="34" y="58"/>
                    <a:pt x="36" y="58"/>
                  </a:cubicBezTo>
                  <a:cubicBezTo>
                    <a:pt x="37" y="58"/>
                    <a:pt x="39" y="57"/>
                    <a:pt x="42" y="57"/>
                  </a:cubicBezTo>
                  <a:cubicBezTo>
                    <a:pt x="53" y="55"/>
                    <a:pt x="62" y="54"/>
                    <a:pt x="69" y="53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69" y="3"/>
                    <a:pt x="70" y="2"/>
                    <a:pt x="72" y="2"/>
                  </a:cubicBezTo>
                  <a:cubicBezTo>
                    <a:pt x="74" y="2"/>
                    <a:pt x="75" y="3"/>
                    <a:pt x="76" y="4"/>
                  </a:cubicBezTo>
                  <a:close/>
                  <a:moveTo>
                    <a:pt x="47" y="26"/>
                  </a:moveTo>
                  <a:cubicBezTo>
                    <a:pt x="52" y="30"/>
                    <a:pt x="56" y="34"/>
                    <a:pt x="60" y="40"/>
                  </a:cubicBezTo>
                  <a:cubicBezTo>
                    <a:pt x="61" y="42"/>
                    <a:pt x="61" y="44"/>
                    <a:pt x="59" y="45"/>
                  </a:cubicBezTo>
                  <a:cubicBezTo>
                    <a:pt x="57" y="47"/>
                    <a:pt x="56" y="46"/>
                    <a:pt x="55" y="45"/>
                  </a:cubicBezTo>
                  <a:cubicBezTo>
                    <a:pt x="51" y="39"/>
                    <a:pt x="47" y="35"/>
                    <a:pt x="42" y="31"/>
                  </a:cubicBezTo>
                  <a:cubicBezTo>
                    <a:pt x="41" y="30"/>
                    <a:pt x="40" y="28"/>
                    <a:pt x="42" y="26"/>
                  </a:cubicBezTo>
                  <a:cubicBezTo>
                    <a:pt x="43" y="25"/>
                    <a:pt x="45" y="25"/>
                    <a:pt x="47" y="26"/>
                  </a:cubicBezTo>
                  <a:close/>
                  <a:moveTo>
                    <a:pt x="51" y="5"/>
                  </a:moveTo>
                  <a:cubicBezTo>
                    <a:pt x="56" y="10"/>
                    <a:pt x="61" y="15"/>
                    <a:pt x="65" y="21"/>
                  </a:cubicBezTo>
                  <a:cubicBezTo>
                    <a:pt x="66" y="23"/>
                    <a:pt x="66" y="25"/>
                    <a:pt x="64" y="26"/>
                  </a:cubicBezTo>
                  <a:cubicBezTo>
                    <a:pt x="63" y="27"/>
                    <a:pt x="61" y="27"/>
                    <a:pt x="60" y="25"/>
                  </a:cubicBezTo>
                  <a:cubicBezTo>
                    <a:pt x="56" y="20"/>
                    <a:pt x="51" y="15"/>
                    <a:pt x="46" y="10"/>
                  </a:cubicBezTo>
                  <a:cubicBezTo>
                    <a:pt x="45" y="9"/>
                    <a:pt x="44" y="7"/>
                    <a:pt x="46" y="5"/>
                  </a:cubicBezTo>
                  <a:cubicBezTo>
                    <a:pt x="47" y="4"/>
                    <a:pt x="49" y="4"/>
                    <a:pt x="51" y="5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21" name="Freeform 11"/>
            <p:cNvSpPr>
              <a:spLocks noEditPoints="1"/>
            </p:cNvSpPr>
            <p:nvPr/>
          </p:nvSpPr>
          <p:spPr bwMode="auto">
            <a:xfrm>
              <a:off x="1644650" y="896938"/>
              <a:ext cx="144463" cy="134937"/>
            </a:xfrm>
            <a:custGeom>
              <a:avLst/>
              <a:gdLst>
                <a:gd name="T0" fmla="*/ 20 w 88"/>
                <a:gd name="T1" fmla="*/ 17 h 82"/>
                <a:gd name="T2" fmla="*/ 30 w 88"/>
                <a:gd name="T3" fmla="*/ 20 h 82"/>
                <a:gd name="T4" fmla="*/ 20 w 88"/>
                <a:gd name="T5" fmla="*/ 23 h 82"/>
                <a:gd name="T6" fmla="*/ 26 w 88"/>
                <a:gd name="T7" fmla="*/ 38 h 82"/>
                <a:gd name="T8" fmla="*/ 30 w 88"/>
                <a:gd name="T9" fmla="*/ 43 h 82"/>
                <a:gd name="T10" fmla="*/ 20 w 88"/>
                <a:gd name="T11" fmla="*/ 75 h 82"/>
                <a:gd name="T12" fmla="*/ 3 w 88"/>
                <a:gd name="T13" fmla="*/ 76 h 82"/>
                <a:gd name="T14" fmla="*/ 13 w 88"/>
                <a:gd name="T15" fmla="*/ 72 h 82"/>
                <a:gd name="T16" fmla="*/ 9 w 88"/>
                <a:gd name="T17" fmla="*/ 52 h 82"/>
                <a:gd name="T18" fmla="*/ 0 w 88"/>
                <a:gd name="T19" fmla="*/ 52 h 82"/>
                <a:gd name="T20" fmla="*/ 5 w 88"/>
                <a:gd name="T21" fmla="*/ 47 h 82"/>
                <a:gd name="T22" fmla="*/ 13 w 88"/>
                <a:gd name="T23" fmla="*/ 23 h 82"/>
                <a:gd name="T24" fmla="*/ 2 w 88"/>
                <a:gd name="T25" fmla="*/ 20 h 82"/>
                <a:gd name="T26" fmla="*/ 13 w 88"/>
                <a:gd name="T27" fmla="*/ 17 h 82"/>
                <a:gd name="T28" fmla="*/ 17 w 88"/>
                <a:gd name="T29" fmla="*/ 1 h 82"/>
                <a:gd name="T30" fmla="*/ 58 w 88"/>
                <a:gd name="T31" fmla="*/ 3 h 82"/>
                <a:gd name="T32" fmla="*/ 81 w 88"/>
                <a:gd name="T33" fmla="*/ 8 h 82"/>
                <a:gd name="T34" fmla="*/ 81 w 88"/>
                <a:gd name="T35" fmla="*/ 15 h 82"/>
                <a:gd name="T36" fmla="*/ 58 w 88"/>
                <a:gd name="T37" fmla="*/ 28 h 82"/>
                <a:gd name="T38" fmla="*/ 80 w 88"/>
                <a:gd name="T39" fmla="*/ 38 h 82"/>
                <a:gd name="T40" fmla="*/ 85 w 88"/>
                <a:gd name="T41" fmla="*/ 75 h 82"/>
                <a:gd name="T42" fmla="*/ 82 w 88"/>
                <a:gd name="T43" fmla="*/ 82 h 82"/>
                <a:gd name="T44" fmla="*/ 29 w 88"/>
                <a:gd name="T45" fmla="*/ 81 h 82"/>
                <a:gd name="T46" fmla="*/ 26 w 88"/>
                <a:gd name="T47" fmla="*/ 74 h 82"/>
                <a:gd name="T48" fmla="*/ 34 w 88"/>
                <a:gd name="T49" fmla="*/ 40 h 82"/>
                <a:gd name="T50" fmla="*/ 33 w 88"/>
                <a:gd name="T51" fmla="*/ 35 h 82"/>
                <a:gd name="T52" fmla="*/ 34 w 88"/>
                <a:gd name="T53" fmla="*/ 28 h 82"/>
                <a:gd name="T54" fmla="*/ 51 w 88"/>
                <a:gd name="T55" fmla="*/ 15 h 82"/>
                <a:gd name="T56" fmla="*/ 28 w 88"/>
                <a:gd name="T57" fmla="*/ 12 h 82"/>
                <a:gd name="T58" fmla="*/ 51 w 88"/>
                <a:gd name="T59" fmla="*/ 8 h 82"/>
                <a:gd name="T60" fmla="*/ 55 w 88"/>
                <a:gd name="T61" fmla="*/ 0 h 82"/>
                <a:gd name="T62" fmla="*/ 70 w 88"/>
                <a:gd name="T63" fmla="*/ 35 h 82"/>
                <a:gd name="T64" fmla="*/ 40 w 88"/>
                <a:gd name="T65" fmla="*/ 36 h 82"/>
                <a:gd name="T66" fmla="*/ 72 w 88"/>
                <a:gd name="T67" fmla="*/ 38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8" h="82">
                  <a:moveTo>
                    <a:pt x="20" y="4"/>
                  </a:moveTo>
                  <a:cubicBezTo>
                    <a:pt x="20" y="17"/>
                    <a:pt x="20" y="17"/>
                    <a:pt x="20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9" y="17"/>
                    <a:pt x="30" y="18"/>
                    <a:pt x="30" y="20"/>
                  </a:cubicBezTo>
                  <a:cubicBezTo>
                    <a:pt x="30" y="22"/>
                    <a:pt x="29" y="23"/>
                    <a:pt x="27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2" y="40"/>
                    <a:pt x="24" y="39"/>
                    <a:pt x="26" y="38"/>
                  </a:cubicBezTo>
                  <a:cubicBezTo>
                    <a:pt x="28" y="37"/>
                    <a:pt x="29" y="38"/>
                    <a:pt x="30" y="39"/>
                  </a:cubicBezTo>
                  <a:cubicBezTo>
                    <a:pt x="31" y="41"/>
                    <a:pt x="31" y="42"/>
                    <a:pt x="30" y="43"/>
                  </a:cubicBezTo>
                  <a:cubicBezTo>
                    <a:pt x="28" y="44"/>
                    <a:pt x="25" y="46"/>
                    <a:pt x="20" y="48"/>
                  </a:cubicBezTo>
                  <a:cubicBezTo>
                    <a:pt x="20" y="75"/>
                    <a:pt x="20" y="75"/>
                    <a:pt x="20" y="75"/>
                  </a:cubicBezTo>
                  <a:cubicBezTo>
                    <a:pt x="19" y="80"/>
                    <a:pt x="15" y="82"/>
                    <a:pt x="6" y="80"/>
                  </a:cubicBezTo>
                  <a:cubicBezTo>
                    <a:pt x="4" y="80"/>
                    <a:pt x="3" y="78"/>
                    <a:pt x="3" y="76"/>
                  </a:cubicBezTo>
                  <a:cubicBezTo>
                    <a:pt x="4" y="74"/>
                    <a:pt x="5" y="73"/>
                    <a:pt x="7" y="74"/>
                  </a:cubicBezTo>
                  <a:cubicBezTo>
                    <a:pt x="12" y="75"/>
                    <a:pt x="14" y="75"/>
                    <a:pt x="13" y="72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13" y="51"/>
                    <a:pt x="11" y="52"/>
                    <a:pt x="9" y="52"/>
                  </a:cubicBezTo>
                  <a:cubicBezTo>
                    <a:pt x="7" y="53"/>
                    <a:pt x="5" y="54"/>
                    <a:pt x="5" y="54"/>
                  </a:cubicBezTo>
                  <a:cubicBezTo>
                    <a:pt x="2" y="55"/>
                    <a:pt x="1" y="54"/>
                    <a:pt x="0" y="52"/>
                  </a:cubicBezTo>
                  <a:cubicBezTo>
                    <a:pt x="0" y="50"/>
                    <a:pt x="0" y="49"/>
                    <a:pt x="2" y="48"/>
                  </a:cubicBezTo>
                  <a:cubicBezTo>
                    <a:pt x="3" y="48"/>
                    <a:pt x="4" y="48"/>
                    <a:pt x="5" y="47"/>
                  </a:cubicBezTo>
                  <a:cubicBezTo>
                    <a:pt x="8" y="46"/>
                    <a:pt x="11" y="45"/>
                    <a:pt x="13" y="44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3" y="23"/>
                    <a:pt x="2" y="22"/>
                    <a:pt x="2" y="20"/>
                  </a:cubicBezTo>
                  <a:cubicBezTo>
                    <a:pt x="2" y="18"/>
                    <a:pt x="3" y="17"/>
                    <a:pt x="5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2"/>
                    <a:pt x="14" y="1"/>
                    <a:pt x="17" y="1"/>
                  </a:cubicBezTo>
                  <a:cubicBezTo>
                    <a:pt x="19" y="1"/>
                    <a:pt x="20" y="2"/>
                    <a:pt x="20" y="4"/>
                  </a:cubicBezTo>
                  <a:close/>
                  <a:moveTo>
                    <a:pt x="58" y="3"/>
                  </a:moveTo>
                  <a:cubicBezTo>
                    <a:pt x="58" y="8"/>
                    <a:pt x="58" y="8"/>
                    <a:pt x="58" y="8"/>
                  </a:cubicBezTo>
                  <a:cubicBezTo>
                    <a:pt x="81" y="8"/>
                    <a:pt x="81" y="8"/>
                    <a:pt x="81" y="8"/>
                  </a:cubicBezTo>
                  <a:cubicBezTo>
                    <a:pt x="83" y="9"/>
                    <a:pt x="84" y="10"/>
                    <a:pt x="85" y="12"/>
                  </a:cubicBezTo>
                  <a:cubicBezTo>
                    <a:pt x="84" y="14"/>
                    <a:pt x="83" y="15"/>
                    <a:pt x="81" y="15"/>
                  </a:cubicBezTo>
                  <a:cubicBezTo>
                    <a:pt x="58" y="15"/>
                    <a:pt x="58" y="15"/>
                    <a:pt x="58" y="15"/>
                  </a:cubicBezTo>
                  <a:cubicBezTo>
                    <a:pt x="58" y="28"/>
                    <a:pt x="58" y="28"/>
                    <a:pt x="58" y="28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80" y="29"/>
                    <a:pt x="82" y="32"/>
                    <a:pt x="80" y="38"/>
                  </a:cubicBezTo>
                  <a:cubicBezTo>
                    <a:pt x="76" y="48"/>
                    <a:pt x="70" y="56"/>
                    <a:pt x="62" y="63"/>
                  </a:cubicBezTo>
                  <a:cubicBezTo>
                    <a:pt x="69" y="68"/>
                    <a:pt x="77" y="72"/>
                    <a:pt x="85" y="75"/>
                  </a:cubicBezTo>
                  <a:cubicBezTo>
                    <a:pt x="87" y="76"/>
                    <a:pt x="88" y="77"/>
                    <a:pt x="87" y="80"/>
                  </a:cubicBezTo>
                  <a:cubicBezTo>
                    <a:pt x="86" y="82"/>
                    <a:pt x="84" y="82"/>
                    <a:pt x="82" y="82"/>
                  </a:cubicBezTo>
                  <a:cubicBezTo>
                    <a:pt x="74" y="78"/>
                    <a:pt x="65" y="74"/>
                    <a:pt x="56" y="68"/>
                  </a:cubicBezTo>
                  <a:cubicBezTo>
                    <a:pt x="48" y="73"/>
                    <a:pt x="39" y="77"/>
                    <a:pt x="29" y="81"/>
                  </a:cubicBezTo>
                  <a:cubicBezTo>
                    <a:pt x="26" y="81"/>
                    <a:pt x="25" y="81"/>
                    <a:pt x="24" y="78"/>
                  </a:cubicBezTo>
                  <a:cubicBezTo>
                    <a:pt x="23" y="76"/>
                    <a:pt x="24" y="75"/>
                    <a:pt x="26" y="74"/>
                  </a:cubicBezTo>
                  <a:cubicBezTo>
                    <a:pt x="36" y="71"/>
                    <a:pt x="44" y="68"/>
                    <a:pt x="50" y="63"/>
                  </a:cubicBezTo>
                  <a:cubicBezTo>
                    <a:pt x="45" y="59"/>
                    <a:pt x="40" y="51"/>
                    <a:pt x="34" y="40"/>
                  </a:cubicBezTo>
                  <a:cubicBezTo>
                    <a:pt x="33" y="38"/>
                    <a:pt x="33" y="37"/>
                    <a:pt x="35" y="35"/>
                  </a:cubicBezTo>
                  <a:cubicBezTo>
                    <a:pt x="33" y="35"/>
                    <a:pt x="33" y="35"/>
                    <a:pt x="33" y="35"/>
                  </a:cubicBezTo>
                  <a:cubicBezTo>
                    <a:pt x="32" y="35"/>
                    <a:pt x="31" y="34"/>
                    <a:pt x="30" y="32"/>
                  </a:cubicBezTo>
                  <a:cubicBezTo>
                    <a:pt x="31" y="29"/>
                    <a:pt x="32" y="28"/>
                    <a:pt x="34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15"/>
                    <a:pt x="51" y="15"/>
                    <a:pt x="5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29" y="15"/>
                    <a:pt x="28" y="14"/>
                    <a:pt x="28" y="12"/>
                  </a:cubicBezTo>
                  <a:cubicBezTo>
                    <a:pt x="28" y="10"/>
                    <a:pt x="29" y="9"/>
                    <a:pt x="31" y="8"/>
                  </a:cubicBezTo>
                  <a:cubicBezTo>
                    <a:pt x="51" y="8"/>
                    <a:pt x="51" y="8"/>
                    <a:pt x="51" y="8"/>
                  </a:cubicBezTo>
                  <a:cubicBezTo>
                    <a:pt x="51" y="3"/>
                    <a:pt x="51" y="3"/>
                    <a:pt x="51" y="3"/>
                  </a:cubicBezTo>
                  <a:cubicBezTo>
                    <a:pt x="51" y="1"/>
                    <a:pt x="52" y="0"/>
                    <a:pt x="55" y="0"/>
                  </a:cubicBezTo>
                  <a:cubicBezTo>
                    <a:pt x="57" y="0"/>
                    <a:pt x="58" y="1"/>
                    <a:pt x="58" y="3"/>
                  </a:cubicBezTo>
                  <a:close/>
                  <a:moveTo>
                    <a:pt x="70" y="35"/>
                  </a:moveTo>
                  <a:cubicBezTo>
                    <a:pt x="39" y="35"/>
                    <a:pt x="39" y="35"/>
                    <a:pt x="39" y="35"/>
                  </a:cubicBezTo>
                  <a:cubicBezTo>
                    <a:pt x="39" y="36"/>
                    <a:pt x="39" y="36"/>
                    <a:pt x="40" y="36"/>
                  </a:cubicBezTo>
                  <a:cubicBezTo>
                    <a:pt x="47" y="47"/>
                    <a:pt x="52" y="55"/>
                    <a:pt x="56" y="58"/>
                  </a:cubicBezTo>
                  <a:cubicBezTo>
                    <a:pt x="63" y="52"/>
                    <a:pt x="68" y="46"/>
                    <a:pt x="72" y="38"/>
                  </a:cubicBezTo>
                  <a:cubicBezTo>
                    <a:pt x="72" y="37"/>
                    <a:pt x="72" y="36"/>
                    <a:pt x="70" y="35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</p:grpSp>
      <p:grpSp>
        <p:nvGrpSpPr>
          <p:cNvPr id="26" name="组合 25"/>
          <p:cNvGrpSpPr/>
          <p:nvPr userDrawn="1"/>
        </p:nvGrpSpPr>
        <p:grpSpPr>
          <a:xfrm>
            <a:off x="741424" y="4676044"/>
            <a:ext cx="5694681" cy="45719"/>
            <a:chOff x="777184" y="3817770"/>
            <a:chExt cx="5694681" cy="45719"/>
          </a:xfrm>
        </p:grpSpPr>
        <p:sp>
          <p:nvSpPr>
            <p:cNvPr id="27" name="矩形 26"/>
            <p:cNvSpPr/>
            <p:nvPr/>
          </p:nvSpPr>
          <p:spPr>
            <a:xfrm>
              <a:off x="777184" y="3817770"/>
              <a:ext cx="857551" cy="45719"/>
            </a:xfrm>
            <a:prstGeom prst="rect">
              <a:avLst/>
            </a:prstGeom>
            <a:solidFill>
              <a:srgbClr val="EA550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cxnSp>
          <p:nvCxnSpPr>
            <p:cNvPr id="28" name="直接连接符 27"/>
            <p:cNvCxnSpPr/>
            <p:nvPr/>
          </p:nvCxnSpPr>
          <p:spPr>
            <a:xfrm>
              <a:off x="1606260" y="3837412"/>
              <a:ext cx="4865605" cy="0"/>
            </a:xfrm>
            <a:prstGeom prst="line">
              <a:avLst/>
            </a:prstGeom>
            <a:ln w="22225">
              <a:gradFill flip="none" rotWithShape="1">
                <a:gsLst>
                  <a:gs pos="0">
                    <a:schemeClr val="accent1">
                      <a:lumMod val="5000"/>
                      <a:lumOff val="95000"/>
                      <a:alpha val="0"/>
                    </a:schemeClr>
                  </a:gs>
                  <a:gs pos="54000">
                    <a:schemeClr val="accent1">
                      <a:lumMod val="45000"/>
                      <a:lumOff val="55000"/>
                    </a:schemeClr>
                  </a:gs>
                  <a:gs pos="83000">
                    <a:srgbClr val="FB832D"/>
                  </a:gs>
                  <a:gs pos="100000">
                    <a:srgbClr val="EA5504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文本占位符 31"/>
          <p:cNvSpPr>
            <a:spLocks noGrp="1"/>
          </p:cNvSpPr>
          <p:nvPr>
            <p:ph type="body" sz="quarter" idx="10" hasCustomPrompt="1"/>
          </p:nvPr>
        </p:nvSpPr>
        <p:spPr>
          <a:xfrm>
            <a:off x="639824" y="1727200"/>
            <a:ext cx="7241433" cy="2802791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zh-CN" altLang="en-US" sz="5400" b="1" kern="2300" spc="240" dirty="0" smtClean="0">
                <a:ln w="15875">
                  <a:solidFill>
                    <a:schemeClr val="accent1"/>
                  </a:solidFill>
                </a:ln>
                <a:noFill/>
                <a:latin typeface="微软雅黑" panose="020B0503020204020204" charset="-122"/>
                <a:ea typeface="微软雅黑" panose="020B0503020204020204" charset="-122"/>
                <a:cs typeface="+mn-cs"/>
              </a:defRPr>
            </a:lvl1pPr>
            <a:lvl2pPr marL="457200" indent="0">
              <a:buNone/>
              <a:defRPr/>
            </a:lvl2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zh-CN" altLang="en-US"/>
              <a:t>平安集团</a:t>
            </a:r>
            <a:endParaRPr lang="en-US" altLang="zh-CN" dirty="0"/>
          </a:p>
        </p:txBody>
      </p:sp>
      <p:sp>
        <p:nvSpPr>
          <p:cNvPr id="31" name="文本占位符 2"/>
          <p:cNvSpPr>
            <a:spLocks noGrp="1"/>
          </p:cNvSpPr>
          <p:nvPr>
            <p:ph type="body" sz="quarter" idx="13" hasCustomPrompt="1"/>
          </p:nvPr>
        </p:nvSpPr>
        <p:spPr>
          <a:xfrm>
            <a:off x="628248" y="5553571"/>
            <a:ext cx="4612632" cy="24828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SzPct val="80000"/>
              <a:buFont typeface="+mj-ea"/>
              <a:buNone/>
              <a:defRPr lang="en-US" altLang="zh-CN" sz="14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defRPr>
            </a:lvl1pPr>
          </a:lstStyle>
          <a:p>
            <a:pPr marL="0" indent="0">
              <a:buNone/>
            </a:pPr>
            <a:r>
              <a:rPr lang="en-US" altLang="zh-CN" sz="1600" dirty="0">
                <a:latin typeface="微软雅黑" panose="020B0503020204020204" charset="-122"/>
                <a:ea typeface="微软雅黑" panose="020B0503020204020204" charset="-122"/>
              </a:rPr>
              <a:t>Speaker name and title</a:t>
            </a:r>
            <a:endParaRPr lang="en-US" altLang="zh-CN" sz="16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4" name="文本占位符 2"/>
          <p:cNvSpPr>
            <a:spLocks noGrp="1"/>
          </p:cNvSpPr>
          <p:nvPr>
            <p:ph type="body" sz="quarter" idx="14" hasCustomPrompt="1"/>
          </p:nvPr>
        </p:nvSpPr>
        <p:spPr>
          <a:xfrm>
            <a:off x="628248" y="5848201"/>
            <a:ext cx="4612632" cy="24828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SzPct val="80000"/>
              <a:buFont typeface="+mj-ea"/>
              <a:buNone/>
              <a:defRPr lang="en-US" altLang="zh-CN" sz="14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defRPr>
            </a:lvl1pPr>
          </a:lstStyle>
          <a:p>
            <a:pPr marL="0" indent="0">
              <a:buNone/>
            </a:pPr>
            <a:r>
              <a:rPr lang="en-US" altLang="en-US" sz="1600" dirty="0">
                <a:latin typeface="微软雅黑" panose="020B0503020204020204" charset="-122"/>
                <a:ea typeface="微软雅黑" panose="020B0503020204020204" charset="-122"/>
              </a:rPr>
              <a:t>D</a:t>
            </a:r>
            <a:r>
              <a:rPr lang="en-US" altLang="zh-CN" sz="1600" dirty="0">
                <a:latin typeface="微软雅黑" panose="020B0503020204020204" charset="-122"/>
                <a:ea typeface="微软雅黑" panose="020B0503020204020204" charset="-122"/>
              </a:rPr>
              <a:t>ate &amp; Time</a:t>
            </a:r>
            <a:endParaRPr lang="en-US" altLang="en-US" sz="16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791727" y="4113203"/>
            <a:ext cx="3285901" cy="1765813"/>
          </a:xfrm>
          <a:prstGeom prst="rect">
            <a:avLst/>
          </a:pr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kumimoji="1" lang="zh-CN" alt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kumimoji="1" lang="zh-CN" altLang="en-US"/>
              <a:t>拖拽插入图片</a:t>
            </a:r>
            <a:endParaRPr kumimoji="1" lang="zh-CN" altLang="en-US"/>
          </a:p>
        </p:txBody>
      </p:sp>
      <p:sp>
        <p:nvSpPr>
          <p:cNvPr id="6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4453048" y="4113203"/>
            <a:ext cx="3285901" cy="1765813"/>
          </a:xfrm>
          <a:prstGeom prst="rect">
            <a:avLst/>
          </a:pr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kumimoji="1" lang="zh-CN" alt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kumimoji="1" lang="zh-CN" altLang="en-US"/>
              <a:t>拖拽插入图片</a:t>
            </a:r>
            <a:endParaRPr kumimoji="1" lang="zh-CN" altLang="en-US"/>
          </a:p>
        </p:txBody>
      </p:sp>
      <p:sp>
        <p:nvSpPr>
          <p:cNvPr id="7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8114371" y="4113203"/>
            <a:ext cx="3285901" cy="1765813"/>
          </a:xfrm>
          <a:prstGeom prst="rect">
            <a:avLst/>
          </a:pr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kumimoji="1" lang="zh-CN" alt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kumimoji="1" lang="zh-CN" altLang="en-US"/>
              <a:t>拖拽插入图片</a:t>
            </a:r>
            <a:endParaRPr kumimoji="1" lang="zh-CN" altLang="en-US"/>
          </a:p>
        </p:txBody>
      </p:sp>
      <p:sp>
        <p:nvSpPr>
          <p:cNvPr id="8" name="灯片编号占位符 5"/>
          <p:cNvSpPr txBox="1"/>
          <p:nvPr userDrawn="1"/>
        </p:nvSpPr>
        <p:spPr>
          <a:xfrm>
            <a:off x="8869679" y="6395878"/>
            <a:ext cx="2909888" cy="206381"/>
          </a:xfrm>
          <a:prstGeom prst="rect">
            <a:avLst/>
          </a:prstGeom>
        </p:spPr>
        <p:txBody>
          <a:bodyPr vert="horz" lIns="91440" tIns="0" rIns="91440" bIns="45720" rtlCol="0" anchor="b" anchorCtr="0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DD3DB80-B894-403A-B48E-6FDC1A72010E}" type="slidenum">
              <a:rPr kumimoji="0" lang="zh-CN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90204"/>
                <a:ea typeface="微软雅黑" panose="020B0503020204020204" charset="-122"/>
                <a:cs typeface="+mn-cs"/>
              </a:rPr>
            </a:fld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90204"/>
              <a:ea typeface="微软雅黑" panose="020B0503020204020204" charset="-122"/>
              <a:cs typeface="+mn-cs"/>
            </a:endParaRP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90204"/>
              <a:ea typeface="华文楷体" panose="02010600040101010101" pitchFamily="2" charset="-122"/>
              <a:cs typeface="+mn-cs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90204"/>
              <a:ea typeface="华文楷体" panose="02010600040101010101" pitchFamily="2" charset="-122"/>
              <a:cs typeface="+mn-cs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B479F964-9077-479C-84FE-FD00BAF75217}" type="slidenum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90204"/>
                <a:ea typeface="华文楷体" panose="02010600040101010101" pitchFamily="2" charset="-122"/>
                <a:cs typeface="+mn-cs"/>
              </a:rPr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90204"/>
              <a:ea typeface="华文楷体" panose="02010600040101010101" pitchFamily="2" charset="-122"/>
              <a:cs typeface="+mn-cs"/>
            </a:endParaRPr>
          </a:p>
        </p:txBody>
      </p:sp>
      <p:sp>
        <p:nvSpPr>
          <p:cNvPr id="5" name="灯片编号占位符 5"/>
          <p:cNvSpPr txBox="1"/>
          <p:nvPr userDrawn="1"/>
        </p:nvSpPr>
        <p:spPr>
          <a:xfrm>
            <a:off x="8869679" y="6395878"/>
            <a:ext cx="2909888" cy="206381"/>
          </a:xfrm>
          <a:prstGeom prst="rect">
            <a:avLst/>
          </a:prstGeom>
        </p:spPr>
        <p:txBody>
          <a:bodyPr vert="horz" lIns="91440" tIns="0" rIns="91440" bIns="45720" rtlCol="0" anchor="b" anchorCtr="0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DD3DB80-B894-403A-B48E-6FDC1A72010E}" type="slidenum">
              <a:rPr kumimoji="0" lang="zh-CN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90204"/>
                <a:ea typeface="微软雅黑" panose="020B0503020204020204" charset="-122"/>
                <a:cs typeface="+mn-cs"/>
              </a:rPr>
            </a:fld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90204"/>
              <a:ea typeface="微软雅黑" panose="020B0503020204020204" charset="-122"/>
              <a:cs typeface="+mn-cs"/>
            </a:endParaRPr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" name="标题 19"/>
          <p:cNvSpPr>
            <a:spLocks noGrp="1"/>
          </p:cNvSpPr>
          <p:nvPr>
            <p:ph type="title"/>
          </p:nvPr>
        </p:nvSpPr>
        <p:spPr>
          <a:xfrm>
            <a:off x="5774803" y="3504585"/>
            <a:ext cx="5745685" cy="89535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71" name="文本占位符 20"/>
          <p:cNvSpPr>
            <a:spLocks noGrp="1"/>
          </p:cNvSpPr>
          <p:nvPr>
            <p:ph type="body" idx="1"/>
          </p:nvPr>
        </p:nvSpPr>
        <p:spPr>
          <a:xfrm>
            <a:off x="5774803" y="4399935"/>
            <a:ext cx="5745685" cy="1015623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3" imgW="0" imgH="0" progId="TCLayout.ActiveDocument.1">
                  <p:embed/>
                </p:oleObj>
              </mc:Choice>
              <mc:Fallback>
                <p:oleObj name="think-cell 幻灯片" r:id="rId3" imgW="0" imgH="0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altLang="zh-CN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703020202090204" pitchFamily="34" charset="0"/>
              </a:rPr>
              <a:t>202105 TED Sample Slides WhiteV13_Gaoliao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703020202090204" pitchFamily="34" charset="0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140399"/>
            <a:ext cx="10934700" cy="72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lnSpc>
                <a:spcPct val="100000"/>
              </a:lnSpc>
              <a:defRPr b="1"/>
            </a:lvl1pPr>
          </a:lstStyle>
          <a:p>
            <a:r>
              <a:rPr lang="en-US" altLang="zh-CN" dirty="0"/>
              <a:t>Click to add title</a:t>
            </a:r>
            <a:endParaRPr lang="en-US" dirty="0"/>
          </a:p>
        </p:txBody>
      </p:sp>
      <p:sp>
        <p:nvSpPr>
          <p:cNvPr id="8" name="文本占位符 6"/>
          <p:cNvSpPr>
            <a:spLocks noGrp="1"/>
          </p:cNvSpPr>
          <p:nvPr>
            <p:ph type="body" sz="quarter" idx="11" hasCustomPrompt="1"/>
          </p:nvPr>
        </p:nvSpPr>
        <p:spPr>
          <a:xfrm>
            <a:off x="360000" y="6408210"/>
            <a:ext cx="10934700" cy="422275"/>
          </a:xfrm>
        </p:spPr>
        <p:txBody>
          <a:bodyPr tIns="0" bIns="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1000" b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en-US" altLang="zh-CN" dirty="0"/>
              <a:t>Note:</a:t>
            </a:r>
            <a:br>
              <a:rPr lang="en-US" altLang="zh-CN" dirty="0"/>
            </a:br>
            <a:r>
              <a:rPr lang="en-US" altLang="zh-CN" dirty="0"/>
              <a:t>Source: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日期占位符 1"/>
          <p:cNvSpPr>
            <a:spLocks noGrp="1"/>
          </p:cNvSpPr>
          <p:nvPr>
            <p:ph type="dt" sz="half" idx="10"/>
          </p:nvPr>
        </p:nvSpPr>
        <p:spPr>
          <a:xfrm>
            <a:off x="6290733" y="8546253"/>
            <a:ext cx="3657600" cy="365760"/>
          </a:xfrm>
        </p:spPr>
        <p:txBody>
          <a:bodyPr/>
          <a:lstStyle/>
          <a:p>
            <a:endParaRPr lang="en-US"/>
          </a:p>
        </p:txBody>
      </p:sp>
      <p:sp>
        <p:nvSpPr>
          <p:cNvPr id="7" name="页脚占位符 2"/>
          <p:cNvSpPr>
            <a:spLocks noGrp="1"/>
          </p:cNvSpPr>
          <p:nvPr>
            <p:ph type="ftr" sz="quarter" idx="11"/>
          </p:nvPr>
        </p:nvSpPr>
        <p:spPr>
          <a:xfrm>
            <a:off x="880532" y="8546253"/>
            <a:ext cx="4876800" cy="36576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8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10481733" y="8546253"/>
            <a:ext cx="4876800" cy="365760"/>
          </a:xfrm>
        </p:spPr>
        <p:txBody>
          <a:bodyPr/>
          <a:lstStyle/>
          <a:p>
            <a:fld id="{C8BB1146-E542-4D4E-B8E9-6919A11DDD48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-OfficePL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1"/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fld id="{A50ECBEB-8597-4EA4-9D29-E1D7025CFAA0}" type="datetime1">
              <a:rPr lang="zh-CN" altLang="en-US" smtClean="0"/>
            </a:fld>
            <a:endParaRPr lang="zh-CN" altLang="en-US"/>
          </a:p>
        </p:txBody>
      </p:sp>
      <p:sp>
        <p:nvSpPr>
          <p:cNvPr id="4" name="页脚占位符 2"/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1"/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fld id="{A50ECBEB-8597-4EA4-9D29-E1D7025CFAA0}" type="datetime1">
              <a:rPr lang="zh-CN" altLang="en-US" smtClean="0"/>
            </a:fld>
            <a:endParaRPr lang="zh-CN" altLang="en-US"/>
          </a:p>
        </p:txBody>
      </p:sp>
      <p:sp>
        <p:nvSpPr>
          <p:cNvPr id="4" name="页脚占位符 2"/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竖排内容占位符 2"/>
          <p:cNvSpPr>
            <a:spLocks noGrp="1"/>
          </p:cNvSpPr>
          <p:nvPr>
            <p:ph orient="vert" sz="quarter" idx="10"/>
          </p:nvPr>
        </p:nvSpPr>
        <p:spPr>
          <a:xfrm>
            <a:off x="2707798" y="843179"/>
            <a:ext cx="7705725" cy="4687887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1"/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fld id="{A50ECBEB-8597-4EA4-9D29-E1D7025CFAA0}" type="datetime1">
              <a:rPr lang="zh-CN" altLang="en-US" smtClean="0"/>
            </a:fld>
            <a:endParaRPr lang="zh-CN" altLang="en-US"/>
          </a:p>
        </p:txBody>
      </p:sp>
      <p:sp>
        <p:nvSpPr>
          <p:cNvPr id="4" name="页脚占位符 2"/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8B5987-9647-4253-899C-3B9819D6D8A0}" type="datetime1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65B630-C7FF-41C0-9923-C5E5E29EED8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1"/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fld id="{A50ECBEB-8597-4EA4-9D29-E1D7025CFAA0}" type="datetime1">
              <a:rPr lang="zh-CN" altLang="en-US" smtClean="0"/>
            </a:fld>
            <a:endParaRPr lang="zh-CN" altLang="en-US"/>
          </a:p>
        </p:txBody>
      </p:sp>
      <p:sp>
        <p:nvSpPr>
          <p:cNvPr id="4" name="页脚占位符 2"/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1"/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fld id="{A50ECBEB-8597-4EA4-9D29-E1D7025CFAA0}" type="datetime1">
              <a:rPr lang="zh-CN" altLang="en-US" smtClean="0"/>
            </a:fld>
            <a:endParaRPr lang="zh-CN" altLang="en-US"/>
          </a:p>
        </p:txBody>
      </p:sp>
      <p:sp>
        <p:nvSpPr>
          <p:cNvPr id="4" name="页脚占位符 2"/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1"/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fld id="{A50ECBEB-8597-4EA4-9D29-E1D7025CFAA0}" type="datetime1">
              <a:rPr lang="zh-CN" altLang="en-US" smtClean="0"/>
            </a:fld>
            <a:endParaRPr lang="zh-CN" altLang="en-US"/>
          </a:p>
        </p:txBody>
      </p:sp>
      <p:sp>
        <p:nvSpPr>
          <p:cNvPr id="4" name="页脚占位符 2"/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1-封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42" b="42"/>
          <a:stretch>
            <a:fillRect/>
          </a:stretch>
        </p:blipFill>
        <p:spPr>
          <a:xfrm>
            <a:off x="1016697" y="10123"/>
            <a:ext cx="11168799" cy="6844996"/>
          </a:xfrm>
          <a:prstGeom prst="rect">
            <a:avLst/>
          </a:prstGeom>
          <a:ln w="12700">
            <a:miter lim="400000"/>
            <a:headEnd/>
            <a:tailEnd/>
          </a:ln>
        </p:spPr>
      </p:pic>
      <p:pic>
        <p:nvPicPr>
          <p:cNvPr id="4" name="图片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815" y="0"/>
            <a:ext cx="11146185" cy="6858000"/>
          </a:xfrm>
          <a:prstGeom prst="rect">
            <a:avLst/>
          </a:prstGeom>
        </p:spPr>
      </p:pic>
      <p:sp>
        <p:nvSpPr>
          <p:cNvPr id="8" name="矩形 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5000">
                <a:srgbClr val="FDF1ED">
                  <a:alpha val="97647"/>
                </a:srgbClr>
              </a:gs>
              <a:gs pos="27000">
                <a:srgbClr val="FEF8F6">
                  <a:alpha val="86000"/>
                </a:srgbClr>
              </a:gs>
              <a:gs pos="56000">
                <a:schemeClr val="bg1">
                  <a:alpha val="86000"/>
                </a:schemeClr>
              </a:gs>
              <a:gs pos="0">
                <a:srgbClr val="FDEAE3"/>
              </a:gs>
              <a:gs pos="100000">
                <a:schemeClr val="bg1">
                  <a:alpha val="64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0" name="任意多边形: 形状 29"/>
          <p:cNvSpPr/>
          <p:nvPr userDrawn="1"/>
        </p:nvSpPr>
        <p:spPr>
          <a:xfrm>
            <a:off x="6918699" y="3183037"/>
            <a:ext cx="3984653" cy="3682203"/>
          </a:xfrm>
          <a:custGeom>
            <a:avLst/>
            <a:gdLst>
              <a:gd name="connsiteX0" fmla="*/ 2696901 w 5266797"/>
              <a:gd name="connsiteY0" fmla="*/ 0 h 6875362"/>
              <a:gd name="connsiteX1" fmla="*/ 5266797 w 5266797"/>
              <a:gd name="connsiteY1" fmla="*/ 0 h 6875362"/>
              <a:gd name="connsiteX2" fmla="*/ 5266797 w 5266797"/>
              <a:gd name="connsiteY2" fmla="*/ 1408772 h 6875362"/>
              <a:gd name="connsiteX3" fmla="*/ 3126080 w 5266797"/>
              <a:gd name="connsiteY3" fmla="*/ 6866222 h 6875362"/>
              <a:gd name="connsiteX4" fmla="*/ 0 w 5266797"/>
              <a:gd name="connsiteY4" fmla="*/ 6875362 h 6875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66797" h="6875362">
                <a:moveTo>
                  <a:pt x="2696901" y="0"/>
                </a:moveTo>
                <a:lnTo>
                  <a:pt x="5266797" y="0"/>
                </a:lnTo>
                <a:lnTo>
                  <a:pt x="5266797" y="1408772"/>
                </a:lnTo>
                <a:lnTo>
                  <a:pt x="3126080" y="6866222"/>
                </a:lnTo>
                <a:lnTo>
                  <a:pt x="0" y="6875362"/>
                </a:lnTo>
                <a:close/>
              </a:path>
            </a:pathLst>
          </a:custGeom>
          <a:gradFill flip="none" rotWithShape="1">
            <a:gsLst>
              <a:gs pos="32000">
                <a:srgbClr val="FE832C"/>
              </a:gs>
              <a:gs pos="88000">
                <a:srgbClr val="FFCEAB"/>
              </a:gs>
              <a:gs pos="0">
                <a:srgbClr val="EA5504"/>
              </a:gs>
              <a:gs pos="100000">
                <a:srgbClr val="FBE9D5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pic>
        <p:nvPicPr>
          <p:cNvPr id="12" name="图片 11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 flipH="1">
            <a:off x="6229392" y="1300480"/>
            <a:ext cx="5962607" cy="5557520"/>
          </a:xfrm>
          <a:prstGeom prst="rect">
            <a:avLst/>
          </a:prstGeom>
        </p:spPr>
      </p:pic>
      <p:sp>
        <p:nvSpPr>
          <p:cNvPr id="13" name="任意多边形: 形状 12"/>
          <p:cNvSpPr/>
          <p:nvPr userDrawn="1"/>
        </p:nvSpPr>
        <p:spPr>
          <a:xfrm>
            <a:off x="0" y="0"/>
            <a:ext cx="690654" cy="745871"/>
          </a:xfrm>
          <a:custGeom>
            <a:avLst/>
            <a:gdLst>
              <a:gd name="connsiteX0" fmla="*/ 590479 w 631437"/>
              <a:gd name="connsiteY0" fmla="*/ 600003 h 681919"/>
              <a:gd name="connsiteX1" fmla="*/ 631437 w 631437"/>
              <a:gd name="connsiteY1" fmla="*/ 640961 h 681919"/>
              <a:gd name="connsiteX2" fmla="*/ 590479 w 631437"/>
              <a:gd name="connsiteY2" fmla="*/ 681919 h 681919"/>
              <a:gd name="connsiteX3" fmla="*/ 549521 w 631437"/>
              <a:gd name="connsiteY3" fmla="*/ 640961 h 681919"/>
              <a:gd name="connsiteX4" fmla="*/ 590479 w 631437"/>
              <a:gd name="connsiteY4" fmla="*/ 600003 h 681919"/>
              <a:gd name="connsiteX5" fmla="*/ 448555 w 631437"/>
              <a:gd name="connsiteY5" fmla="*/ 600003 h 681919"/>
              <a:gd name="connsiteX6" fmla="*/ 489513 w 631437"/>
              <a:gd name="connsiteY6" fmla="*/ 640961 h 681919"/>
              <a:gd name="connsiteX7" fmla="*/ 448555 w 631437"/>
              <a:gd name="connsiteY7" fmla="*/ 681919 h 681919"/>
              <a:gd name="connsiteX8" fmla="*/ 407597 w 631437"/>
              <a:gd name="connsiteY8" fmla="*/ 640961 h 681919"/>
              <a:gd name="connsiteX9" fmla="*/ 448555 w 631437"/>
              <a:gd name="connsiteY9" fmla="*/ 600003 h 681919"/>
              <a:gd name="connsiteX10" fmla="*/ 306633 w 631437"/>
              <a:gd name="connsiteY10" fmla="*/ 600003 h 681919"/>
              <a:gd name="connsiteX11" fmla="*/ 347591 w 631437"/>
              <a:gd name="connsiteY11" fmla="*/ 640961 h 681919"/>
              <a:gd name="connsiteX12" fmla="*/ 306633 w 631437"/>
              <a:gd name="connsiteY12" fmla="*/ 681919 h 681919"/>
              <a:gd name="connsiteX13" fmla="*/ 265675 w 631437"/>
              <a:gd name="connsiteY13" fmla="*/ 640961 h 681919"/>
              <a:gd name="connsiteX14" fmla="*/ 306633 w 631437"/>
              <a:gd name="connsiteY14" fmla="*/ 600003 h 681919"/>
              <a:gd name="connsiteX15" fmla="*/ 164711 w 631437"/>
              <a:gd name="connsiteY15" fmla="*/ 600003 h 681919"/>
              <a:gd name="connsiteX16" fmla="*/ 205669 w 631437"/>
              <a:gd name="connsiteY16" fmla="*/ 640961 h 681919"/>
              <a:gd name="connsiteX17" fmla="*/ 164711 w 631437"/>
              <a:gd name="connsiteY17" fmla="*/ 681919 h 681919"/>
              <a:gd name="connsiteX18" fmla="*/ 123753 w 631437"/>
              <a:gd name="connsiteY18" fmla="*/ 640961 h 681919"/>
              <a:gd name="connsiteX19" fmla="*/ 164711 w 631437"/>
              <a:gd name="connsiteY19" fmla="*/ 600003 h 681919"/>
              <a:gd name="connsiteX20" fmla="*/ 22789 w 631437"/>
              <a:gd name="connsiteY20" fmla="*/ 600003 h 681919"/>
              <a:gd name="connsiteX21" fmla="*/ 63747 w 631437"/>
              <a:gd name="connsiteY21" fmla="*/ 640961 h 681919"/>
              <a:gd name="connsiteX22" fmla="*/ 22789 w 631437"/>
              <a:gd name="connsiteY22" fmla="*/ 681919 h 681919"/>
              <a:gd name="connsiteX23" fmla="*/ 0 w 631437"/>
              <a:gd name="connsiteY23" fmla="*/ 672479 h 681919"/>
              <a:gd name="connsiteX24" fmla="*/ 0 w 631437"/>
              <a:gd name="connsiteY24" fmla="*/ 609443 h 681919"/>
              <a:gd name="connsiteX25" fmla="*/ 590479 w 631437"/>
              <a:gd name="connsiteY25" fmla="*/ 441888 h 681919"/>
              <a:gd name="connsiteX26" fmla="*/ 631437 w 631437"/>
              <a:gd name="connsiteY26" fmla="*/ 482846 h 681919"/>
              <a:gd name="connsiteX27" fmla="*/ 590479 w 631437"/>
              <a:gd name="connsiteY27" fmla="*/ 523804 h 681919"/>
              <a:gd name="connsiteX28" fmla="*/ 549521 w 631437"/>
              <a:gd name="connsiteY28" fmla="*/ 482846 h 681919"/>
              <a:gd name="connsiteX29" fmla="*/ 590479 w 631437"/>
              <a:gd name="connsiteY29" fmla="*/ 441888 h 681919"/>
              <a:gd name="connsiteX30" fmla="*/ 448555 w 631437"/>
              <a:gd name="connsiteY30" fmla="*/ 441888 h 681919"/>
              <a:gd name="connsiteX31" fmla="*/ 489513 w 631437"/>
              <a:gd name="connsiteY31" fmla="*/ 482846 h 681919"/>
              <a:gd name="connsiteX32" fmla="*/ 448555 w 631437"/>
              <a:gd name="connsiteY32" fmla="*/ 523804 h 681919"/>
              <a:gd name="connsiteX33" fmla="*/ 407597 w 631437"/>
              <a:gd name="connsiteY33" fmla="*/ 482846 h 681919"/>
              <a:gd name="connsiteX34" fmla="*/ 448555 w 631437"/>
              <a:gd name="connsiteY34" fmla="*/ 441888 h 681919"/>
              <a:gd name="connsiteX35" fmla="*/ 306633 w 631437"/>
              <a:gd name="connsiteY35" fmla="*/ 441888 h 681919"/>
              <a:gd name="connsiteX36" fmla="*/ 347591 w 631437"/>
              <a:gd name="connsiteY36" fmla="*/ 482846 h 681919"/>
              <a:gd name="connsiteX37" fmla="*/ 306633 w 631437"/>
              <a:gd name="connsiteY37" fmla="*/ 523804 h 681919"/>
              <a:gd name="connsiteX38" fmla="*/ 265675 w 631437"/>
              <a:gd name="connsiteY38" fmla="*/ 482846 h 681919"/>
              <a:gd name="connsiteX39" fmla="*/ 306633 w 631437"/>
              <a:gd name="connsiteY39" fmla="*/ 441888 h 681919"/>
              <a:gd name="connsiteX40" fmla="*/ 164711 w 631437"/>
              <a:gd name="connsiteY40" fmla="*/ 441888 h 681919"/>
              <a:gd name="connsiteX41" fmla="*/ 205669 w 631437"/>
              <a:gd name="connsiteY41" fmla="*/ 482846 h 681919"/>
              <a:gd name="connsiteX42" fmla="*/ 164711 w 631437"/>
              <a:gd name="connsiteY42" fmla="*/ 523804 h 681919"/>
              <a:gd name="connsiteX43" fmla="*/ 123753 w 631437"/>
              <a:gd name="connsiteY43" fmla="*/ 482846 h 681919"/>
              <a:gd name="connsiteX44" fmla="*/ 164711 w 631437"/>
              <a:gd name="connsiteY44" fmla="*/ 441888 h 681919"/>
              <a:gd name="connsiteX45" fmla="*/ 22789 w 631437"/>
              <a:gd name="connsiteY45" fmla="*/ 441888 h 681919"/>
              <a:gd name="connsiteX46" fmla="*/ 63747 w 631437"/>
              <a:gd name="connsiteY46" fmla="*/ 482846 h 681919"/>
              <a:gd name="connsiteX47" fmla="*/ 22789 w 631437"/>
              <a:gd name="connsiteY47" fmla="*/ 523804 h 681919"/>
              <a:gd name="connsiteX48" fmla="*/ 0 w 631437"/>
              <a:gd name="connsiteY48" fmla="*/ 514364 h 681919"/>
              <a:gd name="connsiteX49" fmla="*/ 0 w 631437"/>
              <a:gd name="connsiteY49" fmla="*/ 451328 h 681919"/>
              <a:gd name="connsiteX50" fmla="*/ 590479 w 631437"/>
              <a:gd name="connsiteY50" fmla="*/ 283773 h 681919"/>
              <a:gd name="connsiteX51" fmla="*/ 631437 w 631437"/>
              <a:gd name="connsiteY51" fmla="*/ 324731 h 681919"/>
              <a:gd name="connsiteX52" fmla="*/ 590479 w 631437"/>
              <a:gd name="connsiteY52" fmla="*/ 365689 h 681919"/>
              <a:gd name="connsiteX53" fmla="*/ 549521 w 631437"/>
              <a:gd name="connsiteY53" fmla="*/ 324731 h 681919"/>
              <a:gd name="connsiteX54" fmla="*/ 590479 w 631437"/>
              <a:gd name="connsiteY54" fmla="*/ 283773 h 681919"/>
              <a:gd name="connsiteX55" fmla="*/ 448555 w 631437"/>
              <a:gd name="connsiteY55" fmla="*/ 283773 h 681919"/>
              <a:gd name="connsiteX56" fmla="*/ 489513 w 631437"/>
              <a:gd name="connsiteY56" fmla="*/ 324731 h 681919"/>
              <a:gd name="connsiteX57" fmla="*/ 448555 w 631437"/>
              <a:gd name="connsiteY57" fmla="*/ 365689 h 681919"/>
              <a:gd name="connsiteX58" fmla="*/ 407597 w 631437"/>
              <a:gd name="connsiteY58" fmla="*/ 324731 h 681919"/>
              <a:gd name="connsiteX59" fmla="*/ 448555 w 631437"/>
              <a:gd name="connsiteY59" fmla="*/ 283773 h 681919"/>
              <a:gd name="connsiteX60" fmla="*/ 306633 w 631437"/>
              <a:gd name="connsiteY60" fmla="*/ 283773 h 681919"/>
              <a:gd name="connsiteX61" fmla="*/ 347591 w 631437"/>
              <a:gd name="connsiteY61" fmla="*/ 324731 h 681919"/>
              <a:gd name="connsiteX62" fmla="*/ 306633 w 631437"/>
              <a:gd name="connsiteY62" fmla="*/ 365689 h 681919"/>
              <a:gd name="connsiteX63" fmla="*/ 265675 w 631437"/>
              <a:gd name="connsiteY63" fmla="*/ 324731 h 681919"/>
              <a:gd name="connsiteX64" fmla="*/ 306633 w 631437"/>
              <a:gd name="connsiteY64" fmla="*/ 283773 h 681919"/>
              <a:gd name="connsiteX65" fmla="*/ 164711 w 631437"/>
              <a:gd name="connsiteY65" fmla="*/ 283773 h 681919"/>
              <a:gd name="connsiteX66" fmla="*/ 205669 w 631437"/>
              <a:gd name="connsiteY66" fmla="*/ 324731 h 681919"/>
              <a:gd name="connsiteX67" fmla="*/ 164711 w 631437"/>
              <a:gd name="connsiteY67" fmla="*/ 365689 h 681919"/>
              <a:gd name="connsiteX68" fmla="*/ 123753 w 631437"/>
              <a:gd name="connsiteY68" fmla="*/ 324731 h 681919"/>
              <a:gd name="connsiteX69" fmla="*/ 164711 w 631437"/>
              <a:gd name="connsiteY69" fmla="*/ 283773 h 681919"/>
              <a:gd name="connsiteX70" fmla="*/ 22789 w 631437"/>
              <a:gd name="connsiteY70" fmla="*/ 283773 h 681919"/>
              <a:gd name="connsiteX71" fmla="*/ 63747 w 631437"/>
              <a:gd name="connsiteY71" fmla="*/ 324731 h 681919"/>
              <a:gd name="connsiteX72" fmla="*/ 22789 w 631437"/>
              <a:gd name="connsiteY72" fmla="*/ 365689 h 681919"/>
              <a:gd name="connsiteX73" fmla="*/ 0 w 631437"/>
              <a:gd name="connsiteY73" fmla="*/ 356249 h 681919"/>
              <a:gd name="connsiteX74" fmla="*/ 0 w 631437"/>
              <a:gd name="connsiteY74" fmla="*/ 293213 h 681919"/>
              <a:gd name="connsiteX75" fmla="*/ 448555 w 631437"/>
              <a:gd name="connsiteY75" fmla="*/ 125658 h 681919"/>
              <a:gd name="connsiteX76" fmla="*/ 489513 w 631437"/>
              <a:gd name="connsiteY76" fmla="*/ 166616 h 681919"/>
              <a:gd name="connsiteX77" fmla="*/ 448555 w 631437"/>
              <a:gd name="connsiteY77" fmla="*/ 207574 h 681919"/>
              <a:gd name="connsiteX78" fmla="*/ 407597 w 631437"/>
              <a:gd name="connsiteY78" fmla="*/ 166616 h 681919"/>
              <a:gd name="connsiteX79" fmla="*/ 448555 w 631437"/>
              <a:gd name="connsiteY79" fmla="*/ 125658 h 681919"/>
              <a:gd name="connsiteX80" fmla="*/ 306633 w 631437"/>
              <a:gd name="connsiteY80" fmla="*/ 125658 h 681919"/>
              <a:gd name="connsiteX81" fmla="*/ 347591 w 631437"/>
              <a:gd name="connsiteY81" fmla="*/ 166616 h 681919"/>
              <a:gd name="connsiteX82" fmla="*/ 306633 w 631437"/>
              <a:gd name="connsiteY82" fmla="*/ 207574 h 681919"/>
              <a:gd name="connsiteX83" fmla="*/ 265675 w 631437"/>
              <a:gd name="connsiteY83" fmla="*/ 166616 h 681919"/>
              <a:gd name="connsiteX84" fmla="*/ 306633 w 631437"/>
              <a:gd name="connsiteY84" fmla="*/ 125658 h 681919"/>
              <a:gd name="connsiteX85" fmla="*/ 164711 w 631437"/>
              <a:gd name="connsiteY85" fmla="*/ 125658 h 681919"/>
              <a:gd name="connsiteX86" fmla="*/ 205669 w 631437"/>
              <a:gd name="connsiteY86" fmla="*/ 166616 h 681919"/>
              <a:gd name="connsiteX87" fmla="*/ 164711 w 631437"/>
              <a:gd name="connsiteY87" fmla="*/ 207574 h 681919"/>
              <a:gd name="connsiteX88" fmla="*/ 123753 w 631437"/>
              <a:gd name="connsiteY88" fmla="*/ 166616 h 681919"/>
              <a:gd name="connsiteX89" fmla="*/ 164711 w 631437"/>
              <a:gd name="connsiteY89" fmla="*/ 125658 h 681919"/>
              <a:gd name="connsiteX90" fmla="*/ 22789 w 631437"/>
              <a:gd name="connsiteY90" fmla="*/ 125658 h 681919"/>
              <a:gd name="connsiteX91" fmla="*/ 63747 w 631437"/>
              <a:gd name="connsiteY91" fmla="*/ 166616 h 681919"/>
              <a:gd name="connsiteX92" fmla="*/ 22789 w 631437"/>
              <a:gd name="connsiteY92" fmla="*/ 207574 h 681919"/>
              <a:gd name="connsiteX93" fmla="*/ 0 w 631437"/>
              <a:gd name="connsiteY93" fmla="*/ 198134 h 681919"/>
              <a:gd name="connsiteX94" fmla="*/ 0 w 631437"/>
              <a:gd name="connsiteY94" fmla="*/ 135098 h 681919"/>
              <a:gd name="connsiteX95" fmla="*/ 590479 w 631437"/>
              <a:gd name="connsiteY95" fmla="*/ 125658 h 681919"/>
              <a:gd name="connsiteX96" fmla="*/ 631437 w 631437"/>
              <a:gd name="connsiteY96" fmla="*/ 166616 h 681919"/>
              <a:gd name="connsiteX97" fmla="*/ 590479 w 631437"/>
              <a:gd name="connsiteY97" fmla="*/ 207574 h 681919"/>
              <a:gd name="connsiteX98" fmla="*/ 549521 w 631437"/>
              <a:gd name="connsiteY98" fmla="*/ 166616 h 681919"/>
              <a:gd name="connsiteX99" fmla="*/ 590479 w 631437"/>
              <a:gd name="connsiteY99" fmla="*/ 125658 h 681919"/>
              <a:gd name="connsiteX100" fmla="*/ 553042 w 631437"/>
              <a:gd name="connsiteY100" fmla="*/ 0 h 681919"/>
              <a:gd name="connsiteX101" fmla="*/ 627916 w 631437"/>
              <a:gd name="connsiteY101" fmla="*/ 0 h 681919"/>
              <a:gd name="connsiteX102" fmla="*/ 631437 w 631437"/>
              <a:gd name="connsiteY102" fmla="*/ 8501 h 681919"/>
              <a:gd name="connsiteX103" fmla="*/ 590479 w 631437"/>
              <a:gd name="connsiteY103" fmla="*/ 49459 h 681919"/>
              <a:gd name="connsiteX104" fmla="*/ 549521 w 631437"/>
              <a:gd name="connsiteY104" fmla="*/ 8501 h 681919"/>
              <a:gd name="connsiteX105" fmla="*/ 411118 w 631437"/>
              <a:gd name="connsiteY105" fmla="*/ 0 h 681919"/>
              <a:gd name="connsiteX106" fmla="*/ 485992 w 631437"/>
              <a:gd name="connsiteY106" fmla="*/ 0 h 681919"/>
              <a:gd name="connsiteX107" fmla="*/ 489513 w 631437"/>
              <a:gd name="connsiteY107" fmla="*/ 8501 h 681919"/>
              <a:gd name="connsiteX108" fmla="*/ 448555 w 631437"/>
              <a:gd name="connsiteY108" fmla="*/ 49459 h 681919"/>
              <a:gd name="connsiteX109" fmla="*/ 407597 w 631437"/>
              <a:gd name="connsiteY109" fmla="*/ 8501 h 681919"/>
              <a:gd name="connsiteX110" fmla="*/ 269196 w 631437"/>
              <a:gd name="connsiteY110" fmla="*/ 0 h 681919"/>
              <a:gd name="connsiteX111" fmla="*/ 344070 w 631437"/>
              <a:gd name="connsiteY111" fmla="*/ 0 h 681919"/>
              <a:gd name="connsiteX112" fmla="*/ 347591 w 631437"/>
              <a:gd name="connsiteY112" fmla="*/ 8501 h 681919"/>
              <a:gd name="connsiteX113" fmla="*/ 306633 w 631437"/>
              <a:gd name="connsiteY113" fmla="*/ 49459 h 681919"/>
              <a:gd name="connsiteX114" fmla="*/ 265675 w 631437"/>
              <a:gd name="connsiteY114" fmla="*/ 8501 h 681919"/>
              <a:gd name="connsiteX115" fmla="*/ 127274 w 631437"/>
              <a:gd name="connsiteY115" fmla="*/ 0 h 681919"/>
              <a:gd name="connsiteX116" fmla="*/ 202148 w 631437"/>
              <a:gd name="connsiteY116" fmla="*/ 0 h 681919"/>
              <a:gd name="connsiteX117" fmla="*/ 205669 w 631437"/>
              <a:gd name="connsiteY117" fmla="*/ 8501 h 681919"/>
              <a:gd name="connsiteX118" fmla="*/ 164711 w 631437"/>
              <a:gd name="connsiteY118" fmla="*/ 49459 h 681919"/>
              <a:gd name="connsiteX119" fmla="*/ 123753 w 631437"/>
              <a:gd name="connsiteY119" fmla="*/ 8501 h 681919"/>
              <a:gd name="connsiteX120" fmla="*/ 0 w 631437"/>
              <a:gd name="connsiteY120" fmla="*/ 0 h 681919"/>
              <a:gd name="connsiteX121" fmla="*/ 60226 w 631437"/>
              <a:gd name="connsiteY121" fmla="*/ 0 h 681919"/>
              <a:gd name="connsiteX122" fmla="*/ 63747 w 631437"/>
              <a:gd name="connsiteY122" fmla="*/ 8501 h 681919"/>
              <a:gd name="connsiteX123" fmla="*/ 22789 w 631437"/>
              <a:gd name="connsiteY123" fmla="*/ 49459 h 681919"/>
              <a:gd name="connsiteX124" fmla="*/ 0 w 631437"/>
              <a:gd name="connsiteY124" fmla="*/ 40019 h 6819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631437" h="681919">
                <a:moveTo>
                  <a:pt x="590479" y="600003"/>
                </a:moveTo>
                <a:cubicBezTo>
                  <a:pt x="613099" y="600003"/>
                  <a:pt x="631437" y="618341"/>
                  <a:pt x="631437" y="640961"/>
                </a:cubicBezTo>
                <a:cubicBezTo>
                  <a:pt x="631437" y="663581"/>
                  <a:pt x="613099" y="681919"/>
                  <a:pt x="590479" y="681919"/>
                </a:cubicBezTo>
                <a:cubicBezTo>
                  <a:pt x="567859" y="681919"/>
                  <a:pt x="549521" y="663581"/>
                  <a:pt x="549521" y="640961"/>
                </a:cubicBezTo>
                <a:cubicBezTo>
                  <a:pt x="549521" y="618341"/>
                  <a:pt x="567859" y="600003"/>
                  <a:pt x="590479" y="600003"/>
                </a:cubicBezTo>
                <a:close/>
                <a:moveTo>
                  <a:pt x="448555" y="600003"/>
                </a:moveTo>
                <a:cubicBezTo>
                  <a:pt x="471175" y="600003"/>
                  <a:pt x="489513" y="618341"/>
                  <a:pt x="489513" y="640961"/>
                </a:cubicBezTo>
                <a:cubicBezTo>
                  <a:pt x="489513" y="663581"/>
                  <a:pt x="471175" y="681919"/>
                  <a:pt x="448555" y="681919"/>
                </a:cubicBezTo>
                <a:cubicBezTo>
                  <a:pt x="425935" y="681919"/>
                  <a:pt x="407597" y="663581"/>
                  <a:pt x="407597" y="640961"/>
                </a:cubicBezTo>
                <a:cubicBezTo>
                  <a:pt x="407597" y="618341"/>
                  <a:pt x="425935" y="600003"/>
                  <a:pt x="448555" y="600003"/>
                </a:cubicBezTo>
                <a:close/>
                <a:moveTo>
                  <a:pt x="306633" y="600003"/>
                </a:moveTo>
                <a:cubicBezTo>
                  <a:pt x="329253" y="600003"/>
                  <a:pt x="347591" y="618341"/>
                  <a:pt x="347591" y="640961"/>
                </a:cubicBezTo>
                <a:cubicBezTo>
                  <a:pt x="347591" y="663581"/>
                  <a:pt x="329253" y="681919"/>
                  <a:pt x="306633" y="681919"/>
                </a:cubicBezTo>
                <a:cubicBezTo>
                  <a:pt x="284013" y="681919"/>
                  <a:pt x="265675" y="663581"/>
                  <a:pt x="265675" y="640961"/>
                </a:cubicBezTo>
                <a:cubicBezTo>
                  <a:pt x="265675" y="618341"/>
                  <a:pt x="284013" y="600003"/>
                  <a:pt x="306633" y="600003"/>
                </a:cubicBezTo>
                <a:close/>
                <a:moveTo>
                  <a:pt x="164711" y="600003"/>
                </a:moveTo>
                <a:cubicBezTo>
                  <a:pt x="187331" y="600003"/>
                  <a:pt x="205669" y="618341"/>
                  <a:pt x="205669" y="640961"/>
                </a:cubicBezTo>
                <a:cubicBezTo>
                  <a:pt x="205669" y="663581"/>
                  <a:pt x="187331" y="681919"/>
                  <a:pt x="164711" y="681919"/>
                </a:cubicBezTo>
                <a:cubicBezTo>
                  <a:pt x="142091" y="681919"/>
                  <a:pt x="123753" y="663581"/>
                  <a:pt x="123753" y="640961"/>
                </a:cubicBezTo>
                <a:cubicBezTo>
                  <a:pt x="123753" y="618341"/>
                  <a:pt x="142091" y="600003"/>
                  <a:pt x="164711" y="600003"/>
                </a:cubicBezTo>
                <a:close/>
                <a:moveTo>
                  <a:pt x="22789" y="600003"/>
                </a:moveTo>
                <a:cubicBezTo>
                  <a:pt x="45409" y="600003"/>
                  <a:pt x="63747" y="618341"/>
                  <a:pt x="63747" y="640961"/>
                </a:cubicBezTo>
                <a:cubicBezTo>
                  <a:pt x="63747" y="663581"/>
                  <a:pt x="45409" y="681919"/>
                  <a:pt x="22789" y="681919"/>
                </a:cubicBezTo>
                <a:lnTo>
                  <a:pt x="0" y="672479"/>
                </a:lnTo>
                <a:lnTo>
                  <a:pt x="0" y="609443"/>
                </a:lnTo>
                <a:close/>
                <a:moveTo>
                  <a:pt x="590479" y="441888"/>
                </a:moveTo>
                <a:cubicBezTo>
                  <a:pt x="613099" y="441888"/>
                  <a:pt x="631437" y="460226"/>
                  <a:pt x="631437" y="482846"/>
                </a:cubicBezTo>
                <a:cubicBezTo>
                  <a:pt x="631437" y="505466"/>
                  <a:pt x="613099" y="523804"/>
                  <a:pt x="590479" y="523804"/>
                </a:cubicBezTo>
                <a:cubicBezTo>
                  <a:pt x="567859" y="523804"/>
                  <a:pt x="549521" y="505466"/>
                  <a:pt x="549521" y="482846"/>
                </a:cubicBezTo>
                <a:cubicBezTo>
                  <a:pt x="549521" y="460226"/>
                  <a:pt x="567859" y="441888"/>
                  <a:pt x="590479" y="441888"/>
                </a:cubicBezTo>
                <a:close/>
                <a:moveTo>
                  <a:pt x="448555" y="441888"/>
                </a:moveTo>
                <a:cubicBezTo>
                  <a:pt x="471175" y="441888"/>
                  <a:pt x="489513" y="460226"/>
                  <a:pt x="489513" y="482846"/>
                </a:cubicBezTo>
                <a:cubicBezTo>
                  <a:pt x="489513" y="505466"/>
                  <a:pt x="471175" y="523804"/>
                  <a:pt x="448555" y="523804"/>
                </a:cubicBezTo>
                <a:cubicBezTo>
                  <a:pt x="425935" y="523804"/>
                  <a:pt x="407597" y="505466"/>
                  <a:pt x="407597" y="482846"/>
                </a:cubicBezTo>
                <a:cubicBezTo>
                  <a:pt x="407597" y="460226"/>
                  <a:pt x="425935" y="441888"/>
                  <a:pt x="448555" y="441888"/>
                </a:cubicBezTo>
                <a:close/>
                <a:moveTo>
                  <a:pt x="306633" y="441888"/>
                </a:moveTo>
                <a:cubicBezTo>
                  <a:pt x="329253" y="441888"/>
                  <a:pt x="347591" y="460226"/>
                  <a:pt x="347591" y="482846"/>
                </a:cubicBezTo>
                <a:cubicBezTo>
                  <a:pt x="347591" y="505466"/>
                  <a:pt x="329253" y="523804"/>
                  <a:pt x="306633" y="523804"/>
                </a:cubicBezTo>
                <a:cubicBezTo>
                  <a:pt x="284013" y="523804"/>
                  <a:pt x="265675" y="505466"/>
                  <a:pt x="265675" y="482846"/>
                </a:cubicBezTo>
                <a:cubicBezTo>
                  <a:pt x="265675" y="460226"/>
                  <a:pt x="284013" y="441888"/>
                  <a:pt x="306633" y="441888"/>
                </a:cubicBezTo>
                <a:close/>
                <a:moveTo>
                  <a:pt x="164711" y="441888"/>
                </a:moveTo>
                <a:cubicBezTo>
                  <a:pt x="187331" y="441888"/>
                  <a:pt x="205669" y="460226"/>
                  <a:pt x="205669" y="482846"/>
                </a:cubicBezTo>
                <a:cubicBezTo>
                  <a:pt x="205669" y="505466"/>
                  <a:pt x="187331" y="523804"/>
                  <a:pt x="164711" y="523804"/>
                </a:cubicBezTo>
                <a:cubicBezTo>
                  <a:pt x="142091" y="523804"/>
                  <a:pt x="123753" y="505466"/>
                  <a:pt x="123753" y="482846"/>
                </a:cubicBezTo>
                <a:cubicBezTo>
                  <a:pt x="123753" y="460226"/>
                  <a:pt x="142091" y="441888"/>
                  <a:pt x="164711" y="441888"/>
                </a:cubicBezTo>
                <a:close/>
                <a:moveTo>
                  <a:pt x="22789" y="441888"/>
                </a:moveTo>
                <a:cubicBezTo>
                  <a:pt x="45409" y="441888"/>
                  <a:pt x="63747" y="460226"/>
                  <a:pt x="63747" y="482846"/>
                </a:cubicBezTo>
                <a:cubicBezTo>
                  <a:pt x="63747" y="505466"/>
                  <a:pt x="45409" y="523804"/>
                  <a:pt x="22789" y="523804"/>
                </a:cubicBezTo>
                <a:lnTo>
                  <a:pt x="0" y="514364"/>
                </a:lnTo>
                <a:lnTo>
                  <a:pt x="0" y="451328"/>
                </a:lnTo>
                <a:close/>
                <a:moveTo>
                  <a:pt x="590479" y="283773"/>
                </a:moveTo>
                <a:cubicBezTo>
                  <a:pt x="613099" y="283773"/>
                  <a:pt x="631437" y="302111"/>
                  <a:pt x="631437" y="324731"/>
                </a:cubicBezTo>
                <a:cubicBezTo>
                  <a:pt x="631437" y="347351"/>
                  <a:pt x="613099" y="365689"/>
                  <a:pt x="590479" y="365689"/>
                </a:cubicBezTo>
                <a:cubicBezTo>
                  <a:pt x="567859" y="365689"/>
                  <a:pt x="549521" y="347351"/>
                  <a:pt x="549521" y="324731"/>
                </a:cubicBezTo>
                <a:cubicBezTo>
                  <a:pt x="549521" y="302111"/>
                  <a:pt x="567859" y="283773"/>
                  <a:pt x="590479" y="283773"/>
                </a:cubicBezTo>
                <a:close/>
                <a:moveTo>
                  <a:pt x="448555" y="283773"/>
                </a:moveTo>
                <a:cubicBezTo>
                  <a:pt x="471175" y="283773"/>
                  <a:pt x="489513" y="302111"/>
                  <a:pt x="489513" y="324731"/>
                </a:cubicBezTo>
                <a:cubicBezTo>
                  <a:pt x="489513" y="347351"/>
                  <a:pt x="471175" y="365689"/>
                  <a:pt x="448555" y="365689"/>
                </a:cubicBezTo>
                <a:cubicBezTo>
                  <a:pt x="425935" y="365689"/>
                  <a:pt x="407597" y="347351"/>
                  <a:pt x="407597" y="324731"/>
                </a:cubicBezTo>
                <a:cubicBezTo>
                  <a:pt x="407597" y="302111"/>
                  <a:pt x="425935" y="283773"/>
                  <a:pt x="448555" y="283773"/>
                </a:cubicBezTo>
                <a:close/>
                <a:moveTo>
                  <a:pt x="306633" y="283773"/>
                </a:moveTo>
                <a:cubicBezTo>
                  <a:pt x="329253" y="283773"/>
                  <a:pt x="347591" y="302111"/>
                  <a:pt x="347591" y="324731"/>
                </a:cubicBezTo>
                <a:cubicBezTo>
                  <a:pt x="347591" y="347351"/>
                  <a:pt x="329253" y="365689"/>
                  <a:pt x="306633" y="365689"/>
                </a:cubicBezTo>
                <a:cubicBezTo>
                  <a:pt x="284013" y="365689"/>
                  <a:pt x="265675" y="347351"/>
                  <a:pt x="265675" y="324731"/>
                </a:cubicBezTo>
                <a:cubicBezTo>
                  <a:pt x="265675" y="302111"/>
                  <a:pt x="284013" y="283773"/>
                  <a:pt x="306633" y="283773"/>
                </a:cubicBezTo>
                <a:close/>
                <a:moveTo>
                  <a:pt x="164711" y="283773"/>
                </a:moveTo>
                <a:cubicBezTo>
                  <a:pt x="187331" y="283773"/>
                  <a:pt x="205669" y="302111"/>
                  <a:pt x="205669" y="324731"/>
                </a:cubicBezTo>
                <a:cubicBezTo>
                  <a:pt x="205669" y="347351"/>
                  <a:pt x="187331" y="365689"/>
                  <a:pt x="164711" y="365689"/>
                </a:cubicBezTo>
                <a:cubicBezTo>
                  <a:pt x="142091" y="365689"/>
                  <a:pt x="123753" y="347351"/>
                  <a:pt x="123753" y="324731"/>
                </a:cubicBezTo>
                <a:cubicBezTo>
                  <a:pt x="123753" y="302111"/>
                  <a:pt x="142091" y="283773"/>
                  <a:pt x="164711" y="283773"/>
                </a:cubicBezTo>
                <a:close/>
                <a:moveTo>
                  <a:pt x="22789" y="283773"/>
                </a:moveTo>
                <a:cubicBezTo>
                  <a:pt x="45409" y="283773"/>
                  <a:pt x="63747" y="302111"/>
                  <a:pt x="63747" y="324731"/>
                </a:cubicBezTo>
                <a:cubicBezTo>
                  <a:pt x="63747" y="347351"/>
                  <a:pt x="45409" y="365689"/>
                  <a:pt x="22789" y="365689"/>
                </a:cubicBezTo>
                <a:lnTo>
                  <a:pt x="0" y="356249"/>
                </a:lnTo>
                <a:lnTo>
                  <a:pt x="0" y="293213"/>
                </a:lnTo>
                <a:close/>
                <a:moveTo>
                  <a:pt x="448555" y="125658"/>
                </a:moveTo>
                <a:cubicBezTo>
                  <a:pt x="471175" y="125658"/>
                  <a:pt x="489513" y="143996"/>
                  <a:pt x="489513" y="166616"/>
                </a:cubicBezTo>
                <a:cubicBezTo>
                  <a:pt x="489513" y="189236"/>
                  <a:pt x="471175" y="207574"/>
                  <a:pt x="448555" y="207574"/>
                </a:cubicBezTo>
                <a:cubicBezTo>
                  <a:pt x="425935" y="207574"/>
                  <a:pt x="407597" y="189236"/>
                  <a:pt x="407597" y="166616"/>
                </a:cubicBezTo>
                <a:cubicBezTo>
                  <a:pt x="407597" y="143996"/>
                  <a:pt x="425935" y="125658"/>
                  <a:pt x="448555" y="125658"/>
                </a:cubicBezTo>
                <a:close/>
                <a:moveTo>
                  <a:pt x="306633" y="125658"/>
                </a:moveTo>
                <a:cubicBezTo>
                  <a:pt x="329253" y="125658"/>
                  <a:pt x="347591" y="143996"/>
                  <a:pt x="347591" y="166616"/>
                </a:cubicBezTo>
                <a:cubicBezTo>
                  <a:pt x="347591" y="189236"/>
                  <a:pt x="329253" y="207574"/>
                  <a:pt x="306633" y="207574"/>
                </a:cubicBezTo>
                <a:cubicBezTo>
                  <a:pt x="284013" y="207574"/>
                  <a:pt x="265675" y="189236"/>
                  <a:pt x="265675" y="166616"/>
                </a:cubicBezTo>
                <a:cubicBezTo>
                  <a:pt x="265675" y="143996"/>
                  <a:pt x="284013" y="125658"/>
                  <a:pt x="306633" y="125658"/>
                </a:cubicBezTo>
                <a:close/>
                <a:moveTo>
                  <a:pt x="164711" y="125658"/>
                </a:moveTo>
                <a:cubicBezTo>
                  <a:pt x="187331" y="125658"/>
                  <a:pt x="205669" y="143996"/>
                  <a:pt x="205669" y="166616"/>
                </a:cubicBezTo>
                <a:cubicBezTo>
                  <a:pt x="205669" y="189236"/>
                  <a:pt x="187331" y="207574"/>
                  <a:pt x="164711" y="207574"/>
                </a:cubicBezTo>
                <a:cubicBezTo>
                  <a:pt x="142091" y="207574"/>
                  <a:pt x="123753" y="189236"/>
                  <a:pt x="123753" y="166616"/>
                </a:cubicBezTo>
                <a:cubicBezTo>
                  <a:pt x="123753" y="143996"/>
                  <a:pt x="142091" y="125658"/>
                  <a:pt x="164711" y="125658"/>
                </a:cubicBezTo>
                <a:close/>
                <a:moveTo>
                  <a:pt x="22789" y="125658"/>
                </a:moveTo>
                <a:cubicBezTo>
                  <a:pt x="45409" y="125658"/>
                  <a:pt x="63747" y="143996"/>
                  <a:pt x="63747" y="166616"/>
                </a:cubicBezTo>
                <a:cubicBezTo>
                  <a:pt x="63747" y="189236"/>
                  <a:pt x="45409" y="207574"/>
                  <a:pt x="22789" y="207574"/>
                </a:cubicBezTo>
                <a:lnTo>
                  <a:pt x="0" y="198134"/>
                </a:lnTo>
                <a:lnTo>
                  <a:pt x="0" y="135098"/>
                </a:lnTo>
                <a:close/>
                <a:moveTo>
                  <a:pt x="590479" y="125658"/>
                </a:moveTo>
                <a:cubicBezTo>
                  <a:pt x="613099" y="125658"/>
                  <a:pt x="631437" y="143996"/>
                  <a:pt x="631437" y="166616"/>
                </a:cubicBezTo>
                <a:cubicBezTo>
                  <a:pt x="631437" y="189236"/>
                  <a:pt x="613099" y="207574"/>
                  <a:pt x="590479" y="207574"/>
                </a:cubicBezTo>
                <a:cubicBezTo>
                  <a:pt x="567859" y="207574"/>
                  <a:pt x="549521" y="189236"/>
                  <a:pt x="549521" y="166616"/>
                </a:cubicBezTo>
                <a:cubicBezTo>
                  <a:pt x="549521" y="143996"/>
                  <a:pt x="567859" y="125658"/>
                  <a:pt x="590479" y="125658"/>
                </a:cubicBezTo>
                <a:close/>
                <a:moveTo>
                  <a:pt x="553042" y="0"/>
                </a:moveTo>
                <a:lnTo>
                  <a:pt x="627916" y="0"/>
                </a:lnTo>
                <a:lnTo>
                  <a:pt x="631437" y="8501"/>
                </a:lnTo>
                <a:cubicBezTo>
                  <a:pt x="631437" y="31121"/>
                  <a:pt x="613099" y="49459"/>
                  <a:pt x="590479" y="49459"/>
                </a:cubicBezTo>
                <a:cubicBezTo>
                  <a:pt x="567859" y="49459"/>
                  <a:pt x="549521" y="31121"/>
                  <a:pt x="549521" y="8501"/>
                </a:cubicBezTo>
                <a:close/>
                <a:moveTo>
                  <a:pt x="411118" y="0"/>
                </a:moveTo>
                <a:lnTo>
                  <a:pt x="485992" y="0"/>
                </a:lnTo>
                <a:lnTo>
                  <a:pt x="489513" y="8501"/>
                </a:lnTo>
                <a:cubicBezTo>
                  <a:pt x="489513" y="31121"/>
                  <a:pt x="471175" y="49459"/>
                  <a:pt x="448555" y="49459"/>
                </a:cubicBezTo>
                <a:cubicBezTo>
                  <a:pt x="425935" y="49459"/>
                  <a:pt x="407597" y="31121"/>
                  <a:pt x="407597" y="8501"/>
                </a:cubicBezTo>
                <a:close/>
                <a:moveTo>
                  <a:pt x="269196" y="0"/>
                </a:moveTo>
                <a:lnTo>
                  <a:pt x="344070" y="0"/>
                </a:lnTo>
                <a:lnTo>
                  <a:pt x="347591" y="8501"/>
                </a:lnTo>
                <a:cubicBezTo>
                  <a:pt x="347591" y="31121"/>
                  <a:pt x="329253" y="49459"/>
                  <a:pt x="306633" y="49459"/>
                </a:cubicBezTo>
                <a:cubicBezTo>
                  <a:pt x="284013" y="49459"/>
                  <a:pt x="265675" y="31121"/>
                  <a:pt x="265675" y="8501"/>
                </a:cubicBezTo>
                <a:close/>
                <a:moveTo>
                  <a:pt x="127274" y="0"/>
                </a:moveTo>
                <a:lnTo>
                  <a:pt x="202148" y="0"/>
                </a:lnTo>
                <a:lnTo>
                  <a:pt x="205669" y="8501"/>
                </a:lnTo>
                <a:cubicBezTo>
                  <a:pt x="205669" y="31121"/>
                  <a:pt x="187331" y="49459"/>
                  <a:pt x="164711" y="49459"/>
                </a:cubicBezTo>
                <a:cubicBezTo>
                  <a:pt x="142091" y="49459"/>
                  <a:pt x="123753" y="31121"/>
                  <a:pt x="123753" y="8501"/>
                </a:cubicBezTo>
                <a:close/>
                <a:moveTo>
                  <a:pt x="0" y="0"/>
                </a:moveTo>
                <a:lnTo>
                  <a:pt x="60226" y="0"/>
                </a:lnTo>
                <a:lnTo>
                  <a:pt x="63747" y="8501"/>
                </a:lnTo>
                <a:cubicBezTo>
                  <a:pt x="63747" y="31121"/>
                  <a:pt x="45409" y="49459"/>
                  <a:pt x="22789" y="49459"/>
                </a:cubicBezTo>
                <a:lnTo>
                  <a:pt x="0" y="40019"/>
                </a:lnTo>
                <a:close/>
              </a:path>
            </a:pathLst>
          </a:custGeom>
          <a:gradFill flip="none" rotWithShape="1">
            <a:gsLst>
              <a:gs pos="6000">
                <a:srgbClr val="FE832C"/>
              </a:gs>
              <a:gs pos="61000">
                <a:srgbClr val="FFCEAB"/>
              </a:gs>
              <a:gs pos="0">
                <a:srgbClr val="EA5504"/>
              </a:gs>
              <a:gs pos="100000">
                <a:srgbClr val="FBE9D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grpSp>
        <p:nvGrpSpPr>
          <p:cNvPr id="14" name="组合 13"/>
          <p:cNvGrpSpPr/>
          <p:nvPr userDrawn="1"/>
        </p:nvGrpSpPr>
        <p:grpSpPr>
          <a:xfrm>
            <a:off x="741424" y="571834"/>
            <a:ext cx="2812005" cy="468667"/>
            <a:chOff x="660400" y="492126"/>
            <a:chExt cx="3257550" cy="542924"/>
          </a:xfrm>
        </p:grpSpPr>
        <p:sp>
          <p:nvSpPr>
            <p:cNvPr id="15" name="Freeform 5"/>
            <p:cNvSpPr>
              <a:spLocks noEditPoints="1"/>
            </p:cNvSpPr>
            <p:nvPr/>
          </p:nvSpPr>
          <p:spPr bwMode="auto">
            <a:xfrm>
              <a:off x="660400" y="492126"/>
              <a:ext cx="3257550" cy="285750"/>
            </a:xfrm>
            <a:custGeom>
              <a:avLst/>
              <a:gdLst>
                <a:gd name="T0" fmla="*/ 1282 w 1998"/>
                <a:gd name="T1" fmla="*/ 16 h 174"/>
                <a:gd name="T2" fmla="*/ 1247 w 1998"/>
                <a:gd name="T3" fmla="*/ 166 h 174"/>
                <a:gd name="T4" fmla="*/ 1376 w 1998"/>
                <a:gd name="T5" fmla="*/ 167 h 174"/>
                <a:gd name="T6" fmla="*/ 1409 w 1998"/>
                <a:gd name="T7" fmla="*/ 17 h 174"/>
                <a:gd name="T8" fmla="*/ 1184 w 1998"/>
                <a:gd name="T9" fmla="*/ 166 h 174"/>
                <a:gd name="T10" fmla="*/ 1214 w 1998"/>
                <a:gd name="T11" fmla="*/ 13 h 174"/>
                <a:gd name="T12" fmla="*/ 1122 w 1998"/>
                <a:gd name="T13" fmla="*/ 41 h 174"/>
                <a:gd name="T14" fmla="*/ 1007 w 1998"/>
                <a:gd name="T15" fmla="*/ 17 h 174"/>
                <a:gd name="T16" fmla="*/ 1042 w 1998"/>
                <a:gd name="T17" fmla="*/ 122 h 174"/>
                <a:gd name="T18" fmla="*/ 1994 w 1998"/>
                <a:gd name="T19" fmla="*/ 13 h 174"/>
                <a:gd name="T20" fmla="*/ 1863 w 1998"/>
                <a:gd name="T21" fmla="*/ 13 h 174"/>
                <a:gd name="T22" fmla="*/ 1840 w 1998"/>
                <a:gd name="T23" fmla="*/ 170 h 174"/>
                <a:gd name="T24" fmla="*/ 1971 w 1998"/>
                <a:gd name="T25" fmla="*/ 170 h 174"/>
                <a:gd name="T26" fmla="*/ 1994 w 1998"/>
                <a:gd name="T27" fmla="*/ 13 h 174"/>
                <a:gd name="T28" fmla="*/ 1488 w 1998"/>
                <a:gd name="T29" fmla="*/ 172 h 174"/>
                <a:gd name="T30" fmla="*/ 1513 w 1998"/>
                <a:gd name="T31" fmla="*/ 104 h 174"/>
                <a:gd name="T32" fmla="*/ 1471 w 1998"/>
                <a:gd name="T33" fmla="*/ 142 h 174"/>
                <a:gd name="T34" fmla="*/ 1562 w 1998"/>
                <a:gd name="T35" fmla="*/ 44 h 174"/>
                <a:gd name="T36" fmla="*/ 1596 w 1998"/>
                <a:gd name="T37" fmla="*/ 58 h 174"/>
                <a:gd name="T38" fmla="*/ 767 w 1998"/>
                <a:gd name="T39" fmla="*/ 112 h 174"/>
                <a:gd name="T40" fmla="*/ 894 w 1998"/>
                <a:gd name="T41" fmla="*/ 65 h 174"/>
                <a:gd name="T42" fmla="*/ 832 w 1998"/>
                <a:gd name="T43" fmla="*/ 51 h 174"/>
                <a:gd name="T44" fmla="*/ 731 w 1998"/>
                <a:gd name="T45" fmla="*/ 48 h 174"/>
                <a:gd name="T46" fmla="*/ 692 w 1998"/>
                <a:gd name="T47" fmla="*/ 85 h 174"/>
                <a:gd name="T48" fmla="*/ 767 w 1998"/>
                <a:gd name="T49" fmla="*/ 138 h 174"/>
                <a:gd name="T50" fmla="*/ 700 w 1998"/>
                <a:gd name="T51" fmla="*/ 170 h 174"/>
                <a:gd name="T52" fmla="*/ 859 w 1998"/>
                <a:gd name="T53" fmla="*/ 170 h 174"/>
                <a:gd name="T54" fmla="*/ 859 w 1998"/>
                <a:gd name="T55" fmla="*/ 146 h 174"/>
                <a:gd name="T56" fmla="*/ 894 w 1998"/>
                <a:gd name="T57" fmla="*/ 89 h 174"/>
                <a:gd name="T58" fmla="*/ 1740 w 1998"/>
                <a:gd name="T59" fmla="*/ 13 h 174"/>
                <a:gd name="T60" fmla="*/ 1663 w 1998"/>
                <a:gd name="T61" fmla="*/ 170 h 174"/>
                <a:gd name="T62" fmla="*/ 1816 w 1998"/>
                <a:gd name="T63" fmla="*/ 170 h 174"/>
                <a:gd name="T64" fmla="*/ 597 w 1998"/>
                <a:gd name="T65" fmla="*/ 98 h 174"/>
                <a:gd name="T66" fmla="*/ 654 w 1998"/>
                <a:gd name="T67" fmla="*/ 46 h 174"/>
                <a:gd name="T68" fmla="*/ 416 w 1998"/>
                <a:gd name="T69" fmla="*/ 28 h 174"/>
                <a:gd name="T70" fmla="*/ 239 w 1998"/>
                <a:gd name="T71" fmla="*/ 148 h 174"/>
                <a:gd name="T72" fmla="*/ 423 w 1998"/>
                <a:gd name="T73" fmla="*/ 6 h 174"/>
                <a:gd name="T74" fmla="*/ 872 w 1998"/>
                <a:gd name="T75" fmla="*/ 34 h 174"/>
                <a:gd name="T76" fmla="*/ 897 w 1998"/>
                <a:gd name="T77" fmla="*/ 32 h 174"/>
                <a:gd name="T78" fmla="*/ 782 w 1998"/>
                <a:gd name="T79" fmla="*/ 0 h 174"/>
                <a:gd name="T80" fmla="*/ 693 w 1998"/>
                <a:gd name="T81" fmla="*/ 45 h 174"/>
                <a:gd name="T82" fmla="*/ 179 w 1998"/>
                <a:gd name="T83" fmla="*/ 49 h 174"/>
                <a:gd name="T84" fmla="*/ 88 w 1998"/>
                <a:gd name="T85" fmla="*/ 49 h 174"/>
                <a:gd name="T86" fmla="*/ 118 w 1998"/>
                <a:gd name="T87" fmla="*/ 1 h 174"/>
                <a:gd name="T88" fmla="*/ 0 w 1998"/>
                <a:gd name="T89" fmla="*/ 46 h 174"/>
                <a:gd name="T90" fmla="*/ 91 w 1998"/>
                <a:gd name="T91" fmla="*/ 174 h 174"/>
                <a:gd name="T92" fmla="*/ 210 w 1998"/>
                <a:gd name="T93" fmla="*/ 118 h 174"/>
                <a:gd name="T94" fmla="*/ 379 w 1998"/>
                <a:gd name="T95" fmla="*/ 112 h 174"/>
                <a:gd name="T96" fmla="*/ 357 w 1998"/>
                <a:gd name="T97" fmla="*/ 75 h 174"/>
                <a:gd name="T98" fmla="*/ 284 w 1998"/>
                <a:gd name="T99" fmla="*/ 61 h 174"/>
                <a:gd name="T100" fmla="*/ 328 w 1998"/>
                <a:gd name="T101" fmla="*/ 93 h 174"/>
                <a:gd name="T102" fmla="*/ 401 w 1998"/>
                <a:gd name="T103" fmla="*/ 104 h 174"/>
                <a:gd name="T104" fmla="*/ 512 w 1998"/>
                <a:gd name="T105" fmla="*/ 46 h 174"/>
                <a:gd name="T106" fmla="*/ 669 w 1998"/>
                <a:gd name="T107" fmla="*/ 115 h 174"/>
                <a:gd name="T108" fmla="*/ 666 w 1998"/>
                <a:gd name="T109" fmla="*/ 14 h 174"/>
                <a:gd name="T110" fmla="*/ 479 w 1998"/>
                <a:gd name="T111" fmla="*/ 33 h 174"/>
                <a:gd name="T112" fmla="*/ 469 w 1998"/>
                <a:gd name="T113" fmla="*/ 135 h 174"/>
                <a:gd name="T114" fmla="*/ 583 w 1998"/>
                <a:gd name="T115" fmla="*/ 174 h 174"/>
                <a:gd name="T116" fmla="*/ 673 w 1998"/>
                <a:gd name="T117" fmla="*/ 119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98" h="174">
                  <a:moveTo>
                    <a:pt x="1405" y="13"/>
                  </a:moveTo>
                  <a:cubicBezTo>
                    <a:pt x="1382" y="13"/>
                    <a:pt x="1382" y="13"/>
                    <a:pt x="1382" y="13"/>
                  </a:cubicBezTo>
                  <a:cubicBezTo>
                    <a:pt x="1379" y="13"/>
                    <a:pt x="1378" y="15"/>
                    <a:pt x="1378" y="17"/>
                  </a:cubicBezTo>
                  <a:cubicBezTo>
                    <a:pt x="1378" y="125"/>
                    <a:pt x="1378" y="125"/>
                    <a:pt x="1378" y="125"/>
                  </a:cubicBezTo>
                  <a:cubicBezTo>
                    <a:pt x="1365" y="111"/>
                    <a:pt x="1284" y="18"/>
                    <a:pt x="1282" y="16"/>
                  </a:cubicBezTo>
                  <a:cubicBezTo>
                    <a:pt x="1279" y="13"/>
                    <a:pt x="1276" y="13"/>
                    <a:pt x="1275" y="13"/>
                  </a:cubicBezTo>
                  <a:cubicBezTo>
                    <a:pt x="1275" y="13"/>
                    <a:pt x="1275" y="13"/>
                    <a:pt x="1275" y="13"/>
                  </a:cubicBezTo>
                  <a:cubicBezTo>
                    <a:pt x="1251" y="13"/>
                    <a:pt x="1251" y="13"/>
                    <a:pt x="1251" y="13"/>
                  </a:cubicBezTo>
                  <a:cubicBezTo>
                    <a:pt x="1249" y="13"/>
                    <a:pt x="1247" y="15"/>
                    <a:pt x="1247" y="17"/>
                  </a:cubicBezTo>
                  <a:cubicBezTo>
                    <a:pt x="1247" y="166"/>
                    <a:pt x="1247" y="166"/>
                    <a:pt x="1247" y="166"/>
                  </a:cubicBezTo>
                  <a:cubicBezTo>
                    <a:pt x="1247" y="168"/>
                    <a:pt x="1249" y="170"/>
                    <a:pt x="1251" y="170"/>
                  </a:cubicBezTo>
                  <a:cubicBezTo>
                    <a:pt x="1275" y="170"/>
                    <a:pt x="1275" y="170"/>
                    <a:pt x="1275" y="170"/>
                  </a:cubicBezTo>
                  <a:cubicBezTo>
                    <a:pt x="1277" y="170"/>
                    <a:pt x="1279" y="168"/>
                    <a:pt x="1279" y="166"/>
                  </a:cubicBezTo>
                  <a:cubicBezTo>
                    <a:pt x="1279" y="57"/>
                    <a:pt x="1279" y="57"/>
                    <a:pt x="1279" y="57"/>
                  </a:cubicBezTo>
                  <a:cubicBezTo>
                    <a:pt x="1287" y="67"/>
                    <a:pt x="1373" y="165"/>
                    <a:pt x="1376" y="167"/>
                  </a:cubicBezTo>
                  <a:cubicBezTo>
                    <a:pt x="1378" y="169"/>
                    <a:pt x="1381" y="170"/>
                    <a:pt x="1383" y="170"/>
                  </a:cubicBezTo>
                  <a:cubicBezTo>
                    <a:pt x="1383" y="170"/>
                    <a:pt x="1383" y="170"/>
                    <a:pt x="1383" y="170"/>
                  </a:cubicBezTo>
                  <a:cubicBezTo>
                    <a:pt x="1405" y="170"/>
                    <a:pt x="1405" y="170"/>
                    <a:pt x="1405" y="170"/>
                  </a:cubicBezTo>
                  <a:cubicBezTo>
                    <a:pt x="1407" y="170"/>
                    <a:pt x="1409" y="168"/>
                    <a:pt x="1409" y="166"/>
                  </a:cubicBezTo>
                  <a:cubicBezTo>
                    <a:pt x="1409" y="17"/>
                    <a:pt x="1409" y="17"/>
                    <a:pt x="1409" y="17"/>
                  </a:cubicBezTo>
                  <a:cubicBezTo>
                    <a:pt x="1409" y="15"/>
                    <a:pt x="1407" y="13"/>
                    <a:pt x="1405" y="13"/>
                  </a:cubicBezTo>
                  <a:moveTo>
                    <a:pt x="1214" y="13"/>
                  </a:moveTo>
                  <a:cubicBezTo>
                    <a:pt x="1188" y="13"/>
                    <a:pt x="1188" y="13"/>
                    <a:pt x="1188" y="13"/>
                  </a:cubicBezTo>
                  <a:cubicBezTo>
                    <a:pt x="1186" y="13"/>
                    <a:pt x="1184" y="15"/>
                    <a:pt x="1184" y="17"/>
                  </a:cubicBezTo>
                  <a:cubicBezTo>
                    <a:pt x="1184" y="166"/>
                    <a:pt x="1184" y="166"/>
                    <a:pt x="1184" y="166"/>
                  </a:cubicBezTo>
                  <a:cubicBezTo>
                    <a:pt x="1184" y="168"/>
                    <a:pt x="1186" y="170"/>
                    <a:pt x="1188" y="170"/>
                  </a:cubicBezTo>
                  <a:cubicBezTo>
                    <a:pt x="1214" y="170"/>
                    <a:pt x="1214" y="170"/>
                    <a:pt x="1214" y="170"/>
                  </a:cubicBezTo>
                  <a:cubicBezTo>
                    <a:pt x="1216" y="170"/>
                    <a:pt x="1218" y="168"/>
                    <a:pt x="1218" y="166"/>
                  </a:cubicBezTo>
                  <a:cubicBezTo>
                    <a:pt x="1218" y="17"/>
                    <a:pt x="1218" y="17"/>
                    <a:pt x="1218" y="17"/>
                  </a:cubicBezTo>
                  <a:cubicBezTo>
                    <a:pt x="1218" y="15"/>
                    <a:pt x="1216" y="13"/>
                    <a:pt x="1214" y="13"/>
                  </a:cubicBezTo>
                  <a:moveTo>
                    <a:pt x="1125" y="91"/>
                  </a:moveTo>
                  <a:cubicBezTo>
                    <a:pt x="1125" y="93"/>
                    <a:pt x="1124" y="94"/>
                    <a:pt x="1122" y="94"/>
                  </a:cubicBezTo>
                  <a:cubicBezTo>
                    <a:pt x="1042" y="94"/>
                    <a:pt x="1042" y="94"/>
                    <a:pt x="1042" y="94"/>
                  </a:cubicBezTo>
                  <a:cubicBezTo>
                    <a:pt x="1042" y="41"/>
                    <a:pt x="1042" y="41"/>
                    <a:pt x="1042" y="41"/>
                  </a:cubicBezTo>
                  <a:cubicBezTo>
                    <a:pt x="1122" y="41"/>
                    <a:pt x="1122" y="41"/>
                    <a:pt x="1122" y="41"/>
                  </a:cubicBezTo>
                  <a:cubicBezTo>
                    <a:pt x="1124" y="41"/>
                    <a:pt x="1125" y="42"/>
                    <a:pt x="1125" y="44"/>
                  </a:cubicBezTo>
                  <a:lnTo>
                    <a:pt x="1125" y="91"/>
                  </a:lnTo>
                  <a:close/>
                  <a:moveTo>
                    <a:pt x="1108" y="13"/>
                  </a:moveTo>
                  <a:cubicBezTo>
                    <a:pt x="1011" y="13"/>
                    <a:pt x="1011" y="13"/>
                    <a:pt x="1011" y="13"/>
                  </a:cubicBezTo>
                  <a:cubicBezTo>
                    <a:pt x="1009" y="13"/>
                    <a:pt x="1007" y="15"/>
                    <a:pt x="1007" y="17"/>
                  </a:cubicBezTo>
                  <a:cubicBezTo>
                    <a:pt x="1007" y="166"/>
                    <a:pt x="1007" y="166"/>
                    <a:pt x="1007" y="166"/>
                  </a:cubicBezTo>
                  <a:cubicBezTo>
                    <a:pt x="1007" y="168"/>
                    <a:pt x="1009" y="170"/>
                    <a:pt x="1011" y="170"/>
                  </a:cubicBezTo>
                  <a:cubicBezTo>
                    <a:pt x="1038" y="170"/>
                    <a:pt x="1038" y="170"/>
                    <a:pt x="1038" y="170"/>
                  </a:cubicBezTo>
                  <a:cubicBezTo>
                    <a:pt x="1040" y="170"/>
                    <a:pt x="1042" y="168"/>
                    <a:pt x="1042" y="166"/>
                  </a:cubicBezTo>
                  <a:cubicBezTo>
                    <a:pt x="1042" y="122"/>
                    <a:pt x="1042" y="122"/>
                    <a:pt x="1042" y="122"/>
                  </a:cubicBezTo>
                  <a:cubicBezTo>
                    <a:pt x="1108" y="122"/>
                    <a:pt x="1108" y="122"/>
                    <a:pt x="1108" y="122"/>
                  </a:cubicBezTo>
                  <a:cubicBezTo>
                    <a:pt x="1137" y="122"/>
                    <a:pt x="1161" y="104"/>
                    <a:pt x="1161" y="78"/>
                  </a:cubicBezTo>
                  <a:cubicBezTo>
                    <a:pt x="1161" y="61"/>
                    <a:pt x="1161" y="61"/>
                    <a:pt x="1161" y="61"/>
                  </a:cubicBezTo>
                  <a:cubicBezTo>
                    <a:pt x="1161" y="34"/>
                    <a:pt x="1137" y="13"/>
                    <a:pt x="1108" y="13"/>
                  </a:cubicBezTo>
                  <a:moveTo>
                    <a:pt x="1994" y="13"/>
                  </a:moveTo>
                  <a:cubicBezTo>
                    <a:pt x="1970" y="13"/>
                    <a:pt x="1970" y="13"/>
                    <a:pt x="1970" y="13"/>
                  </a:cubicBezTo>
                  <a:cubicBezTo>
                    <a:pt x="1968" y="13"/>
                    <a:pt x="1967" y="15"/>
                    <a:pt x="1967" y="17"/>
                  </a:cubicBezTo>
                  <a:cubicBezTo>
                    <a:pt x="1967" y="125"/>
                    <a:pt x="1967" y="125"/>
                    <a:pt x="1967" y="125"/>
                  </a:cubicBezTo>
                  <a:cubicBezTo>
                    <a:pt x="1954" y="111"/>
                    <a:pt x="1872" y="18"/>
                    <a:pt x="1870" y="16"/>
                  </a:cubicBezTo>
                  <a:cubicBezTo>
                    <a:pt x="1868" y="13"/>
                    <a:pt x="1865" y="13"/>
                    <a:pt x="1863" y="13"/>
                  </a:cubicBezTo>
                  <a:cubicBezTo>
                    <a:pt x="1863" y="13"/>
                    <a:pt x="1863" y="13"/>
                    <a:pt x="1863" y="13"/>
                  </a:cubicBezTo>
                  <a:cubicBezTo>
                    <a:pt x="1840" y="13"/>
                    <a:pt x="1840" y="13"/>
                    <a:pt x="1840" y="13"/>
                  </a:cubicBezTo>
                  <a:cubicBezTo>
                    <a:pt x="1838" y="13"/>
                    <a:pt x="1836" y="15"/>
                    <a:pt x="1836" y="17"/>
                  </a:cubicBezTo>
                  <a:cubicBezTo>
                    <a:pt x="1836" y="166"/>
                    <a:pt x="1836" y="166"/>
                    <a:pt x="1836" y="166"/>
                  </a:cubicBezTo>
                  <a:cubicBezTo>
                    <a:pt x="1836" y="168"/>
                    <a:pt x="1838" y="170"/>
                    <a:pt x="1840" y="170"/>
                  </a:cubicBezTo>
                  <a:cubicBezTo>
                    <a:pt x="1864" y="170"/>
                    <a:pt x="1864" y="170"/>
                    <a:pt x="1864" y="170"/>
                  </a:cubicBezTo>
                  <a:cubicBezTo>
                    <a:pt x="1866" y="170"/>
                    <a:pt x="1867" y="168"/>
                    <a:pt x="1867" y="166"/>
                  </a:cubicBezTo>
                  <a:cubicBezTo>
                    <a:pt x="1867" y="57"/>
                    <a:pt x="1867" y="57"/>
                    <a:pt x="1867" y="57"/>
                  </a:cubicBezTo>
                  <a:cubicBezTo>
                    <a:pt x="1876" y="67"/>
                    <a:pt x="1962" y="165"/>
                    <a:pt x="1964" y="167"/>
                  </a:cubicBezTo>
                  <a:cubicBezTo>
                    <a:pt x="1967" y="169"/>
                    <a:pt x="1969" y="170"/>
                    <a:pt x="1971" y="170"/>
                  </a:cubicBezTo>
                  <a:cubicBezTo>
                    <a:pt x="1971" y="170"/>
                    <a:pt x="1971" y="170"/>
                    <a:pt x="1971" y="170"/>
                  </a:cubicBezTo>
                  <a:cubicBezTo>
                    <a:pt x="1994" y="170"/>
                    <a:pt x="1994" y="170"/>
                    <a:pt x="1994" y="170"/>
                  </a:cubicBezTo>
                  <a:cubicBezTo>
                    <a:pt x="1996" y="170"/>
                    <a:pt x="1998" y="168"/>
                    <a:pt x="1998" y="166"/>
                  </a:cubicBezTo>
                  <a:cubicBezTo>
                    <a:pt x="1998" y="17"/>
                    <a:pt x="1998" y="17"/>
                    <a:pt x="1998" y="17"/>
                  </a:cubicBezTo>
                  <a:cubicBezTo>
                    <a:pt x="1998" y="15"/>
                    <a:pt x="1996" y="13"/>
                    <a:pt x="1994" y="13"/>
                  </a:cubicBezTo>
                  <a:moveTo>
                    <a:pt x="1542" y="11"/>
                  </a:moveTo>
                  <a:cubicBezTo>
                    <a:pt x="1488" y="11"/>
                    <a:pt x="1488" y="11"/>
                    <a:pt x="1488" y="11"/>
                  </a:cubicBezTo>
                  <a:cubicBezTo>
                    <a:pt x="1458" y="11"/>
                    <a:pt x="1434" y="32"/>
                    <a:pt x="1434" y="58"/>
                  </a:cubicBezTo>
                  <a:cubicBezTo>
                    <a:pt x="1434" y="124"/>
                    <a:pt x="1434" y="124"/>
                    <a:pt x="1434" y="124"/>
                  </a:cubicBezTo>
                  <a:cubicBezTo>
                    <a:pt x="1434" y="150"/>
                    <a:pt x="1458" y="172"/>
                    <a:pt x="1488" y="172"/>
                  </a:cubicBezTo>
                  <a:cubicBezTo>
                    <a:pt x="1542" y="172"/>
                    <a:pt x="1542" y="172"/>
                    <a:pt x="1542" y="172"/>
                  </a:cubicBezTo>
                  <a:cubicBezTo>
                    <a:pt x="1572" y="172"/>
                    <a:pt x="1596" y="150"/>
                    <a:pt x="1596" y="124"/>
                  </a:cubicBezTo>
                  <a:cubicBezTo>
                    <a:pt x="1596" y="82"/>
                    <a:pt x="1596" y="82"/>
                    <a:pt x="1596" y="82"/>
                  </a:cubicBezTo>
                  <a:cubicBezTo>
                    <a:pt x="1513" y="82"/>
                    <a:pt x="1513" y="82"/>
                    <a:pt x="1513" y="82"/>
                  </a:cubicBezTo>
                  <a:cubicBezTo>
                    <a:pt x="1513" y="104"/>
                    <a:pt x="1513" y="104"/>
                    <a:pt x="1513" y="104"/>
                  </a:cubicBezTo>
                  <a:cubicBezTo>
                    <a:pt x="1513" y="106"/>
                    <a:pt x="1515" y="108"/>
                    <a:pt x="1517" y="108"/>
                  </a:cubicBezTo>
                  <a:cubicBezTo>
                    <a:pt x="1562" y="108"/>
                    <a:pt x="1562" y="108"/>
                    <a:pt x="1562" y="108"/>
                  </a:cubicBezTo>
                  <a:cubicBezTo>
                    <a:pt x="1562" y="138"/>
                    <a:pt x="1562" y="138"/>
                    <a:pt x="1562" y="138"/>
                  </a:cubicBezTo>
                  <a:cubicBezTo>
                    <a:pt x="1562" y="140"/>
                    <a:pt x="1560" y="142"/>
                    <a:pt x="1558" y="142"/>
                  </a:cubicBezTo>
                  <a:cubicBezTo>
                    <a:pt x="1471" y="142"/>
                    <a:pt x="1471" y="142"/>
                    <a:pt x="1471" y="142"/>
                  </a:cubicBezTo>
                  <a:cubicBezTo>
                    <a:pt x="1469" y="142"/>
                    <a:pt x="1468" y="140"/>
                    <a:pt x="1468" y="138"/>
                  </a:cubicBezTo>
                  <a:cubicBezTo>
                    <a:pt x="1468" y="44"/>
                    <a:pt x="1468" y="44"/>
                    <a:pt x="1468" y="44"/>
                  </a:cubicBezTo>
                  <a:cubicBezTo>
                    <a:pt x="1468" y="42"/>
                    <a:pt x="1469" y="41"/>
                    <a:pt x="1471" y="41"/>
                  </a:cubicBezTo>
                  <a:cubicBezTo>
                    <a:pt x="1558" y="41"/>
                    <a:pt x="1558" y="41"/>
                    <a:pt x="1558" y="41"/>
                  </a:cubicBezTo>
                  <a:cubicBezTo>
                    <a:pt x="1560" y="41"/>
                    <a:pt x="1562" y="42"/>
                    <a:pt x="1562" y="44"/>
                  </a:cubicBezTo>
                  <a:cubicBezTo>
                    <a:pt x="1562" y="62"/>
                    <a:pt x="1562" y="62"/>
                    <a:pt x="1562" y="62"/>
                  </a:cubicBezTo>
                  <a:cubicBezTo>
                    <a:pt x="1562" y="64"/>
                    <a:pt x="1564" y="66"/>
                    <a:pt x="1566" y="66"/>
                  </a:cubicBezTo>
                  <a:cubicBezTo>
                    <a:pt x="1592" y="66"/>
                    <a:pt x="1592" y="66"/>
                    <a:pt x="1592" y="66"/>
                  </a:cubicBezTo>
                  <a:cubicBezTo>
                    <a:pt x="1594" y="66"/>
                    <a:pt x="1596" y="64"/>
                    <a:pt x="1596" y="62"/>
                  </a:cubicBezTo>
                  <a:cubicBezTo>
                    <a:pt x="1596" y="58"/>
                    <a:pt x="1596" y="58"/>
                    <a:pt x="1596" y="58"/>
                  </a:cubicBezTo>
                  <a:cubicBezTo>
                    <a:pt x="1596" y="32"/>
                    <a:pt x="1572" y="11"/>
                    <a:pt x="1542" y="11"/>
                  </a:cubicBezTo>
                  <a:moveTo>
                    <a:pt x="832" y="96"/>
                  </a:moveTo>
                  <a:cubicBezTo>
                    <a:pt x="832" y="103"/>
                    <a:pt x="831" y="108"/>
                    <a:pt x="823" y="112"/>
                  </a:cubicBezTo>
                  <a:cubicBezTo>
                    <a:pt x="816" y="115"/>
                    <a:pt x="805" y="121"/>
                    <a:pt x="795" y="125"/>
                  </a:cubicBezTo>
                  <a:cubicBezTo>
                    <a:pt x="785" y="121"/>
                    <a:pt x="774" y="115"/>
                    <a:pt x="767" y="112"/>
                  </a:cubicBezTo>
                  <a:cubicBezTo>
                    <a:pt x="758" y="108"/>
                    <a:pt x="757" y="103"/>
                    <a:pt x="757" y="96"/>
                  </a:cubicBezTo>
                  <a:cubicBezTo>
                    <a:pt x="757" y="89"/>
                    <a:pt x="757" y="89"/>
                    <a:pt x="757" y="89"/>
                  </a:cubicBezTo>
                  <a:cubicBezTo>
                    <a:pt x="832" y="89"/>
                    <a:pt x="832" y="89"/>
                    <a:pt x="832" y="89"/>
                  </a:cubicBezTo>
                  <a:lnTo>
                    <a:pt x="832" y="96"/>
                  </a:lnTo>
                  <a:close/>
                  <a:moveTo>
                    <a:pt x="894" y="65"/>
                  </a:moveTo>
                  <a:cubicBezTo>
                    <a:pt x="862" y="65"/>
                    <a:pt x="862" y="65"/>
                    <a:pt x="862" y="65"/>
                  </a:cubicBezTo>
                  <a:cubicBezTo>
                    <a:pt x="862" y="51"/>
                    <a:pt x="862" y="51"/>
                    <a:pt x="862" y="51"/>
                  </a:cubicBezTo>
                  <a:cubicBezTo>
                    <a:pt x="862" y="49"/>
                    <a:pt x="860" y="48"/>
                    <a:pt x="858" y="48"/>
                  </a:cubicBezTo>
                  <a:cubicBezTo>
                    <a:pt x="836" y="48"/>
                    <a:pt x="836" y="48"/>
                    <a:pt x="836" y="48"/>
                  </a:cubicBezTo>
                  <a:cubicBezTo>
                    <a:pt x="834" y="48"/>
                    <a:pt x="832" y="49"/>
                    <a:pt x="832" y="51"/>
                  </a:cubicBezTo>
                  <a:cubicBezTo>
                    <a:pt x="832" y="65"/>
                    <a:pt x="832" y="65"/>
                    <a:pt x="832" y="65"/>
                  </a:cubicBezTo>
                  <a:cubicBezTo>
                    <a:pt x="757" y="65"/>
                    <a:pt x="757" y="65"/>
                    <a:pt x="757" y="65"/>
                  </a:cubicBezTo>
                  <a:cubicBezTo>
                    <a:pt x="757" y="51"/>
                    <a:pt x="757" y="51"/>
                    <a:pt x="757" y="51"/>
                  </a:cubicBezTo>
                  <a:cubicBezTo>
                    <a:pt x="757" y="49"/>
                    <a:pt x="755" y="48"/>
                    <a:pt x="753" y="48"/>
                  </a:cubicBezTo>
                  <a:cubicBezTo>
                    <a:pt x="731" y="48"/>
                    <a:pt x="731" y="48"/>
                    <a:pt x="731" y="48"/>
                  </a:cubicBezTo>
                  <a:cubicBezTo>
                    <a:pt x="729" y="48"/>
                    <a:pt x="728" y="49"/>
                    <a:pt x="728" y="51"/>
                  </a:cubicBezTo>
                  <a:cubicBezTo>
                    <a:pt x="728" y="65"/>
                    <a:pt x="728" y="65"/>
                    <a:pt x="728" y="65"/>
                  </a:cubicBezTo>
                  <a:cubicBezTo>
                    <a:pt x="695" y="65"/>
                    <a:pt x="695" y="65"/>
                    <a:pt x="695" y="65"/>
                  </a:cubicBezTo>
                  <a:cubicBezTo>
                    <a:pt x="693" y="65"/>
                    <a:pt x="692" y="67"/>
                    <a:pt x="692" y="69"/>
                  </a:cubicBezTo>
                  <a:cubicBezTo>
                    <a:pt x="692" y="85"/>
                    <a:pt x="692" y="85"/>
                    <a:pt x="692" y="85"/>
                  </a:cubicBezTo>
                  <a:cubicBezTo>
                    <a:pt x="692" y="87"/>
                    <a:pt x="693" y="89"/>
                    <a:pt x="695" y="89"/>
                  </a:cubicBezTo>
                  <a:cubicBezTo>
                    <a:pt x="727" y="89"/>
                    <a:pt x="727" y="89"/>
                    <a:pt x="727" y="89"/>
                  </a:cubicBezTo>
                  <a:cubicBezTo>
                    <a:pt x="727" y="99"/>
                    <a:pt x="727" y="99"/>
                    <a:pt x="727" y="99"/>
                  </a:cubicBezTo>
                  <a:cubicBezTo>
                    <a:pt x="727" y="111"/>
                    <a:pt x="733" y="122"/>
                    <a:pt x="747" y="129"/>
                  </a:cubicBezTo>
                  <a:cubicBezTo>
                    <a:pt x="753" y="132"/>
                    <a:pt x="760" y="135"/>
                    <a:pt x="767" y="138"/>
                  </a:cubicBezTo>
                  <a:cubicBezTo>
                    <a:pt x="754" y="143"/>
                    <a:pt x="743" y="146"/>
                    <a:pt x="731" y="146"/>
                  </a:cubicBezTo>
                  <a:cubicBezTo>
                    <a:pt x="700" y="146"/>
                    <a:pt x="700" y="146"/>
                    <a:pt x="700" y="146"/>
                  </a:cubicBezTo>
                  <a:cubicBezTo>
                    <a:pt x="698" y="146"/>
                    <a:pt x="696" y="148"/>
                    <a:pt x="696" y="150"/>
                  </a:cubicBezTo>
                  <a:cubicBezTo>
                    <a:pt x="696" y="166"/>
                    <a:pt x="696" y="166"/>
                    <a:pt x="696" y="166"/>
                  </a:cubicBezTo>
                  <a:cubicBezTo>
                    <a:pt x="696" y="168"/>
                    <a:pt x="698" y="170"/>
                    <a:pt x="700" y="170"/>
                  </a:cubicBezTo>
                  <a:cubicBezTo>
                    <a:pt x="730" y="170"/>
                    <a:pt x="730" y="170"/>
                    <a:pt x="730" y="170"/>
                  </a:cubicBezTo>
                  <a:cubicBezTo>
                    <a:pt x="742" y="170"/>
                    <a:pt x="757" y="167"/>
                    <a:pt x="769" y="162"/>
                  </a:cubicBezTo>
                  <a:cubicBezTo>
                    <a:pt x="774" y="161"/>
                    <a:pt x="784" y="156"/>
                    <a:pt x="795" y="151"/>
                  </a:cubicBezTo>
                  <a:cubicBezTo>
                    <a:pt x="806" y="156"/>
                    <a:pt x="815" y="161"/>
                    <a:pt x="820" y="162"/>
                  </a:cubicBezTo>
                  <a:cubicBezTo>
                    <a:pt x="833" y="167"/>
                    <a:pt x="847" y="170"/>
                    <a:pt x="859" y="170"/>
                  </a:cubicBezTo>
                  <a:cubicBezTo>
                    <a:pt x="889" y="170"/>
                    <a:pt x="889" y="170"/>
                    <a:pt x="889" y="170"/>
                  </a:cubicBezTo>
                  <a:cubicBezTo>
                    <a:pt x="891" y="170"/>
                    <a:pt x="893" y="168"/>
                    <a:pt x="893" y="166"/>
                  </a:cubicBezTo>
                  <a:cubicBezTo>
                    <a:pt x="893" y="150"/>
                    <a:pt x="893" y="150"/>
                    <a:pt x="893" y="150"/>
                  </a:cubicBezTo>
                  <a:cubicBezTo>
                    <a:pt x="893" y="148"/>
                    <a:pt x="891" y="146"/>
                    <a:pt x="889" y="146"/>
                  </a:cubicBezTo>
                  <a:cubicBezTo>
                    <a:pt x="859" y="146"/>
                    <a:pt x="859" y="146"/>
                    <a:pt x="859" y="146"/>
                  </a:cubicBezTo>
                  <a:cubicBezTo>
                    <a:pt x="847" y="146"/>
                    <a:pt x="835" y="143"/>
                    <a:pt x="823" y="138"/>
                  </a:cubicBezTo>
                  <a:cubicBezTo>
                    <a:pt x="830" y="135"/>
                    <a:pt x="837" y="132"/>
                    <a:pt x="842" y="129"/>
                  </a:cubicBezTo>
                  <a:cubicBezTo>
                    <a:pt x="857" y="122"/>
                    <a:pt x="862" y="111"/>
                    <a:pt x="862" y="99"/>
                  </a:cubicBezTo>
                  <a:cubicBezTo>
                    <a:pt x="862" y="89"/>
                    <a:pt x="862" y="89"/>
                    <a:pt x="862" y="89"/>
                  </a:cubicBezTo>
                  <a:cubicBezTo>
                    <a:pt x="894" y="89"/>
                    <a:pt x="894" y="89"/>
                    <a:pt x="894" y="89"/>
                  </a:cubicBezTo>
                  <a:cubicBezTo>
                    <a:pt x="896" y="89"/>
                    <a:pt x="898" y="87"/>
                    <a:pt x="898" y="85"/>
                  </a:cubicBezTo>
                  <a:cubicBezTo>
                    <a:pt x="898" y="69"/>
                    <a:pt x="898" y="69"/>
                    <a:pt x="898" y="69"/>
                  </a:cubicBezTo>
                  <a:cubicBezTo>
                    <a:pt x="898" y="67"/>
                    <a:pt x="896" y="65"/>
                    <a:pt x="894" y="65"/>
                  </a:cubicBezTo>
                  <a:moveTo>
                    <a:pt x="1747" y="17"/>
                  </a:moveTo>
                  <a:cubicBezTo>
                    <a:pt x="1745" y="14"/>
                    <a:pt x="1743" y="13"/>
                    <a:pt x="1740" y="13"/>
                  </a:cubicBezTo>
                  <a:cubicBezTo>
                    <a:pt x="1716" y="13"/>
                    <a:pt x="1716" y="13"/>
                    <a:pt x="1716" y="13"/>
                  </a:cubicBezTo>
                  <a:cubicBezTo>
                    <a:pt x="1713" y="13"/>
                    <a:pt x="1711" y="14"/>
                    <a:pt x="1710" y="17"/>
                  </a:cubicBezTo>
                  <a:cubicBezTo>
                    <a:pt x="1636" y="162"/>
                    <a:pt x="1636" y="162"/>
                    <a:pt x="1636" y="162"/>
                  </a:cubicBezTo>
                  <a:cubicBezTo>
                    <a:pt x="1634" y="167"/>
                    <a:pt x="1636" y="170"/>
                    <a:pt x="1640" y="170"/>
                  </a:cubicBezTo>
                  <a:cubicBezTo>
                    <a:pt x="1663" y="170"/>
                    <a:pt x="1663" y="170"/>
                    <a:pt x="1663" y="170"/>
                  </a:cubicBezTo>
                  <a:cubicBezTo>
                    <a:pt x="1667" y="170"/>
                    <a:pt x="1668" y="169"/>
                    <a:pt x="1670" y="165"/>
                  </a:cubicBezTo>
                  <a:cubicBezTo>
                    <a:pt x="1728" y="49"/>
                    <a:pt x="1728" y="49"/>
                    <a:pt x="1728" y="49"/>
                  </a:cubicBezTo>
                  <a:cubicBezTo>
                    <a:pt x="1786" y="165"/>
                    <a:pt x="1786" y="165"/>
                    <a:pt x="1786" y="165"/>
                  </a:cubicBezTo>
                  <a:cubicBezTo>
                    <a:pt x="1788" y="169"/>
                    <a:pt x="1789" y="170"/>
                    <a:pt x="1793" y="170"/>
                  </a:cubicBezTo>
                  <a:cubicBezTo>
                    <a:pt x="1816" y="170"/>
                    <a:pt x="1816" y="170"/>
                    <a:pt x="1816" y="170"/>
                  </a:cubicBezTo>
                  <a:cubicBezTo>
                    <a:pt x="1820" y="170"/>
                    <a:pt x="1823" y="167"/>
                    <a:pt x="1820" y="162"/>
                  </a:cubicBezTo>
                  <a:lnTo>
                    <a:pt x="1747" y="17"/>
                  </a:lnTo>
                  <a:close/>
                  <a:moveTo>
                    <a:pt x="629" y="46"/>
                  </a:moveTo>
                  <a:cubicBezTo>
                    <a:pt x="626" y="46"/>
                    <a:pt x="623" y="48"/>
                    <a:pt x="622" y="49"/>
                  </a:cubicBezTo>
                  <a:cubicBezTo>
                    <a:pt x="597" y="98"/>
                    <a:pt x="597" y="98"/>
                    <a:pt x="597" y="98"/>
                  </a:cubicBezTo>
                  <a:cubicBezTo>
                    <a:pt x="596" y="100"/>
                    <a:pt x="597" y="102"/>
                    <a:pt x="599" y="102"/>
                  </a:cubicBezTo>
                  <a:cubicBezTo>
                    <a:pt x="625" y="102"/>
                    <a:pt x="625" y="102"/>
                    <a:pt x="625" y="102"/>
                  </a:cubicBezTo>
                  <a:cubicBezTo>
                    <a:pt x="628" y="102"/>
                    <a:pt x="630" y="100"/>
                    <a:pt x="631" y="98"/>
                  </a:cubicBezTo>
                  <a:cubicBezTo>
                    <a:pt x="656" y="49"/>
                    <a:pt x="656" y="49"/>
                    <a:pt x="656" y="49"/>
                  </a:cubicBezTo>
                  <a:cubicBezTo>
                    <a:pt x="657" y="48"/>
                    <a:pt x="656" y="46"/>
                    <a:pt x="654" y="46"/>
                  </a:cubicBezTo>
                  <a:lnTo>
                    <a:pt x="629" y="46"/>
                  </a:lnTo>
                  <a:close/>
                  <a:moveTo>
                    <a:pt x="416" y="146"/>
                  </a:moveTo>
                  <a:cubicBezTo>
                    <a:pt x="269" y="146"/>
                    <a:pt x="269" y="146"/>
                    <a:pt x="269" y="146"/>
                  </a:cubicBezTo>
                  <a:cubicBezTo>
                    <a:pt x="269" y="28"/>
                    <a:pt x="269" y="28"/>
                    <a:pt x="269" y="28"/>
                  </a:cubicBezTo>
                  <a:cubicBezTo>
                    <a:pt x="416" y="28"/>
                    <a:pt x="416" y="28"/>
                    <a:pt x="416" y="28"/>
                  </a:cubicBezTo>
                  <a:lnTo>
                    <a:pt x="416" y="146"/>
                  </a:lnTo>
                  <a:close/>
                  <a:moveTo>
                    <a:pt x="423" y="6"/>
                  </a:moveTo>
                  <a:cubicBezTo>
                    <a:pt x="261" y="6"/>
                    <a:pt x="261" y="6"/>
                    <a:pt x="261" y="6"/>
                  </a:cubicBezTo>
                  <a:cubicBezTo>
                    <a:pt x="249" y="6"/>
                    <a:pt x="239" y="16"/>
                    <a:pt x="239" y="28"/>
                  </a:cubicBezTo>
                  <a:cubicBezTo>
                    <a:pt x="239" y="148"/>
                    <a:pt x="239" y="148"/>
                    <a:pt x="239" y="148"/>
                  </a:cubicBezTo>
                  <a:cubicBezTo>
                    <a:pt x="239" y="160"/>
                    <a:pt x="249" y="169"/>
                    <a:pt x="261" y="169"/>
                  </a:cubicBezTo>
                  <a:cubicBezTo>
                    <a:pt x="423" y="169"/>
                    <a:pt x="423" y="169"/>
                    <a:pt x="423" y="169"/>
                  </a:cubicBezTo>
                  <a:cubicBezTo>
                    <a:pt x="435" y="169"/>
                    <a:pt x="445" y="160"/>
                    <a:pt x="445" y="148"/>
                  </a:cubicBezTo>
                  <a:cubicBezTo>
                    <a:pt x="445" y="28"/>
                    <a:pt x="445" y="28"/>
                    <a:pt x="445" y="28"/>
                  </a:cubicBezTo>
                  <a:cubicBezTo>
                    <a:pt x="445" y="16"/>
                    <a:pt x="435" y="6"/>
                    <a:pt x="423" y="6"/>
                  </a:cubicBezTo>
                  <a:moveTo>
                    <a:pt x="697" y="49"/>
                  </a:moveTo>
                  <a:cubicBezTo>
                    <a:pt x="714" y="49"/>
                    <a:pt x="714" y="49"/>
                    <a:pt x="714" y="49"/>
                  </a:cubicBezTo>
                  <a:cubicBezTo>
                    <a:pt x="716" y="49"/>
                    <a:pt x="718" y="47"/>
                    <a:pt x="718" y="45"/>
                  </a:cubicBezTo>
                  <a:cubicBezTo>
                    <a:pt x="718" y="34"/>
                    <a:pt x="718" y="34"/>
                    <a:pt x="718" y="34"/>
                  </a:cubicBezTo>
                  <a:cubicBezTo>
                    <a:pt x="872" y="34"/>
                    <a:pt x="872" y="34"/>
                    <a:pt x="872" y="34"/>
                  </a:cubicBezTo>
                  <a:cubicBezTo>
                    <a:pt x="872" y="45"/>
                    <a:pt x="872" y="45"/>
                    <a:pt x="872" y="45"/>
                  </a:cubicBezTo>
                  <a:cubicBezTo>
                    <a:pt x="872" y="47"/>
                    <a:pt x="873" y="49"/>
                    <a:pt x="875" y="49"/>
                  </a:cubicBezTo>
                  <a:cubicBezTo>
                    <a:pt x="893" y="49"/>
                    <a:pt x="893" y="49"/>
                    <a:pt x="893" y="49"/>
                  </a:cubicBezTo>
                  <a:cubicBezTo>
                    <a:pt x="895" y="49"/>
                    <a:pt x="897" y="47"/>
                    <a:pt x="897" y="45"/>
                  </a:cubicBezTo>
                  <a:cubicBezTo>
                    <a:pt x="897" y="32"/>
                    <a:pt x="897" y="32"/>
                    <a:pt x="897" y="32"/>
                  </a:cubicBezTo>
                  <a:cubicBezTo>
                    <a:pt x="897" y="22"/>
                    <a:pt x="888" y="13"/>
                    <a:pt x="877" y="13"/>
                  </a:cubicBezTo>
                  <a:cubicBezTo>
                    <a:pt x="811" y="13"/>
                    <a:pt x="811" y="13"/>
                    <a:pt x="811" y="13"/>
                  </a:cubicBezTo>
                  <a:cubicBezTo>
                    <a:pt x="811" y="4"/>
                    <a:pt x="811" y="4"/>
                    <a:pt x="811" y="4"/>
                  </a:cubicBezTo>
                  <a:cubicBezTo>
                    <a:pt x="811" y="2"/>
                    <a:pt x="809" y="0"/>
                    <a:pt x="807" y="0"/>
                  </a:cubicBezTo>
                  <a:cubicBezTo>
                    <a:pt x="782" y="0"/>
                    <a:pt x="782" y="0"/>
                    <a:pt x="782" y="0"/>
                  </a:cubicBezTo>
                  <a:cubicBezTo>
                    <a:pt x="780" y="0"/>
                    <a:pt x="778" y="2"/>
                    <a:pt x="778" y="4"/>
                  </a:cubicBezTo>
                  <a:cubicBezTo>
                    <a:pt x="778" y="13"/>
                    <a:pt x="778" y="13"/>
                    <a:pt x="778" y="13"/>
                  </a:cubicBezTo>
                  <a:cubicBezTo>
                    <a:pt x="712" y="13"/>
                    <a:pt x="712" y="13"/>
                    <a:pt x="712" y="13"/>
                  </a:cubicBezTo>
                  <a:cubicBezTo>
                    <a:pt x="702" y="13"/>
                    <a:pt x="693" y="22"/>
                    <a:pt x="693" y="32"/>
                  </a:cubicBezTo>
                  <a:cubicBezTo>
                    <a:pt x="693" y="45"/>
                    <a:pt x="693" y="45"/>
                    <a:pt x="693" y="45"/>
                  </a:cubicBezTo>
                  <a:cubicBezTo>
                    <a:pt x="693" y="47"/>
                    <a:pt x="695" y="49"/>
                    <a:pt x="697" y="49"/>
                  </a:cubicBezTo>
                  <a:moveTo>
                    <a:pt x="179" y="115"/>
                  </a:moveTo>
                  <a:cubicBezTo>
                    <a:pt x="122" y="115"/>
                    <a:pt x="122" y="115"/>
                    <a:pt x="122" y="115"/>
                  </a:cubicBezTo>
                  <a:cubicBezTo>
                    <a:pt x="122" y="49"/>
                    <a:pt x="122" y="49"/>
                    <a:pt x="122" y="49"/>
                  </a:cubicBezTo>
                  <a:cubicBezTo>
                    <a:pt x="179" y="49"/>
                    <a:pt x="179" y="49"/>
                    <a:pt x="179" y="49"/>
                  </a:cubicBezTo>
                  <a:lnTo>
                    <a:pt x="179" y="115"/>
                  </a:lnTo>
                  <a:close/>
                  <a:moveTo>
                    <a:pt x="88" y="115"/>
                  </a:moveTo>
                  <a:cubicBezTo>
                    <a:pt x="31" y="115"/>
                    <a:pt x="31" y="115"/>
                    <a:pt x="31" y="115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88" y="49"/>
                    <a:pt x="88" y="49"/>
                    <a:pt x="88" y="49"/>
                  </a:cubicBezTo>
                  <a:lnTo>
                    <a:pt x="88" y="115"/>
                  </a:lnTo>
                  <a:close/>
                  <a:moveTo>
                    <a:pt x="188" y="2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22" y="5"/>
                    <a:pt x="122" y="5"/>
                    <a:pt x="122" y="5"/>
                  </a:cubicBezTo>
                  <a:cubicBezTo>
                    <a:pt x="122" y="3"/>
                    <a:pt x="120" y="1"/>
                    <a:pt x="118" y="1"/>
                  </a:cubicBezTo>
                  <a:cubicBezTo>
                    <a:pt x="91" y="1"/>
                    <a:pt x="91" y="1"/>
                    <a:pt x="91" y="1"/>
                  </a:cubicBezTo>
                  <a:cubicBezTo>
                    <a:pt x="89" y="1"/>
                    <a:pt x="88" y="3"/>
                    <a:pt x="88" y="5"/>
                  </a:cubicBezTo>
                  <a:cubicBezTo>
                    <a:pt x="88" y="24"/>
                    <a:pt x="88" y="24"/>
                    <a:pt x="88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10" y="24"/>
                    <a:pt x="0" y="34"/>
                    <a:pt x="0" y="46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130"/>
                    <a:pt x="10" y="140"/>
                    <a:pt x="22" y="140"/>
                  </a:cubicBezTo>
                  <a:cubicBezTo>
                    <a:pt x="88" y="140"/>
                    <a:pt x="88" y="140"/>
                    <a:pt x="88" y="140"/>
                  </a:cubicBezTo>
                  <a:cubicBezTo>
                    <a:pt x="88" y="171"/>
                    <a:pt x="88" y="171"/>
                    <a:pt x="88" y="171"/>
                  </a:cubicBezTo>
                  <a:cubicBezTo>
                    <a:pt x="88" y="173"/>
                    <a:pt x="89" y="174"/>
                    <a:pt x="91" y="174"/>
                  </a:cubicBezTo>
                  <a:cubicBezTo>
                    <a:pt x="118" y="174"/>
                    <a:pt x="118" y="174"/>
                    <a:pt x="118" y="174"/>
                  </a:cubicBezTo>
                  <a:cubicBezTo>
                    <a:pt x="120" y="174"/>
                    <a:pt x="122" y="173"/>
                    <a:pt x="122" y="171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88" y="140"/>
                    <a:pt x="188" y="140"/>
                    <a:pt x="188" y="140"/>
                  </a:cubicBezTo>
                  <a:cubicBezTo>
                    <a:pt x="200" y="140"/>
                    <a:pt x="210" y="130"/>
                    <a:pt x="210" y="118"/>
                  </a:cubicBezTo>
                  <a:cubicBezTo>
                    <a:pt x="210" y="46"/>
                    <a:pt x="210" y="46"/>
                    <a:pt x="210" y="46"/>
                  </a:cubicBezTo>
                  <a:cubicBezTo>
                    <a:pt x="210" y="34"/>
                    <a:pt x="200" y="24"/>
                    <a:pt x="188" y="24"/>
                  </a:cubicBezTo>
                  <a:moveTo>
                    <a:pt x="401" y="104"/>
                  </a:moveTo>
                  <a:cubicBezTo>
                    <a:pt x="379" y="104"/>
                    <a:pt x="379" y="104"/>
                    <a:pt x="379" y="104"/>
                  </a:cubicBezTo>
                  <a:cubicBezTo>
                    <a:pt x="379" y="112"/>
                    <a:pt x="379" y="112"/>
                    <a:pt x="379" y="112"/>
                  </a:cubicBezTo>
                  <a:cubicBezTo>
                    <a:pt x="357" y="112"/>
                    <a:pt x="357" y="112"/>
                    <a:pt x="357" y="112"/>
                  </a:cubicBezTo>
                  <a:cubicBezTo>
                    <a:pt x="357" y="93"/>
                    <a:pt x="357" y="93"/>
                    <a:pt x="357" y="93"/>
                  </a:cubicBezTo>
                  <a:cubicBezTo>
                    <a:pt x="395" y="93"/>
                    <a:pt x="395" y="93"/>
                    <a:pt x="395" y="93"/>
                  </a:cubicBezTo>
                  <a:cubicBezTo>
                    <a:pt x="395" y="75"/>
                    <a:pt x="395" y="75"/>
                    <a:pt x="395" y="75"/>
                  </a:cubicBezTo>
                  <a:cubicBezTo>
                    <a:pt x="357" y="75"/>
                    <a:pt x="357" y="75"/>
                    <a:pt x="357" y="75"/>
                  </a:cubicBezTo>
                  <a:cubicBezTo>
                    <a:pt x="357" y="61"/>
                    <a:pt x="357" y="61"/>
                    <a:pt x="357" y="61"/>
                  </a:cubicBezTo>
                  <a:cubicBezTo>
                    <a:pt x="401" y="61"/>
                    <a:pt x="401" y="61"/>
                    <a:pt x="401" y="61"/>
                  </a:cubicBezTo>
                  <a:cubicBezTo>
                    <a:pt x="401" y="41"/>
                    <a:pt x="401" y="41"/>
                    <a:pt x="401" y="41"/>
                  </a:cubicBezTo>
                  <a:cubicBezTo>
                    <a:pt x="284" y="41"/>
                    <a:pt x="284" y="41"/>
                    <a:pt x="284" y="41"/>
                  </a:cubicBezTo>
                  <a:cubicBezTo>
                    <a:pt x="284" y="61"/>
                    <a:pt x="284" y="61"/>
                    <a:pt x="284" y="61"/>
                  </a:cubicBezTo>
                  <a:cubicBezTo>
                    <a:pt x="328" y="61"/>
                    <a:pt x="328" y="61"/>
                    <a:pt x="328" y="61"/>
                  </a:cubicBezTo>
                  <a:cubicBezTo>
                    <a:pt x="328" y="75"/>
                    <a:pt x="328" y="75"/>
                    <a:pt x="328" y="75"/>
                  </a:cubicBezTo>
                  <a:cubicBezTo>
                    <a:pt x="290" y="75"/>
                    <a:pt x="290" y="75"/>
                    <a:pt x="290" y="75"/>
                  </a:cubicBezTo>
                  <a:cubicBezTo>
                    <a:pt x="290" y="93"/>
                    <a:pt x="290" y="93"/>
                    <a:pt x="290" y="93"/>
                  </a:cubicBezTo>
                  <a:cubicBezTo>
                    <a:pt x="328" y="93"/>
                    <a:pt x="328" y="93"/>
                    <a:pt x="328" y="93"/>
                  </a:cubicBezTo>
                  <a:cubicBezTo>
                    <a:pt x="328" y="112"/>
                    <a:pt x="328" y="112"/>
                    <a:pt x="328" y="112"/>
                  </a:cubicBezTo>
                  <a:cubicBezTo>
                    <a:pt x="284" y="112"/>
                    <a:pt x="284" y="112"/>
                    <a:pt x="284" y="112"/>
                  </a:cubicBezTo>
                  <a:cubicBezTo>
                    <a:pt x="284" y="132"/>
                    <a:pt x="284" y="132"/>
                    <a:pt x="284" y="132"/>
                  </a:cubicBezTo>
                  <a:cubicBezTo>
                    <a:pt x="401" y="132"/>
                    <a:pt x="401" y="132"/>
                    <a:pt x="401" y="132"/>
                  </a:cubicBezTo>
                  <a:lnTo>
                    <a:pt x="401" y="104"/>
                  </a:lnTo>
                  <a:close/>
                  <a:moveTo>
                    <a:pt x="516" y="102"/>
                  </a:moveTo>
                  <a:cubicBezTo>
                    <a:pt x="542" y="102"/>
                    <a:pt x="542" y="102"/>
                    <a:pt x="542" y="102"/>
                  </a:cubicBezTo>
                  <a:cubicBezTo>
                    <a:pt x="544" y="102"/>
                    <a:pt x="545" y="100"/>
                    <a:pt x="544" y="98"/>
                  </a:cubicBezTo>
                  <a:cubicBezTo>
                    <a:pt x="519" y="49"/>
                    <a:pt x="519" y="49"/>
                    <a:pt x="519" y="49"/>
                  </a:cubicBezTo>
                  <a:cubicBezTo>
                    <a:pt x="518" y="48"/>
                    <a:pt x="515" y="46"/>
                    <a:pt x="512" y="46"/>
                  </a:cubicBezTo>
                  <a:cubicBezTo>
                    <a:pt x="487" y="46"/>
                    <a:pt x="487" y="46"/>
                    <a:pt x="487" y="46"/>
                  </a:cubicBezTo>
                  <a:cubicBezTo>
                    <a:pt x="485" y="46"/>
                    <a:pt x="484" y="48"/>
                    <a:pt x="485" y="49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511" y="100"/>
                    <a:pt x="513" y="102"/>
                    <a:pt x="516" y="102"/>
                  </a:cubicBezTo>
                  <a:moveTo>
                    <a:pt x="669" y="115"/>
                  </a:moveTo>
                  <a:cubicBezTo>
                    <a:pt x="587" y="115"/>
                    <a:pt x="587" y="115"/>
                    <a:pt x="587" y="115"/>
                  </a:cubicBezTo>
                  <a:cubicBezTo>
                    <a:pt x="587" y="33"/>
                    <a:pt x="587" y="33"/>
                    <a:pt x="587" y="33"/>
                  </a:cubicBezTo>
                  <a:cubicBezTo>
                    <a:pt x="662" y="33"/>
                    <a:pt x="662" y="33"/>
                    <a:pt x="662" y="33"/>
                  </a:cubicBezTo>
                  <a:cubicBezTo>
                    <a:pt x="664" y="33"/>
                    <a:pt x="666" y="31"/>
                    <a:pt x="666" y="29"/>
                  </a:cubicBezTo>
                  <a:cubicBezTo>
                    <a:pt x="666" y="14"/>
                    <a:pt x="666" y="14"/>
                    <a:pt x="666" y="14"/>
                  </a:cubicBezTo>
                  <a:cubicBezTo>
                    <a:pt x="666" y="11"/>
                    <a:pt x="664" y="10"/>
                    <a:pt x="662" y="10"/>
                  </a:cubicBezTo>
                  <a:cubicBezTo>
                    <a:pt x="479" y="10"/>
                    <a:pt x="479" y="10"/>
                    <a:pt x="479" y="10"/>
                  </a:cubicBezTo>
                  <a:cubicBezTo>
                    <a:pt x="477" y="10"/>
                    <a:pt x="475" y="11"/>
                    <a:pt x="475" y="14"/>
                  </a:cubicBezTo>
                  <a:cubicBezTo>
                    <a:pt x="475" y="29"/>
                    <a:pt x="475" y="29"/>
                    <a:pt x="475" y="29"/>
                  </a:cubicBezTo>
                  <a:cubicBezTo>
                    <a:pt x="475" y="31"/>
                    <a:pt x="477" y="33"/>
                    <a:pt x="479" y="33"/>
                  </a:cubicBezTo>
                  <a:cubicBezTo>
                    <a:pt x="554" y="33"/>
                    <a:pt x="554" y="33"/>
                    <a:pt x="554" y="33"/>
                  </a:cubicBezTo>
                  <a:cubicBezTo>
                    <a:pt x="554" y="115"/>
                    <a:pt x="554" y="115"/>
                    <a:pt x="554" y="115"/>
                  </a:cubicBezTo>
                  <a:cubicBezTo>
                    <a:pt x="472" y="115"/>
                    <a:pt x="472" y="115"/>
                    <a:pt x="472" y="115"/>
                  </a:cubicBezTo>
                  <a:cubicBezTo>
                    <a:pt x="470" y="115"/>
                    <a:pt x="469" y="117"/>
                    <a:pt x="469" y="119"/>
                  </a:cubicBezTo>
                  <a:cubicBezTo>
                    <a:pt x="469" y="135"/>
                    <a:pt x="469" y="135"/>
                    <a:pt x="469" y="135"/>
                  </a:cubicBezTo>
                  <a:cubicBezTo>
                    <a:pt x="469" y="137"/>
                    <a:pt x="470" y="139"/>
                    <a:pt x="472" y="139"/>
                  </a:cubicBezTo>
                  <a:cubicBezTo>
                    <a:pt x="554" y="139"/>
                    <a:pt x="554" y="139"/>
                    <a:pt x="554" y="139"/>
                  </a:cubicBezTo>
                  <a:cubicBezTo>
                    <a:pt x="554" y="171"/>
                    <a:pt x="554" y="171"/>
                    <a:pt x="554" y="171"/>
                  </a:cubicBezTo>
                  <a:cubicBezTo>
                    <a:pt x="554" y="173"/>
                    <a:pt x="556" y="174"/>
                    <a:pt x="558" y="174"/>
                  </a:cubicBezTo>
                  <a:cubicBezTo>
                    <a:pt x="583" y="174"/>
                    <a:pt x="583" y="174"/>
                    <a:pt x="583" y="174"/>
                  </a:cubicBezTo>
                  <a:cubicBezTo>
                    <a:pt x="585" y="174"/>
                    <a:pt x="587" y="173"/>
                    <a:pt x="587" y="171"/>
                  </a:cubicBezTo>
                  <a:cubicBezTo>
                    <a:pt x="587" y="139"/>
                    <a:pt x="587" y="139"/>
                    <a:pt x="587" y="139"/>
                  </a:cubicBezTo>
                  <a:cubicBezTo>
                    <a:pt x="669" y="139"/>
                    <a:pt x="669" y="139"/>
                    <a:pt x="669" y="139"/>
                  </a:cubicBezTo>
                  <a:cubicBezTo>
                    <a:pt x="671" y="139"/>
                    <a:pt x="673" y="137"/>
                    <a:pt x="673" y="135"/>
                  </a:cubicBezTo>
                  <a:cubicBezTo>
                    <a:pt x="673" y="119"/>
                    <a:pt x="673" y="119"/>
                    <a:pt x="673" y="119"/>
                  </a:cubicBezTo>
                  <a:cubicBezTo>
                    <a:pt x="673" y="117"/>
                    <a:pt x="671" y="115"/>
                    <a:pt x="669" y="115"/>
                  </a:cubicBezTo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6" name="Freeform 6"/>
            <p:cNvSpPr/>
            <p:nvPr/>
          </p:nvSpPr>
          <p:spPr bwMode="auto">
            <a:xfrm>
              <a:off x="3438525" y="693738"/>
              <a:ext cx="77788" cy="76200"/>
            </a:xfrm>
            <a:custGeom>
              <a:avLst/>
              <a:gdLst>
                <a:gd name="T0" fmla="*/ 44 w 48"/>
                <a:gd name="T1" fmla="*/ 0 h 46"/>
                <a:gd name="T2" fmla="*/ 4 w 48"/>
                <a:gd name="T3" fmla="*/ 0 h 46"/>
                <a:gd name="T4" fmla="*/ 0 w 48"/>
                <a:gd name="T5" fmla="*/ 3 h 46"/>
                <a:gd name="T6" fmla="*/ 0 w 48"/>
                <a:gd name="T7" fmla="*/ 43 h 46"/>
                <a:gd name="T8" fmla="*/ 4 w 48"/>
                <a:gd name="T9" fmla="*/ 46 h 46"/>
                <a:gd name="T10" fmla="*/ 44 w 48"/>
                <a:gd name="T11" fmla="*/ 46 h 46"/>
                <a:gd name="T12" fmla="*/ 48 w 48"/>
                <a:gd name="T13" fmla="*/ 43 h 46"/>
                <a:gd name="T14" fmla="*/ 48 w 48"/>
                <a:gd name="T15" fmla="*/ 3 h 46"/>
                <a:gd name="T16" fmla="*/ 44 w 48"/>
                <a:gd name="T17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46">
                  <a:moveTo>
                    <a:pt x="4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5"/>
                    <a:pt x="2" y="46"/>
                    <a:pt x="4" y="46"/>
                  </a:cubicBezTo>
                  <a:cubicBezTo>
                    <a:pt x="44" y="46"/>
                    <a:pt x="44" y="46"/>
                    <a:pt x="44" y="46"/>
                  </a:cubicBezTo>
                  <a:cubicBezTo>
                    <a:pt x="46" y="46"/>
                    <a:pt x="48" y="45"/>
                    <a:pt x="48" y="43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1"/>
                    <a:pt x="46" y="0"/>
                    <a:pt x="44" y="0"/>
                  </a:cubicBezTo>
                </a:path>
              </a:pathLst>
            </a:custGeom>
            <a:solidFill>
              <a:srgbClr val="005E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7" name="Oval 7"/>
            <p:cNvSpPr>
              <a:spLocks noChangeArrowheads="1"/>
            </p:cNvSpPr>
            <p:nvPr/>
          </p:nvSpPr>
          <p:spPr bwMode="auto">
            <a:xfrm>
              <a:off x="1385888" y="952500"/>
              <a:ext cx="17463" cy="20637"/>
            </a:xfrm>
            <a:prstGeom prst="ellipse">
              <a:avLst/>
            </a:pr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8" name="Freeform 8"/>
            <p:cNvSpPr>
              <a:spLocks noEditPoints="1"/>
            </p:cNvSpPr>
            <p:nvPr/>
          </p:nvSpPr>
          <p:spPr bwMode="auto">
            <a:xfrm>
              <a:off x="1001713" y="893763"/>
              <a:ext cx="142875" cy="133350"/>
            </a:xfrm>
            <a:custGeom>
              <a:avLst/>
              <a:gdLst>
                <a:gd name="T0" fmla="*/ 43 w 88"/>
                <a:gd name="T1" fmla="*/ 0 h 81"/>
                <a:gd name="T2" fmla="*/ 51 w 88"/>
                <a:gd name="T3" fmla="*/ 4 h 81"/>
                <a:gd name="T4" fmla="*/ 84 w 88"/>
                <a:gd name="T5" fmla="*/ 22 h 81"/>
                <a:gd name="T6" fmla="*/ 87 w 88"/>
                <a:gd name="T7" fmla="*/ 28 h 81"/>
                <a:gd name="T8" fmla="*/ 82 w 88"/>
                <a:gd name="T9" fmla="*/ 29 h 81"/>
                <a:gd name="T10" fmla="*/ 49 w 88"/>
                <a:gd name="T11" fmla="*/ 12 h 81"/>
                <a:gd name="T12" fmla="*/ 43 w 88"/>
                <a:gd name="T13" fmla="*/ 8 h 81"/>
                <a:gd name="T14" fmla="*/ 38 w 88"/>
                <a:gd name="T15" fmla="*/ 11 h 81"/>
                <a:gd name="T16" fmla="*/ 6 w 88"/>
                <a:gd name="T17" fmla="*/ 30 h 81"/>
                <a:gd name="T18" fmla="*/ 1 w 88"/>
                <a:gd name="T19" fmla="*/ 28 h 81"/>
                <a:gd name="T20" fmla="*/ 3 w 88"/>
                <a:gd name="T21" fmla="*/ 23 h 81"/>
                <a:gd name="T22" fmla="*/ 35 w 88"/>
                <a:gd name="T23" fmla="*/ 5 h 81"/>
                <a:gd name="T24" fmla="*/ 43 w 88"/>
                <a:gd name="T25" fmla="*/ 0 h 81"/>
                <a:gd name="T26" fmla="*/ 21 w 88"/>
                <a:gd name="T27" fmla="*/ 25 h 81"/>
                <a:gd name="T28" fmla="*/ 68 w 88"/>
                <a:gd name="T29" fmla="*/ 25 h 81"/>
                <a:gd name="T30" fmla="*/ 71 w 88"/>
                <a:gd name="T31" fmla="*/ 28 h 81"/>
                <a:gd name="T32" fmla="*/ 68 w 88"/>
                <a:gd name="T33" fmla="*/ 31 h 81"/>
                <a:gd name="T34" fmla="*/ 48 w 88"/>
                <a:gd name="T35" fmla="*/ 31 h 81"/>
                <a:gd name="T36" fmla="*/ 48 w 88"/>
                <a:gd name="T37" fmla="*/ 42 h 81"/>
                <a:gd name="T38" fmla="*/ 80 w 88"/>
                <a:gd name="T39" fmla="*/ 42 h 81"/>
                <a:gd name="T40" fmla="*/ 83 w 88"/>
                <a:gd name="T41" fmla="*/ 46 h 81"/>
                <a:gd name="T42" fmla="*/ 80 w 88"/>
                <a:gd name="T43" fmla="*/ 49 h 81"/>
                <a:gd name="T44" fmla="*/ 48 w 88"/>
                <a:gd name="T45" fmla="*/ 49 h 81"/>
                <a:gd name="T46" fmla="*/ 48 w 88"/>
                <a:gd name="T47" fmla="*/ 74 h 81"/>
                <a:gd name="T48" fmla="*/ 61 w 88"/>
                <a:gd name="T49" fmla="*/ 74 h 81"/>
                <a:gd name="T50" fmla="*/ 60 w 88"/>
                <a:gd name="T51" fmla="*/ 70 h 81"/>
                <a:gd name="T52" fmla="*/ 70 w 88"/>
                <a:gd name="T53" fmla="*/ 53 h 81"/>
                <a:gd name="T54" fmla="*/ 75 w 88"/>
                <a:gd name="T55" fmla="*/ 51 h 81"/>
                <a:gd name="T56" fmla="*/ 76 w 88"/>
                <a:gd name="T57" fmla="*/ 56 h 81"/>
                <a:gd name="T58" fmla="*/ 66 w 88"/>
                <a:gd name="T59" fmla="*/ 73 h 81"/>
                <a:gd name="T60" fmla="*/ 64 w 88"/>
                <a:gd name="T61" fmla="*/ 74 h 81"/>
                <a:gd name="T62" fmla="*/ 84 w 88"/>
                <a:gd name="T63" fmla="*/ 74 h 81"/>
                <a:gd name="T64" fmla="*/ 87 w 88"/>
                <a:gd name="T65" fmla="*/ 77 h 81"/>
                <a:gd name="T66" fmla="*/ 84 w 88"/>
                <a:gd name="T67" fmla="*/ 81 h 81"/>
                <a:gd name="T68" fmla="*/ 6 w 88"/>
                <a:gd name="T69" fmla="*/ 81 h 81"/>
                <a:gd name="T70" fmla="*/ 2 w 88"/>
                <a:gd name="T71" fmla="*/ 77 h 81"/>
                <a:gd name="T72" fmla="*/ 6 w 88"/>
                <a:gd name="T73" fmla="*/ 74 h 81"/>
                <a:gd name="T74" fmla="*/ 40 w 88"/>
                <a:gd name="T75" fmla="*/ 74 h 81"/>
                <a:gd name="T76" fmla="*/ 40 w 88"/>
                <a:gd name="T77" fmla="*/ 49 h 81"/>
                <a:gd name="T78" fmla="*/ 9 w 88"/>
                <a:gd name="T79" fmla="*/ 49 h 81"/>
                <a:gd name="T80" fmla="*/ 6 w 88"/>
                <a:gd name="T81" fmla="*/ 46 h 81"/>
                <a:gd name="T82" fmla="*/ 9 w 88"/>
                <a:gd name="T83" fmla="*/ 42 h 81"/>
                <a:gd name="T84" fmla="*/ 40 w 88"/>
                <a:gd name="T85" fmla="*/ 42 h 81"/>
                <a:gd name="T86" fmla="*/ 40 w 88"/>
                <a:gd name="T87" fmla="*/ 31 h 81"/>
                <a:gd name="T88" fmla="*/ 21 w 88"/>
                <a:gd name="T89" fmla="*/ 31 h 81"/>
                <a:gd name="T90" fmla="*/ 18 w 88"/>
                <a:gd name="T91" fmla="*/ 28 h 81"/>
                <a:gd name="T92" fmla="*/ 21 w 88"/>
                <a:gd name="T93" fmla="*/ 25 h 81"/>
                <a:gd name="T94" fmla="*/ 20 w 88"/>
                <a:gd name="T95" fmla="*/ 54 h 81"/>
                <a:gd name="T96" fmla="*/ 27 w 88"/>
                <a:gd name="T97" fmla="*/ 67 h 81"/>
                <a:gd name="T98" fmla="*/ 26 w 88"/>
                <a:gd name="T99" fmla="*/ 72 h 81"/>
                <a:gd name="T100" fmla="*/ 21 w 88"/>
                <a:gd name="T101" fmla="*/ 71 h 81"/>
                <a:gd name="T102" fmla="*/ 14 w 88"/>
                <a:gd name="T103" fmla="*/ 57 h 81"/>
                <a:gd name="T104" fmla="*/ 14 w 88"/>
                <a:gd name="T105" fmla="*/ 53 h 81"/>
                <a:gd name="T106" fmla="*/ 20 w 88"/>
                <a:gd name="T107" fmla="*/ 54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8" h="81">
                  <a:moveTo>
                    <a:pt x="43" y="0"/>
                  </a:moveTo>
                  <a:cubicBezTo>
                    <a:pt x="44" y="0"/>
                    <a:pt x="47" y="1"/>
                    <a:pt x="51" y="4"/>
                  </a:cubicBezTo>
                  <a:cubicBezTo>
                    <a:pt x="61" y="12"/>
                    <a:pt x="72" y="18"/>
                    <a:pt x="84" y="22"/>
                  </a:cubicBezTo>
                  <a:cubicBezTo>
                    <a:pt x="87" y="23"/>
                    <a:pt x="88" y="25"/>
                    <a:pt x="87" y="28"/>
                  </a:cubicBezTo>
                  <a:cubicBezTo>
                    <a:pt x="86" y="30"/>
                    <a:pt x="85" y="30"/>
                    <a:pt x="82" y="29"/>
                  </a:cubicBezTo>
                  <a:cubicBezTo>
                    <a:pt x="70" y="25"/>
                    <a:pt x="59" y="19"/>
                    <a:pt x="49" y="12"/>
                  </a:cubicBezTo>
                  <a:cubicBezTo>
                    <a:pt x="46" y="10"/>
                    <a:pt x="44" y="8"/>
                    <a:pt x="43" y="8"/>
                  </a:cubicBezTo>
                  <a:cubicBezTo>
                    <a:pt x="43" y="8"/>
                    <a:pt x="41" y="9"/>
                    <a:pt x="38" y="11"/>
                  </a:cubicBezTo>
                  <a:cubicBezTo>
                    <a:pt x="28" y="19"/>
                    <a:pt x="18" y="25"/>
                    <a:pt x="6" y="30"/>
                  </a:cubicBezTo>
                  <a:cubicBezTo>
                    <a:pt x="4" y="31"/>
                    <a:pt x="2" y="30"/>
                    <a:pt x="1" y="28"/>
                  </a:cubicBezTo>
                  <a:cubicBezTo>
                    <a:pt x="0" y="26"/>
                    <a:pt x="1" y="24"/>
                    <a:pt x="3" y="23"/>
                  </a:cubicBezTo>
                  <a:cubicBezTo>
                    <a:pt x="15" y="19"/>
                    <a:pt x="26" y="13"/>
                    <a:pt x="35" y="5"/>
                  </a:cubicBezTo>
                  <a:cubicBezTo>
                    <a:pt x="39" y="2"/>
                    <a:pt x="42" y="0"/>
                    <a:pt x="43" y="0"/>
                  </a:cubicBezTo>
                  <a:close/>
                  <a:moveTo>
                    <a:pt x="21" y="25"/>
                  </a:moveTo>
                  <a:cubicBezTo>
                    <a:pt x="68" y="25"/>
                    <a:pt x="68" y="25"/>
                    <a:pt x="68" y="25"/>
                  </a:cubicBezTo>
                  <a:cubicBezTo>
                    <a:pt x="70" y="25"/>
                    <a:pt x="71" y="26"/>
                    <a:pt x="71" y="28"/>
                  </a:cubicBezTo>
                  <a:cubicBezTo>
                    <a:pt x="71" y="30"/>
                    <a:pt x="70" y="31"/>
                    <a:pt x="6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80" y="42"/>
                    <a:pt x="80" y="42"/>
                    <a:pt x="80" y="42"/>
                  </a:cubicBezTo>
                  <a:cubicBezTo>
                    <a:pt x="82" y="42"/>
                    <a:pt x="83" y="43"/>
                    <a:pt x="83" y="46"/>
                  </a:cubicBezTo>
                  <a:cubicBezTo>
                    <a:pt x="83" y="48"/>
                    <a:pt x="82" y="49"/>
                    <a:pt x="80" y="49"/>
                  </a:cubicBezTo>
                  <a:cubicBezTo>
                    <a:pt x="48" y="49"/>
                    <a:pt x="48" y="49"/>
                    <a:pt x="48" y="49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59" y="73"/>
                    <a:pt x="59" y="72"/>
                    <a:pt x="60" y="70"/>
                  </a:cubicBezTo>
                  <a:cubicBezTo>
                    <a:pt x="64" y="64"/>
                    <a:pt x="67" y="59"/>
                    <a:pt x="70" y="53"/>
                  </a:cubicBezTo>
                  <a:cubicBezTo>
                    <a:pt x="71" y="51"/>
                    <a:pt x="73" y="50"/>
                    <a:pt x="75" y="51"/>
                  </a:cubicBezTo>
                  <a:cubicBezTo>
                    <a:pt x="76" y="52"/>
                    <a:pt x="77" y="54"/>
                    <a:pt x="76" y="56"/>
                  </a:cubicBezTo>
                  <a:cubicBezTo>
                    <a:pt x="72" y="65"/>
                    <a:pt x="69" y="70"/>
                    <a:pt x="66" y="73"/>
                  </a:cubicBezTo>
                  <a:cubicBezTo>
                    <a:pt x="65" y="74"/>
                    <a:pt x="65" y="74"/>
                    <a:pt x="64" y="74"/>
                  </a:cubicBezTo>
                  <a:cubicBezTo>
                    <a:pt x="84" y="74"/>
                    <a:pt x="84" y="74"/>
                    <a:pt x="84" y="74"/>
                  </a:cubicBezTo>
                  <a:cubicBezTo>
                    <a:pt x="86" y="74"/>
                    <a:pt x="87" y="75"/>
                    <a:pt x="87" y="77"/>
                  </a:cubicBezTo>
                  <a:cubicBezTo>
                    <a:pt x="87" y="79"/>
                    <a:pt x="86" y="81"/>
                    <a:pt x="84" y="81"/>
                  </a:cubicBezTo>
                  <a:cubicBezTo>
                    <a:pt x="6" y="81"/>
                    <a:pt x="6" y="81"/>
                    <a:pt x="6" y="81"/>
                  </a:cubicBezTo>
                  <a:cubicBezTo>
                    <a:pt x="3" y="81"/>
                    <a:pt x="2" y="79"/>
                    <a:pt x="2" y="77"/>
                  </a:cubicBezTo>
                  <a:cubicBezTo>
                    <a:pt x="2" y="75"/>
                    <a:pt x="3" y="74"/>
                    <a:pt x="6" y="74"/>
                  </a:cubicBezTo>
                  <a:cubicBezTo>
                    <a:pt x="40" y="74"/>
                    <a:pt x="40" y="74"/>
                    <a:pt x="40" y="74"/>
                  </a:cubicBezTo>
                  <a:cubicBezTo>
                    <a:pt x="40" y="49"/>
                    <a:pt x="40" y="49"/>
                    <a:pt x="40" y="49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7" y="49"/>
                    <a:pt x="6" y="48"/>
                    <a:pt x="6" y="46"/>
                  </a:cubicBezTo>
                  <a:cubicBezTo>
                    <a:pt x="6" y="43"/>
                    <a:pt x="7" y="42"/>
                    <a:pt x="9" y="42"/>
                  </a:cubicBezTo>
                  <a:cubicBezTo>
                    <a:pt x="40" y="42"/>
                    <a:pt x="40" y="42"/>
                    <a:pt x="40" y="42"/>
                  </a:cubicBezTo>
                  <a:cubicBezTo>
                    <a:pt x="40" y="31"/>
                    <a:pt x="40" y="31"/>
                    <a:pt x="40" y="31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19" y="31"/>
                    <a:pt x="18" y="30"/>
                    <a:pt x="18" y="28"/>
                  </a:cubicBezTo>
                  <a:cubicBezTo>
                    <a:pt x="18" y="26"/>
                    <a:pt x="19" y="25"/>
                    <a:pt x="21" y="25"/>
                  </a:cubicBezTo>
                  <a:close/>
                  <a:moveTo>
                    <a:pt x="20" y="54"/>
                  </a:moveTo>
                  <a:cubicBezTo>
                    <a:pt x="23" y="58"/>
                    <a:pt x="25" y="63"/>
                    <a:pt x="27" y="67"/>
                  </a:cubicBezTo>
                  <a:cubicBezTo>
                    <a:pt x="28" y="69"/>
                    <a:pt x="28" y="71"/>
                    <a:pt x="26" y="72"/>
                  </a:cubicBezTo>
                  <a:cubicBezTo>
                    <a:pt x="24" y="73"/>
                    <a:pt x="23" y="73"/>
                    <a:pt x="21" y="71"/>
                  </a:cubicBezTo>
                  <a:cubicBezTo>
                    <a:pt x="19" y="67"/>
                    <a:pt x="17" y="62"/>
                    <a:pt x="14" y="57"/>
                  </a:cubicBezTo>
                  <a:cubicBezTo>
                    <a:pt x="12" y="55"/>
                    <a:pt x="13" y="54"/>
                    <a:pt x="14" y="53"/>
                  </a:cubicBezTo>
                  <a:cubicBezTo>
                    <a:pt x="16" y="52"/>
                    <a:pt x="18" y="52"/>
                    <a:pt x="20" y="54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9" name="Freeform 9"/>
            <p:cNvSpPr>
              <a:spLocks noEditPoints="1"/>
            </p:cNvSpPr>
            <p:nvPr/>
          </p:nvSpPr>
          <p:spPr bwMode="auto">
            <a:xfrm>
              <a:off x="1168400" y="895350"/>
              <a:ext cx="136525" cy="139700"/>
            </a:xfrm>
            <a:custGeom>
              <a:avLst/>
              <a:gdLst>
                <a:gd name="T0" fmla="*/ 39 w 83"/>
                <a:gd name="T1" fmla="*/ 1 h 85"/>
                <a:gd name="T2" fmla="*/ 39 w 83"/>
                <a:gd name="T3" fmla="*/ 7 h 85"/>
                <a:gd name="T4" fmla="*/ 0 w 83"/>
                <a:gd name="T5" fmla="*/ 4 h 85"/>
                <a:gd name="T6" fmla="*/ 6 w 83"/>
                <a:gd name="T7" fmla="*/ 35 h 85"/>
                <a:gd name="T8" fmla="*/ 42 w 83"/>
                <a:gd name="T9" fmla="*/ 41 h 85"/>
                <a:gd name="T10" fmla="*/ 28 w 83"/>
                <a:gd name="T11" fmla="*/ 80 h 85"/>
                <a:gd name="T12" fmla="*/ 30 w 83"/>
                <a:gd name="T13" fmla="*/ 74 h 85"/>
                <a:gd name="T14" fmla="*/ 36 w 83"/>
                <a:gd name="T15" fmla="*/ 42 h 85"/>
                <a:gd name="T16" fmla="*/ 8 w 83"/>
                <a:gd name="T17" fmla="*/ 40 h 85"/>
                <a:gd name="T18" fmla="*/ 6 w 83"/>
                <a:gd name="T19" fmla="*/ 79 h 85"/>
                <a:gd name="T20" fmla="*/ 0 w 83"/>
                <a:gd name="T21" fmla="*/ 79 h 85"/>
                <a:gd name="T22" fmla="*/ 6 w 83"/>
                <a:gd name="T23" fmla="*/ 35 h 85"/>
                <a:gd name="T24" fmla="*/ 32 w 83"/>
                <a:gd name="T25" fmla="*/ 11 h 85"/>
                <a:gd name="T26" fmla="*/ 37 w 83"/>
                <a:gd name="T27" fmla="*/ 23 h 85"/>
                <a:gd name="T28" fmla="*/ 9 w 83"/>
                <a:gd name="T29" fmla="*/ 29 h 85"/>
                <a:gd name="T30" fmla="*/ 4 w 83"/>
                <a:gd name="T31" fmla="*/ 17 h 85"/>
                <a:gd name="T32" fmla="*/ 10 w 83"/>
                <a:gd name="T33" fmla="*/ 56 h 85"/>
                <a:gd name="T34" fmla="*/ 23 w 83"/>
                <a:gd name="T35" fmla="*/ 53 h 85"/>
                <a:gd name="T36" fmla="*/ 31 w 83"/>
                <a:gd name="T37" fmla="*/ 41 h 85"/>
                <a:gd name="T38" fmla="*/ 31 w 83"/>
                <a:gd name="T39" fmla="*/ 48 h 85"/>
                <a:gd name="T40" fmla="*/ 32 w 83"/>
                <a:gd name="T41" fmla="*/ 56 h 85"/>
                <a:gd name="T42" fmla="*/ 32 w 83"/>
                <a:gd name="T43" fmla="*/ 61 h 85"/>
                <a:gd name="T44" fmla="*/ 24 w 83"/>
                <a:gd name="T45" fmla="*/ 76 h 85"/>
                <a:gd name="T46" fmla="*/ 18 w 83"/>
                <a:gd name="T47" fmla="*/ 76 h 85"/>
                <a:gd name="T48" fmla="*/ 10 w 83"/>
                <a:gd name="T49" fmla="*/ 61 h 85"/>
                <a:gd name="T50" fmla="*/ 10 w 83"/>
                <a:gd name="T51" fmla="*/ 56 h 85"/>
                <a:gd name="T52" fmla="*/ 17 w 83"/>
                <a:gd name="T53" fmla="*/ 46 h 85"/>
                <a:gd name="T54" fmla="*/ 17 w 83"/>
                <a:gd name="T55" fmla="*/ 55 h 85"/>
                <a:gd name="T56" fmla="*/ 11 w 83"/>
                <a:gd name="T57" fmla="*/ 50 h 85"/>
                <a:gd name="T58" fmla="*/ 11 w 83"/>
                <a:gd name="T59" fmla="*/ 42 h 85"/>
                <a:gd name="T60" fmla="*/ 30 w 83"/>
                <a:gd name="T61" fmla="*/ 17 h 85"/>
                <a:gd name="T62" fmla="*/ 10 w 83"/>
                <a:gd name="T63" fmla="*/ 19 h 85"/>
                <a:gd name="T64" fmla="*/ 12 w 83"/>
                <a:gd name="T65" fmla="*/ 23 h 85"/>
                <a:gd name="T66" fmla="*/ 31 w 83"/>
                <a:gd name="T67" fmla="*/ 21 h 85"/>
                <a:gd name="T68" fmla="*/ 30 w 83"/>
                <a:gd name="T69" fmla="*/ 17 h 85"/>
                <a:gd name="T70" fmla="*/ 66 w 83"/>
                <a:gd name="T71" fmla="*/ 11 h 85"/>
                <a:gd name="T72" fmla="*/ 79 w 83"/>
                <a:gd name="T73" fmla="*/ 16 h 85"/>
                <a:gd name="T74" fmla="*/ 75 w 83"/>
                <a:gd name="T75" fmla="*/ 54 h 85"/>
                <a:gd name="T76" fmla="*/ 66 w 83"/>
                <a:gd name="T77" fmla="*/ 73 h 85"/>
                <a:gd name="T78" fmla="*/ 71 w 83"/>
                <a:gd name="T79" fmla="*/ 63 h 85"/>
                <a:gd name="T80" fmla="*/ 77 w 83"/>
                <a:gd name="T81" fmla="*/ 61 h 85"/>
                <a:gd name="T82" fmla="*/ 81 w 83"/>
                <a:gd name="T83" fmla="*/ 84 h 85"/>
                <a:gd name="T84" fmla="*/ 75 w 83"/>
                <a:gd name="T85" fmla="*/ 77 h 85"/>
                <a:gd name="T86" fmla="*/ 44 w 83"/>
                <a:gd name="T87" fmla="*/ 78 h 85"/>
                <a:gd name="T88" fmla="*/ 59 w 83"/>
                <a:gd name="T89" fmla="*/ 73 h 85"/>
                <a:gd name="T90" fmla="*/ 52 w 83"/>
                <a:gd name="T91" fmla="*/ 54 h 85"/>
                <a:gd name="T92" fmla="*/ 46 w 83"/>
                <a:gd name="T93" fmla="*/ 16 h 85"/>
                <a:gd name="T94" fmla="*/ 59 w 83"/>
                <a:gd name="T95" fmla="*/ 11 h 85"/>
                <a:gd name="T96" fmla="*/ 62 w 83"/>
                <a:gd name="T97" fmla="*/ 0 h 85"/>
                <a:gd name="T98" fmla="*/ 55 w 83"/>
                <a:gd name="T99" fmla="*/ 17 h 85"/>
                <a:gd name="T100" fmla="*/ 52 w 83"/>
                <a:gd name="T101" fmla="*/ 46 h 85"/>
                <a:gd name="T102" fmla="*/ 59 w 83"/>
                <a:gd name="T103" fmla="*/ 47 h 85"/>
                <a:gd name="T104" fmla="*/ 55 w 83"/>
                <a:gd name="T105" fmla="*/ 17 h 85"/>
                <a:gd name="T106" fmla="*/ 66 w 83"/>
                <a:gd name="T107" fmla="*/ 17 h 85"/>
                <a:gd name="T108" fmla="*/ 71 w 83"/>
                <a:gd name="T109" fmla="*/ 47 h 85"/>
                <a:gd name="T110" fmla="*/ 73 w 83"/>
                <a:gd name="T111" fmla="*/ 2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3" h="85">
                  <a:moveTo>
                    <a:pt x="4" y="1"/>
                  </a:moveTo>
                  <a:cubicBezTo>
                    <a:pt x="39" y="1"/>
                    <a:pt x="39" y="1"/>
                    <a:pt x="39" y="1"/>
                  </a:cubicBezTo>
                  <a:cubicBezTo>
                    <a:pt x="41" y="1"/>
                    <a:pt x="42" y="2"/>
                    <a:pt x="42" y="4"/>
                  </a:cubicBezTo>
                  <a:cubicBezTo>
                    <a:pt x="42" y="6"/>
                    <a:pt x="41" y="7"/>
                    <a:pt x="39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1" y="7"/>
                    <a:pt x="0" y="6"/>
                    <a:pt x="0" y="4"/>
                  </a:cubicBezTo>
                  <a:cubicBezTo>
                    <a:pt x="0" y="2"/>
                    <a:pt x="1" y="1"/>
                    <a:pt x="4" y="1"/>
                  </a:cubicBezTo>
                  <a:close/>
                  <a:moveTo>
                    <a:pt x="6" y="35"/>
                  </a:moveTo>
                  <a:cubicBezTo>
                    <a:pt x="35" y="35"/>
                    <a:pt x="35" y="35"/>
                    <a:pt x="35" y="35"/>
                  </a:cubicBezTo>
                  <a:cubicBezTo>
                    <a:pt x="40" y="35"/>
                    <a:pt x="43" y="37"/>
                    <a:pt x="42" y="41"/>
                  </a:cubicBezTo>
                  <a:cubicBezTo>
                    <a:pt x="42" y="74"/>
                    <a:pt x="42" y="74"/>
                    <a:pt x="42" y="74"/>
                  </a:cubicBezTo>
                  <a:cubicBezTo>
                    <a:pt x="42" y="81"/>
                    <a:pt x="37" y="82"/>
                    <a:pt x="28" y="80"/>
                  </a:cubicBezTo>
                  <a:cubicBezTo>
                    <a:pt x="26" y="79"/>
                    <a:pt x="26" y="78"/>
                    <a:pt x="26" y="76"/>
                  </a:cubicBezTo>
                  <a:cubicBezTo>
                    <a:pt x="27" y="74"/>
                    <a:pt x="28" y="74"/>
                    <a:pt x="30" y="74"/>
                  </a:cubicBezTo>
                  <a:cubicBezTo>
                    <a:pt x="34" y="76"/>
                    <a:pt x="36" y="76"/>
                    <a:pt x="36" y="73"/>
                  </a:cubicBezTo>
                  <a:cubicBezTo>
                    <a:pt x="36" y="42"/>
                    <a:pt x="36" y="42"/>
                    <a:pt x="36" y="42"/>
                  </a:cubicBezTo>
                  <a:cubicBezTo>
                    <a:pt x="36" y="41"/>
                    <a:pt x="36" y="40"/>
                    <a:pt x="35" y="40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6" y="40"/>
                    <a:pt x="5" y="41"/>
                    <a:pt x="6" y="43"/>
                  </a:cubicBezTo>
                  <a:cubicBezTo>
                    <a:pt x="6" y="79"/>
                    <a:pt x="6" y="79"/>
                    <a:pt x="6" y="79"/>
                  </a:cubicBezTo>
                  <a:cubicBezTo>
                    <a:pt x="5" y="81"/>
                    <a:pt x="4" y="82"/>
                    <a:pt x="3" y="82"/>
                  </a:cubicBezTo>
                  <a:cubicBezTo>
                    <a:pt x="1" y="82"/>
                    <a:pt x="0" y="81"/>
                    <a:pt x="0" y="79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37"/>
                    <a:pt x="2" y="35"/>
                    <a:pt x="6" y="35"/>
                  </a:cubicBezTo>
                  <a:close/>
                  <a:moveTo>
                    <a:pt x="9" y="11"/>
                  </a:moveTo>
                  <a:cubicBezTo>
                    <a:pt x="32" y="11"/>
                    <a:pt x="32" y="11"/>
                    <a:pt x="32" y="11"/>
                  </a:cubicBezTo>
                  <a:cubicBezTo>
                    <a:pt x="36" y="11"/>
                    <a:pt x="38" y="13"/>
                    <a:pt x="37" y="17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8" y="28"/>
                    <a:pt x="36" y="30"/>
                    <a:pt x="32" y="29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5" y="29"/>
                    <a:pt x="4" y="27"/>
                    <a:pt x="4" y="23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3" y="13"/>
                    <a:pt x="5" y="11"/>
                    <a:pt x="9" y="11"/>
                  </a:cubicBezTo>
                  <a:close/>
                  <a:moveTo>
                    <a:pt x="10" y="56"/>
                  </a:moveTo>
                  <a:cubicBezTo>
                    <a:pt x="22" y="56"/>
                    <a:pt x="22" y="56"/>
                    <a:pt x="22" y="56"/>
                  </a:cubicBezTo>
                  <a:cubicBezTo>
                    <a:pt x="22" y="55"/>
                    <a:pt x="22" y="54"/>
                    <a:pt x="23" y="53"/>
                  </a:cubicBezTo>
                  <a:cubicBezTo>
                    <a:pt x="24" y="50"/>
                    <a:pt x="26" y="46"/>
                    <a:pt x="27" y="43"/>
                  </a:cubicBezTo>
                  <a:cubicBezTo>
                    <a:pt x="28" y="41"/>
                    <a:pt x="29" y="41"/>
                    <a:pt x="31" y="41"/>
                  </a:cubicBezTo>
                  <a:cubicBezTo>
                    <a:pt x="33" y="42"/>
                    <a:pt x="33" y="44"/>
                    <a:pt x="33" y="46"/>
                  </a:cubicBezTo>
                  <a:cubicBezTo>
                    <a:pt x="32" y="47"/>
                    <a:pt x="32" y="47"/>
                    <a:pt x="31" y="48"/>
                  </a:cubicBezTo>
                  <a:cubicBezTo>
                    <a:pt x="30" y="52"/>
                    <a:pt x="29" y="54"/>
                    <a:pt x="28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3" y="56"/>
                    <a:pt x="34" y="57"/>
                    <a:pt x="34" y="59"/>
                  </a:cubicBezTo>
                  <a:cubicBezTo>
                    <a:pt x="34" y="61"/>
                    <a:pt x="33" y="61"/>
                    <a:pt x="32" y="61"/>
                  </a:cubicBezTo>
                  <a:cubicBezTo>
                    <a:pt x="24" y="61"/>
                    <a:pt x="24" y="61"/>
                    <a:pt x="24" y="61"/>
                  </a:cubicBezTo>
                  <a:cubicBezTo>
                    <a:pt x="24" y="76"/>
                    <a:pt x="24" y="76"/>
                    <a:pt x="24" y="76"/>
                  </a:cubicBezTo>
                  <a:cubicBezTo>
                    <a:pt x="23" y="77"/>
                    <a:pt x="22" y="78"/>
                    <a:pt x="20" y="78"/>
                  </a:cubicBezTo>
                  <a:cubicBezTo>
                    <a:pt x="19" y="78"/>
                    <a:pt x="18" y="77"/>
                    <a:pt x="18" y="76"/>
                  </a:cubicBezTo>
                  <a:cubicBezTo>
                    <a:pt x="18" y="61"/>
                    <a:pt x="18" y="61"/>
                    <a:pt x="18" y="61"/>
                  </a:cubicBezTo>
                  <a:cubicBezTo>
                    <a:pt x="10" y="61"/>
                    <a:pt x="10" y="61"/>
                    <a:pt x="10" y="61"/>
                  </a:cubicBezTo>
                  <a:cubicBezTo>
                    <a:pt x="8" y="61"/>
                    <a:pt x="7" y="61"/>
                    <a:pt x="7" y="59"/>
                  </a:cubicBezTo>
                  <a:cubicBezTo>
                    <a:pt x="7" y="57"/>
                    <a:pt x="8" y="56"/>
                    <a:pt x="10" y="56"/>
                  </a:cubicBezTo>
                  <a:close/>
                  <a:moveTo>
                    <a:pt x="15" y="43"/>
                  </a:moveTo>
                  <a:cubicBezTo>
                    <a:pt x="15" y="44"/>
                    <a:pt x="16" y="45"/>
                    <a:pt x="17" y="46"/>
                  </a:cubicBezTo>
                  <a:cubicBezTo>
                    <a:pt x="17" y="48"/>
                    <a:pt x="18" y="49"/>
                    <a:pt x="19" y="51"/>
                  </a:cubicBezTo>
                  <a:cubicBezTo>
                    <a:pt x="19" y="53"/>
                    <a:pt x="19" y="54"/>
                    <a:pt x="17" y="55"/>
                  </a:cubicBezTo>
                  <a:cubicBezTo>
                    <a:pt x="15" y="56"/>
                    <a:pt x="13" y="55"/>
                    <a:pt x="13" y="53"/>
                  </a:cubicBezTo>
                  <a:cubicBezTo>
                    <a:pt x="12" y="52"/>
                    <a:pt x="12" y="51"/>
                    <a:pt x="11" y="50"/>
                  </a:cubicBezTo>
                  <a:cubicBezTo>
                    <a:pt x="11" y="48"/>
                    <a:pt x="10" y="47"/>
                    <a:pt x="10" y="46"/>
                  </a:cubicBezTo>
                  <a:cubicBezTo>
                    <a:pt x="9" y="44"/>
                    <a:pt x="9" y="43"/>
                    <a:pt x="11" y="42"/>
                  </a:cubicBezTo>
                  <a:cubicBezTo>
                    <a:pt x="13" y="41"/>
                    <a:pt x="14" y="41"/>
                    <a:pt x="15" y="43"/>
                  </a:cubicBezTo>
                  <a:close/>
                  <a:moveTo>
                    <a:pt x="30" y="17"/>
                  </a:moveTo>
                  <a:cubicBezTo>
                    <a:pt x="11" y="17"/>
                    <a:pt x="11" y="17"/>
                    <a:pt x="11" y="17"/>
                  </a:cubicBezTo>
                  <a:cubicBezTo>
                    <a:pt x="10" y="17"/>
                    <a:pt x="9" y="18"/>
                    <a:pt x="10" y="19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10" y="23"/>
                    <a:pt x="10" y="23"/>
                    <a:pt x="12" y="23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31" y="23"/>
                    <a:pt x="31" y="23"/>
                    <a:pt x="31" y="21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1" y="18"/>
                    <a:pt x="31" y="17"/>
                    <a:pt x="30" y="17"/>
                  </a:cubicBezTo>
                  <a:close/>
                  <a:moveTo>
                    <a:pt x="66" y="3"/>
                  </a:moveTo>
                  <a:cubicBezTo>
                    <a:pt x="66" y="11"/>
                    <a:pt x="66" y="11"/>
                    <a:pt x="66" y="11"/>
                  </a:cubicBezTo>
                  <a:cubicBezTo>
                    <a:pt x="74" y="11"/>
                    <a:pt x="74" y="11"/>
                    <a:pt x="74" y="11"/>
                  </a:cubicBezTo>
                  <a:cubicBezTo>
                    <a:pt x="78" y="11"/>
                    <a:pt x="79" y="12"/>
                    <a:pt x="79" y="16"/>
                  </a:cubicBezTo>
                  <a:cubicBezTo>
                    <a:pt x="79" y="48"/>
                    <a:pt x="79" y="48"/>
                    <a:pt x="79" y="48"/>
                  </a:cubicBezTo>
                  <a:cubicBezTo>
                    <a:pt x="79" y="52"/>
                    <a:pt x="78" y="54"/>
                    <a:pt x="75" y="54"/>
                  </a:cubicBezTo>
                  <a:cubicBezTo>
                    <a:pt x="66" y="54"/>
                    <a:pt x="66" y="54"/>
                    <a:pt x="66" y="54"/>
                  </a:cubicBezTo>
                  <a:cubicBezTo>
                    <a:pt x="66" y="73"/>
                    <a:pt x="66" y="73"/>
                    <a:pt x="66" y="73"/>
                  </a:cubicBezTo>
                  <a:cubicBezTo>
                    <a:pt x="74" y="72"/>
                    <a:pt x="74" y="72"/>
                    <a:pt x="74" y="72"/>
                  </a:cubicBezTo>
                  <a:cubicBezTo>
                    <a:pt x="72" y="67"/>
                    <a:pt x="71" y="64"/>
                    <a:pt x="71" y="63"/>
                  </a:cubicBezTo>
                  <a:cubicBezTo>
                    <a:pt x="70" y="61"/>
                    <a:pt x="71" y="60"/>
                    <a:pt x="73" y="59"/>
                  </a:cubicBezTo>
                  <a:cubicBezTo>
                    <a:pt x="75" y="59"/>
                    <a:pt x="76" y="59"/>
                    <a:pt x="77" y="61"/>
                  </a:cubicBezTo>
                  <a:cubicBezTo>
                    <a:pt x="80" y="69"/>
                    <a:pt x="82" y="76"/>
                    <a:pt x="83" y="81"/>
                  </a:cubicBezTo>
                  <a:cubicBezTo>
                    <a:pt x="83" y="83"/>
                    <a:pt x="83" y="84"/>
                    <a:pt x="81" y="84"/>
                  </a:cubicBezTo>
                  <a:cubicBezTo>
                    <a:pt x="79" y="85"/>
                    <a:pt x="77" y="84"/>
                    <a:pt x="77" y="82"/>
                  </a:cubicBezTo>
                  <a:cubicBezTo>
                    <a:pt x="77" y="82"/>
                    <a:pt x="76" y="80"/>
                    <a:pt x="75" y="77"/>
                  </a:cubicBezTo>
                  <a:cubicBezTo>
                    <a:pt x="58" y="79"/>
                    <a:pt x="48" y="81"/>
                    <a:pt x="48" y="81"/>
                  </a:cubicBezTo>
                  <a:cubicBezTo>
                    <a:pt x="46" y="81"/>
                    <a:pt x="44" y="80"/>
                    <a:pt x="44" y="78"/>
                  </a:cubicBezTo>
                  <a:cubicBezTo>
                    <a:pt x="44" y="76"/>
                    <a:pt x="45" y="75"/>
                    <a:pt x="47" y="74"/>
                  </a:cubicBezTo>
                  <a:cubicBezTo>
                    <a:pt x="48" y="74"/>
                    <a:pt x="52" y="74"/>
                    <a:pt x="59" y="73"/>
                  </a:cubicBezTo>
                  <a:cubicBezTo>
                    <a:pt x="59" y="54"/>
                    <a:pt x="59" y="54"/>
                    <a:pt x="59" y="54"/>
                  </a:cubicBezTo>
                  <a:cubicBezTo>
                    <a:pt x="52" y="54"/>
                    <a:pt x="52" y="54"/>
                    <a:pt x="52" y="54"/>
                  </a:cubicBezTo>
                  <a:cubicBezTo>
                    <a:pt x="48" y="54"/>
                    <a:pt x="45" y="52"/>
                    <a:pt x="46" y="49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6" y="12"/>
                    <a:pt x="48" y="11"/>
                    <a:pt x="52" y="11"/>
                  </a:cubicBezTo>
                  <a:cubicBezTo>
                    <a:pt x="59" y="11"/>
                    <a:pt x="59" y="11"/>
                    <a:pt x="59" y="11"/>
                  </a:cubicBezTo>
                  <a:cubicBezTo>
                    <a:pt x="59" y="3"/>
                    <a:pt x="59" y="3"/>
                    <a:pt x="59" y="3"/>
                  </a:cubicBezTo>
                  <a:cubicBezTo>
                    <a:pt x="59" y="1"/>
                    <a:pt x="60" y="0"/>
                    <a:pt x="62" y="0"/>
                  </a:cubicBezTo>
                  <a:cubicBezTo>
                    <a:pt x="65" y="0"/>
                    <a:pt x="66" y="1"/>
                    <a:pt x="66" y="3"/>
                  </a:cubicBezTo>
                  <a:close/>
                  <a:moveTo>
                    <a:pt x="55" y="17"/>
                  </a:moveTo>
                  <a:cubicBezTo>
                    <a:pt x="53" y="17"/>
                    <a:pt x="52" y="18"/>
                    <a:pt x="52" y="20"/>
                  </a:cubicBezTo>
                  <a:cubicBezTo>
                    <a:pt x="52" y="46"/>
                    <a:pt x="52" y="46"/>
                    <a:pt x="52" y="46"/>
                  </a:cubicBezTo>
                  <a:cubicBezTo>
                    <a:pt x="52" y="47"/>
                    <a:pt x="53" y="48"/>
                    <a:pt x="54" y="47"/>
                  </a:cubicBezTo>
                  <a:cubicBezTo>
                    <a:pt x="59" y="47"/>
                    <a:pt x="59" y="47"/>
                    <a:pt x="59" y="47"/>
                  </a:cubicBezTo>
                  <a:cubicBezTo>
                    <a:pt x="59" y="17"/>
                    <a:pt x="59" y="17"/>
                    <a:pt x="59" y="17"/>
                  </a:cubicBezTo>
                  <a:lnTo>
                    <a:pt x="55" y="17"/>
                  </a:lnTo>
                  <a:close/>
                  <a:moveTo>
                    <a:pt x="71" y="17"/>
                  </a:moveTo>
                  <a:cubicBezTo>
                    <a:pt x="66" y="17"/>
                    <a:pt x="66" y="17"/>
                    <a:pt x="66" y="17"/>
                  </a:cubicBezTo>
                  <a:cubicBezTo>
                    <a:pt x="66" y="47"/>
                    <a:pt x="66" y="47"/>
                    <a:pt x="66" y="47"/>
                  </a:cubicBezTo>
                  <a:cubicBezTo>
                    <a:pt x="71" y="47"/>
                    <a:pt x="71" y="47"/>
                    <a:pt x="71" y="47"/>
                  </a:cubicBezTo>
                  <a:cubicBezTo>
                    <a:pt x="72" y="48"/>
                    <a:pt x="73" y="47"/>
                    <a:pt x="73" y="46"/>
                  </a:cubicBezTo>
                  <a:cubicBezTo>
                    <a:pt x="73" y="20"/>
                    <a:pt x="73" y="20"/>
                    <a:pt x="73" y="20"/>
                  </a:cubicBezTo>
                  <a:cubicBezTo>
                    <a:pt x="73" y="18"/>
                    <a:pt x="72" y="17"/>
                    <a:pt x="71" y="17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0" name="Freeform 10"/>
            <p:cNvSpPr>
              <a:spLocks noEditPoints="1"/>
            </p:cNvSpPr>
            <p:nvPr/>
          </p:nvSpPr>
          <p:spPr bwMode="auto">
            <a:xfrm>
              <a:off x="1476375" y="896938"/>
              <a:ext cx="144463" cy="136525"/>
            </a:xfrm>
            <a:custGeom>
              <a:avLst/>
              <a:gdLst>
                <a:gd name="T0" fmla="*/ 34 w 88"/>
                <a:gd name="T1" fmla="*/ 0 h 83"/>
                <a:gd name="T2" fmla="*/ 38 w 88"/>
                <a:gd name="T3" fmla="*/ 2 h 83"/>
                <a:gd name="T4" fmla="*/ 36 w 88"/>
                <a:gd name="T5" fmla="*/ 6 h 83"/>
                <a:gd name="T6" fmla="*/ 25 w 88"/>
                <a:gd name="T7" fmla="*/ 8 h 83"/>
                <a:gd name="T8" fmla="*/ 25 w 88"/>
                <a:gd name="T9" fmla="*/ 23 h 83"/>
                <a:gd name="T10" fmla="*/ 37 w 88"/>
                <a:gd name="T11" fmla="*/ 23 h 83"/>
                <a:gd name="T12" fmla="*/ 37 w 88"/>
                <a:gd name="T13" fmla="*/ 30 h 83"/>
                <a:gd name="T14" fmla="*/ 25 w 88"/>
                <a:gd name="T15" fmla="*/ 30 h 83"/>
                <a:gd name="T16" fmla="*/ 25 w 88"/>
                <a:gd name="T17" fmla="*/ 32 h 83"/>
                <a:gd name="T18" fmla="*/ 39 w 88"/>
                <a:gd name="T19" fmla="*/ 49 h 83"/>
                <a:gd name="T20" fmla="*/ 38 w 88"/>
                <a:gd name="T21" fmla="*/ 54 h 83"/>
                <a:gd name="T22" fmla="*/ 34 w 88"/>
                <a:gd name="T23" fmla="*/ 53 h 83"/>
                <a:gd name="T24" fmla="*/ 25 w 88"/>
                <a:gd name="T25" fmla="*/ 41 h 83"/>
                <a:gd name="T26" fmla="*/ 25 w 88"/>
                <a:gd name="T27" fmla="*/ 79 h 83"/>
                <a:gd name="T28" fmla="*/ 22 w 88"/>
                <a:gd name="T29" fmla="*/ 82 h 83"/>
                <a:gd name="T30" fmla="*/ 19 w 88"/>
                <a:gd name="T31" fmla="*/ 79 h 83"/>
                <a:gd name="T32" fmla="*/ 19 w 88"/>
                <a:gd name="T33" fmla="*/ 42 h 83"/>
                <a:gd name="T34" fmla="*/ 7 w 88"/>
                <a:gd name="T35" fmla="*/ 59 h 83"/>
                <a:gd name="T36" fmla="*/ 1 w 88"/>
                <a:gd name="T37" fmla="*/ 59 h 83"/>
                <a:gd name="T38" fmla="*/ 2 w 88"/>
                <a:gd name="T39" fmla="*/ 54 h 83"/>
                <a:gd name="T40" fmla="*/ 18 w 88"/>
                <a:gd name="T41" fmla="*/ 30 h 83"/>
                <a:gd name="T42" fmla="*/ 5 w 88"/>
                <a:gd name="T43" fmla="*/ 30 h 83"/>
                <a:gd name="T44" fmla="*/ 5 w 88"/>
                <a:gd name="T45" fmla="*/ 23 h 83"/>
                <a:gd name="T46" fmla="*/ 19 w 88"/>
                <a:gd name="T47" fmla="*/ 23 h 83"/>
                <a:gd name="T48" fmla="*/ 19 w 88"/>
                <a:gd name="T49" fmla="*/ 9 h 83"/>
                <a:gd name="T50" fmla="*/ 7 w 88"/>
                <a:gd name="T51" fmla="*/ 10 h 83"/>
                <a:gd name="T52" fmla="*/ 6 w 88"/>
                <a:gd name="T53" fmla="*/ 3 h 83"/>
                <a:gd name="T54" fmla="*/ 34 w 88"/>
                <a:gd name="T55" fmla="*/ 0 h 83"/>
                <a:gd name="T56" fmla="*/ 76 w 88"/>
                <a:gd name="T57" fmla="*/ 4 h 83"/>
                <a:gd name="T58" fmla="*/ 76 w 88"/>
                <a:gd name="T59" fmla="*/ 52 h 83"/>
                <a:gd name="T60" fmla="*/ 81 w 88"/>
                <a:gd name="T61" fmla="*/ 51 h 83"/>
                <a:gd name="T62" fmla="*/ 84 w 88"/>
                <a:gd name="T63" fmla="*/ 50 h 83"/>
                <a:gd name="T64" fmla="*/ 85 w 88"/>
                <a:gd name="T65" fmla="*/ 58 h 83"/>
                <a:gd name="T66" fmla="*/ 76 w 88"/>
                <a:gd name="T67" fmla="*/ 59 h 83"/>
                <a:gd name="T68" fmla="*/ 76 w 88"/>
                <a:gd name="T69" fmla="*/ 80 h 83"/>
                <a:gd name="T70" fmla="*/ 72 w 88"/>
                <a:gd name="T71" fmla="*/ 83 h 83"/>
                <a:gd name="T72" fmla="*/ 69 w 88"/>
                <a:gd name="T73" fmla="*/ 80 h 83"/>
                <a:gd name="T74" fmla="*/ 69 w 88"/>
                <a:gd name="T75" fmla="*/ 60 h 83"/>
                <a:gd name="T76" fmla="*/ 37 w 88"/>
                <a:gd name="T77" fmla="*/ 65 h 83"/>
                <a:gd name="T78" fmla="*/ 33 w 88"/>
                <a:gd name="T79" fmla="*/ 62 h 83"/>
                <a:gd name="T80" fmla="*/ 36 w 88"/>
                <a:gd name="T81" fmla="*/ 58 h 83"/>
                <a:gd name="T82" fmla="*/ 42 w 88"/>
                <a:gd name="T83" fmla="*/ 57 h 83"/>
                <a:gd name="T84" fmla="*/ 69 w 88"/>
                <a:gd name="T85" fmla="*/ 53 h 83"/>
                <a:gd name="T86" fmla="*/ 69 w 88"/>
                <a:gd name="T87" fmla="*/ 5 h 83"/>
                <a:gd name="T88" fmla="*/ 72 w 88"/>
                <a:gd name="T89" fmla="*/ 2 h 83"/>
                <a:gd name="T90" fmla="*/ 76 w 88"/>
                <a:gd name="T91" fmla="*/ 4 h 83"/>
                <a:gd name="T92" fmla="*/ 47 w 88"/>
                <a:gd name="T93" fmla="*/ 26 h 83"/>
                <a:gd name="T94" fmla="*/ 60 w 88"/>
                <a:gd name="T95" fmla="*/ 40 h 83"/>
                <a:gd name="T96" fmla="*/ 59 w 88"/>
                <a:gd name="T97" fmla="*/ 45 h 83"/>
                <a:gd name="T98" fmla="*/ 55 w 88"/>
                <a:gd name="T99" fmla="*/ 45 h 83"/>
                <a:gd name="T100" fmla="*/ 42 w 88"/>
                <a:gd name="T101" fmla="*/ 31 h 83"/>
                <a:gd name="T102" fmla="*/ 42 w 88"/>
                <a:gd name="T103" fmla="*/ 26 h 83"/>
                <a:gd name="T104" fmla="*/ 47 w 88"/>
                <a:gd name="T105" fmla="*/ 26 h 83"/>
                <a:gd name="T106" fmla="*/ 51 w 88"/>
                <a:gd name="T107" fmla="*/ 5 h 83"/>
                <a:gd name="T108" fmla="*/ 65 w 88"/>
                <a:gd name="T109" fmla="*/ 21 h 83"/>
                <a:gd name="T110" fmla="*/ 64 w 88"/>
                <a:gd name="T111" fmla="*/ 26 h 83"/>
                <a:gd name="T112" fmla="*/ 60 w 88"/>
                <a:gd name="T113" fmla="*/ 25 h 83"/>
                <a:gd name="T114" fmla="*/ 46 w 88"/>
                <a:gd name="T115" fmla="*/ 10 h 83"/>
                <a:gd name="T116" fmla="*/ 46 w 88"/>
                <a:gd name="T117" fmla="*/ 5 h 83"/>
                <a:gd name="T118" fmla="*/ 51 w 88"/>
                <a:gd name="T119" fmla="*/ 5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8" h="83">
                  <a:moveTo>
                    <a:pt x="34" y="0"/>
                  </a:moveTo>
                  <a:cubicBezTo>
                    <a:pt x="36" y="0"/>
                    <a:pt x="38" y="0"/>
                    <a:pt x="38" y="2"/>
                  </a:cubicBezTo>
                  <a:cubicBezTo>
                    <a:pt x="39" y="4"/>
                    <a:pt x="38" y="6"/>
                    <a:pt x="36" y="6"/>
                  </a:cubicBezTo>
                  <a:cubicBezTo>
                    <a:pt x="33" y="7"/>
                    <a:pt x="29" y="8"/>
                    <a:pt x="25" y="8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41" y="26"/>
                    <a:pt x="41" y="28"/>
                    <a:pt x="37" y="30"/>
                  </a:cubicBezTo>
                  <a:cubicBezTo>
                    <a:pt x="25" y="30"/>
                    <a:pt x="25" y="30"/>
                    <a:pt x="25" y="30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31" y="38"/>
                    <a:pt x="36" y="43"/>
                    <a:pt x="39" y="49"/>
                  </a:cubicBezTo>
                  <a:cubicBezTo>
                    <a:pt x="40" y="51"/>
                    <a:pt x="40" y="53"/>
                    <a:pt x="38" y="54"/>
                  </a:cubicBezTo>
                  <a:cubicBezTo>
                    <a:pt x="36" y="56"/>
                    <a:pt x="35" y="55"/>
                    <a:pt x="34" y="53"/>
                  </a:cubicBezTo>
                  <a:cubicBezTo>
                    <a:pt x="32" y="50"/>
                    <a:pt x="29" y="46"/>
                    <a:pt x="25" y="41"/>
                  </a:cubicBezTo>
                  <a:cubicBezTo>
                    <a:pt x="25" y="79"/>
                    <a:pt x="25" y="79"/>
                    <a:pt x="25" y="79"/>
                  </a:cubicBezTo>
                  <a:cubicBezTo>
                    <a:pt x="25" y="80"/>
                    <a:pt x="24" y="81"/>
                    <a:pt x="22" y="82"/>
                  </a:cubicBezTo>
                  <a:cubicBezTo>
                    <a:pt x="20" y="81"/>
                    <a:pt x="19" y="80"/>
                    <a:pt x="19" y="79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5" y="49"/>
                    <a:pt x="11" y="54"/>
                    <a:pt x="7" y="59"/>
                  </a:cubicBezTo>
                  <a:cubicBezTo>
                    <a:pt x="5" y="61"/>
                    <a:pt x="3" y="61"/>
                    <a:pt x="1" y="59"/>
                  </a:cubicBezTo>
                  <a:cubicBezTo>
                    <a:pt x="0" y="58"/>
                    <a:pt x="0" y="56"/>
                    <a:pt x="2" y="54"/>
                  </a:cubicBezTo>
                  <a:cubicBezTo>
                    <a:pt x="9" y="48"/>
                    <a:pt x="14" y="40"/>
                    <a:pt x="18" y="30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1" y="28"/>
                    <a:pt x="1" y="25"/>
                    <a:pt x="5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5" y="10"/>
                    <a:pt x="11" y="10"/>
                    <a:pt x="7" y="10"/>
                  </a:cubicBezTo>
                  <a:cubicBezTo>
                    <a:pt x="3" y="9"/>
                    <a:pt x="3" y="6"/>
                    <a:pt x="6" y="3"/>
                  </a:cubicBezTo>
                  <a:cubicBezTo>
                    <a:pt x="15" y="3"/>
                    <a:pt x="25" y="2"/>
                    <a:pt x="34" y="0"/>
                  </a:cubicBezTo>
                  <a:close/>
                  <a:moveTo>
                    <a:pt x="76" y="4"/>
                  </a:moveTo>
                  <a:cubicBezTo>
                    <a:pt x="76" y="52"/>
                    <a:pt x="76" y="52"/>
                    <a:pt x="76" y="52"/>
                  </a:cubicBezTo>
                  <a:cubicBezTo>
                    <a:pt x="77" y="51"/>
                    <a:pt x="79" y="51"/>
                    <a:pt x="81" y="51"/>
                  </a:cubicBezTo>
                  <a:cubicBezTo>
                    <a:pt x="83" y="51"/>
                    <a:pt x="84" y="50"/>
                    <a:pt x="84" y="50"/>
                  </a:cubicBezTo>
                  <a:cubicBezTo>
                    <a:pt x="88" y="53"/>
                    <a:pt x="88" y="55"/>
                    <a:pt x="85" y="58"/>
                  </a:cubicBezTo>
                  <a:cubicBezTo>
                    <a:pt x="80" y="58"/>
                    <a:pt x="77" y="59"/>
                    <a:pt x="76" y="59"/>
                  </a:cubicBezTo>
                  <a:cubicBezTo>
                    <a:pt x="76" y="80"/>
                    <a:pt x="76" y="80"/>
                    <a:pt x="76" y="80"/>
                  </a:cubicBezTo>
                  <a:cubicBezTo>
                    <a:pt x="75" y="82"/>
                    <a:pt x="74" y="83"/>
                    <a:pt x="72" y="83"/>
                  </a:cubicBezTo>
                  <a:cubicBezTo>
                    <a:pt x="70" y="83"/>
                    <a:pt x="69" y="82"/>
                    <a:pt x="69" y="80"/>
                  </a:cubicBezTo>
                  <a:cubicBezTo>
                    <a:pt x="69" y="60"/>
                    <a:pt x="69" y="60"/>
                    <a:pt x="69" y="60"/>
                  </a:cubicBezTo>
                  <a:cubicBezTo>
                    <a:pt x="54" y="63"/>
                    <a:pt x="43" y="64"/>
                    <a:pt x="37" y="65"/>
                  </a:cubicBezTo>
                  <a:cubicBezTo>
                    <a:pt x="35" y="65"/>
                    <a:pt x="34" y="64"/>
                    <a:pt x="33" y="62"/>
                  </a:cubicBezTo>
                  <a:cubicBezTo>
                    <a:pt x="33" y="60"/>
                    <a:pt x="34" y="58"/>
                    <a:pt x="36" y="58"/>
                  </a:cubicBezTo>
                  <a:cubicBezTo>
                    <a:pt x="37" y="58"/>
                    <a:pt x="39" y="57"/>
                    <a:pt x="42" y="57"/>
                  </a:cubicBezTo>
                  <a:cubicBezTo>
                    <a:pt x="53" y="55"/>
                    <a:pt x="62" y="54"/>
                    <a:pt x="69" y="53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69" y="3"/>
                    <a:pt x="70" y="2"/>
                    <a:pt x="72" y="2"/>
                  </a:cubicBezTo>
                  <a:cubicBezTo>
                    <a:pt x="74" y="2"/>
                    <a:pt x="75" y="3"/>
                    <a:pt x="76" y="4"/>
                  </a:cubicBezTo>
                  <a:close/>
                  <a:moveTo>
                    <a:pt x="47" y="26"/>
                  </a:moveTo>
                  <a:cubicBezTo>
                    <a:pt x="52" y="30"/>
                    <a:pt x="56" y="34"/>
                    <a:pt x="60" y="40"/>
                  </a:cubicBezTo>
                  <a:cubicBezTo>
                    <a:pt x="61" y="42"/>
                    <a:pt x="61" y="44"/>
                    <a:pt x="59" y="45"/>
                  </a:cubicBezTo>
                  <a:cubicBezTo>
                    <a:pt x="57" y="47"/>
                    <a:pt x="56" y="46"/>
                    <a:pt x="55" y="45"/>
                  </a:cubicBezTo>
                  <a:cubicBezTo>
                    <a:pt x="51" y="39"/>
                    <a:pt x="47" y="35"/>
                    <a:pt x="42" y="31"/>
                  </a:cubicBezTo>
                  <a:cubicBezTo>
                    <a:pt x="41" y="30"/>
                    <a:pt x="40" y="28"/>
                    <a:pt x="42" y="26"/>
                  </a:cubicBezTo>
                  <a:cubicBezTo>
                    <a:pt x="43" y="25"/>
                    <a:pt x="45" y="25"/>
                    <a:pt x="47" y="26"/>
                  </a:cubicBezTo>
                  <a:close/>
                  <a:moveTo>
                    <a:pt x="51" y="5"/>
                  </a:moveTo>
                  <a:cubicBezTo>
                    <a:pt x="56" y="10"/>
                    <a:pt x="61" y="15"/>
                    <a:pt x="65" y="21"/>
                  </a:cubicBezTo>
                  <a:cubicBezTo>
                    <a:pt x="66" y="23"/>
                    <a:pt x="66" y="25"/>
                    <a:pt x="64" y="26"/>
                  </a:cubicBezTo>
                  <a:cubicBezTo>
                    <a:pt x="63" y="27"/>
                    <a:pt x="61" y="27"/>
                    <a:pt x="60" y="25"/>
                  </a:cubicBezTo>
                  <a:cubicBezTo>
                    <a:pt x="56" y="20"/>
                    <a:pt x="51" y="15"/>
                    <a:pt x="46" y="10"/>
                  </a:cubicBezTo>
                  <a:cubicBezTo>
                    <a:pt x="45" y="9"/>
                    <a:pt x="44" y="7"/>
                    <a:pt x="46" y="5"/>
                  </a:cubicBezTo>
                  <a:cubicBezTo>
                    <a:pt x="47" y="4"/>
                    <a:pt x="49" y="4"/>
                    <a:pt x="51" y="5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1" name="Freeform 11"/>
            <p:cNvSpPr>
              <a:spLocks noEditPoints="1"/>
            </p:cNvSpPr>
            <p:nvPr/>
          </p:nvSpPr>
          <p:spPr bwMode="auto">
            <a:xfrm>
              <a:off x="1644650" y="896938"/>
              <a:ext cx="144463" cy="134937"/>
            </a:xfrm>
            <a:custGeom>
              <a:avLst/>
              <a:gdLst>
                <a:gd name="T0" fmla="*/ 20 w 88"/>
                <a:gd name="T1" fmla="*/ 17 h 82"/>
                <a:gd name="T2" fmla="*/ 30 w 88"/>
                <a:gd name="T3" fmla="*/ 20 h 82"/>
                <a:gd name="T4" fmla="*/ 20 w 88"/>
                <a:gd name="T5" fmla="*/ 23 h 82"/>
                <a:gd name="T6" fmla="*/ 26 w 88"/>
                <a:gd name="T7" fmla="*/ 38 h 82"/>
                <a:gd name="T8" fmla="*/ 30 w 88"/>
                <a:gd name="T9" fmla="*/ 43 h 82"/>
                <a:gd name="T10" fmla="*/ 20 w 88"/>
                <a:gd name="T11" fmla="*/ 75 h 82"/>
                <a:gd name="T12" fmla="*/ 3 w 88"/>
                <a:gd name="T13" fmla="*/ 76 h 82"/>
                <a:gd name="T14" fmla="*/ 13 w 88"/>
                <a:gd name="T15" fmla="*/ 72 h 82"/>
                <a:gd name="T16" fmla="*/ 9 w 88"/>
                <a:gd name="T17" fmla="*/ 52 h 82"/>
                <a:gd name="T18" fmla="*/ 0 w 88"/>
                <a:gd name="T19" fmla="*/ 52 h 82"/>
                <a:gd name="T20" fmla="*/ 5 w 88"/>
                <a:gd name="T21" fmla="*/ 47 h 82"/>
                <a:gd name="T22" fmla="*/ 13 w 88"/>
                <a:gd name="T23" fmla="*/ 23 h 82"/>
                <a:gd name="T24" fmla="*/ 2 w 88"/>
                <a:gd name="T25" fmla="*/ 20 h 82"/>
                <a:gd name="T26" fmla="*/ 13 w 88"/>
                <a:gd name="T27" fmla="*/ 17 h 82"/>
                <a:gd name="T28" fmla="*/ 17 w 88"/>
                <a:gd name="T29" fmla="*/ 1 h 82"/>
                <a:gd name="T30" fmla="*/ 58 w 88"/>
                <a:gd name="T31" fmla="*/ 3 h 82"/>
                <a:gd name="T32" fmla="*/ 81 w 88"/>
                <a:gd name="T33" fmla="*/ 8 h 82"/>
                <a:gd name="T34" fmla="*/ 81 w 88"/>
                <a:gd name="T35" fmla="*/ 15 h 82"/>
                <a:gd name="T36" fmla="*/ 58 w 88"/>
                <a:gd name="T37" fmla="*/ 28 h 82"/>
                <a:gd name="T38" fmla="*/ 80 w 88"/>
                <a:gd name="T39" fmla="*/ 38 h 82"/>
                <a:gd name="T40" fmla="*/ 85 w 88"/>
                <a:gd name="T41" fmla="*/ 75 h 82"/>
                <a:gd name="T42" fmla="*/ 82 w 88"/>
                <a:gd name="T43" fmla="*/ 82 h 82"/>
                <a:gd name="T44" fmla="*/ 29 w 88"/>
                <a:gd name="T45" fmla="*/ 81 h 82"/>
                <a:gd name="T46" fmla="*/ 26 w 88"/>
                <a:gd name="T47" fmla="*/ 74 h 82"/>
                <a:gd name="T48" fmla="*/ 34 w 88"/>
                <a:gd name="T49" fmla="*/ 40 h 82"/>
                <a:gd name="T50" fmla="*/ 33 w 88"/>
                <a:gd name="T51" fmla="*/ 35 h 82"/>
                <a:gd name="T52" fmla="*/ 34 w 88"/>
                <a:gd name="T53" fmla="*/ 28 h 82"/>
                <a:gd name="T54" fmla="*/ 51 w 88"/>
                <a:gd name="T55" fmla="*/ 15 h 82"/>
                <a:gd name="T56" fmla="*/ 28 w 88"/>
                <a:gd name="T57" fmla="*/ 12 h 82"/>
                <a:gd name="T58" fmla="*/ 51 w 88"/>
                <a:gd name="T59" fmla="*/ 8 h 82"/>
                <a:gd name="T60" fmla="*/ 55 w 88"/>
                <a:gd name="T61" fmla="*/ 0 h 82"/>
                <a:gd name="T62" fmla="*/ 70 w 88"/>
                <a:gd name="T63" fmla="*/ 35 h 82"/>
                <a:gd name="T64" fmla="*/ 40 w 88"/>
                <a:gd name="T65" fmla="*/ 36 h 82"/>
                <a:gd name="T66" fmla="*/ 72 w 88"/>
                <a:gd name="T67" fmla="*/ 38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8" h="82">
                  <a:moveTo>
                    <a:pt x="20" y="4"/>
                  </a:moveTo>
                  <a:cubicBezTo>
                    <a:pt x="20" y="17"/>
                    <a:pt x="20" y="17"/>
                    <a:pt x="20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9" y="17"/>
                    <a:pt x="30" y="18"/>
                    <a:pt x="30" y="20"/>
                  </a:cubicBezTo>
                  <a:cubicBezTo>
                    <a:pt x="30" y="22"/>
                    <a:pt x="29" y="23"/>
                    <a:pt x="27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2" y="40"/>
                    <a:pt x="24" y="39"/>
                    <a:pt x="26" y="38"/>
                  </a:cubicBezTo>
                  <a:cubicBezTo>
                    <a:pt x="28" y="37"/>
                    <a:pt x="29" y="38"/>
                    <a:pt x="30" y="39"/>
                  </a:cubicBezTo>
                  <a:cubicBezTo>
                    <a:pt x="31" y="41"/>
                    <a:pt x="31" y="42"/>
                    <a:pt x="30" y="43"/>
                  </a:cubicBezTo>
                  <a:cubicBezTo>
                    <a:pt x="28" y="44"/>
                    <a:pt x="25" y="46"/>
                    <a:pt x="20" y="48"/>
                  </a:cubicBezTo>
                  <a:cubicBezTo>
                    <a:pt x="20" y="75"/>
                    <a:pt x="20" y="75"/>
                    <a:pt x="20" y="75"/>
                  </a:cubicBezTo>
                  <a:cubicBezTo>
                    <a:pt x="19" y="80"/>
                    <a:pt x="15" y="82"/>
                    <a:pt x="6" y="80"/>
                  </a:cubicBezTo>
                  <a:cubicBezTo>
                    <a:pt x="4" y="80"/>
                    <a:pt x="3" y="78"/>
                    <a:pt x="3" y="76"/>
                  </a:cubicBezTo>
                  <a:cubicBezTo>
                    <a:pt x="4" y="74"/>
                    <a:pt x="5" y="73"/>
                    <a:pt x="7" y="74"/>
                  </a:cubicBezTo>
                  <a:cubicBezTo>
                    <a:pt x="12" y="75"/>
                    <a:pt x="14" y="75"/>
                    <a:pt x="13" y="72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13" y="51"/>
                    <a:pt x="11" y="52"/>
                    <a:pt x="9" y="52"/>
                  </a:cubicBezTo>
                  <a:cubicBezTo>
                    <a:pt x="7" y="53"/>
                    <a:pt x="5" y="54"/>
                    <a:pt x="5" y="54"/>
                  </a:cubicBezTo>
                  <a:cubicBezTo>
                    <a:pt x="2" y="55"/>
                    <a:pt x="1" y="54"/>
                    <a:pt x="0" y="52"/>
                  </a:cubicBezTo>
                  <a:cubicBezTo>
                    <a:pt x="0" y="50"/>
                    <a:pt x="0" y="49"/>
                    <a:pt x="2" y="48"/>
                  </a:cubicBezTo>
                  <a:cubicBezTo>
                    <a:pt x="3" y="48"/>
                    <a:pt x="4" y="48"/>
                    <a:pt x="5" y="47"/>
                  </a:cubicBezTo>
                  <a:cubicBezTo>
                    <a:pt x="8" y="46"/>
                    <a:pt x="11" y="45"/>
                    <a:pt x="13" y="44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3" y="23"/>
                    <a:pt x="2" y="22"/>
                    <a:pt x="2" y="20"/>
                  </a:cubicBezTo>
                  <a:cubicBezTo>
                    <a:pt x="2" y="18"/>
                    <a:pt x="3" y="17"/>
                    <a:pt x="5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2"/>
                    <a:pt x="14" y="1"/>
                    <a:pt x="17" y="1"/>
                  </a:cubicBezTo>
                  <a:cubicBezTo>
                    <a:pt x="19" y="1"/>
                    <a:pt x="20" y="2"/>
                    <a:pt x="20" y="4"/>
                  </a:cubicBezTo>
                  <a:close/>
                  <a:moveTo>
                    <a:pt x="58" y="3"/>
                  </a:moveTo>
                  <a:cubicBezTo>
                    <a:pt x="58" y="8"/>
                    <a:pt x="58" y="8"/>
                    <a:pt x="58" y="8"/>
                  </a:cubicBezTo>
                  <a:cubicBezTo>
                    <a:pt x="81" y="8"/>
                    <a:pt x="81" y="8"/>
                    <a:pt x="81" y="8"/>
                  </a:cubicBezTo>
                  <a:cubicBezTo>
                    <a:pt x="83" y="9"/>
                    <a:pt x="84" y="10"/>
                    <a:pt x="85" y="12"/>
                  </a:cubicBezTo>
                  <a:cubicBezTo>
                    <a:pt x="84" y="14"/>
                    <a:pt x="83" y="15"/>
                    <a:pt x="81" y="15"/>
                  </a:cubicBezTo>
                  <a:cubicBezTo>
                    <a:pt x="58" y="15"/>
                    <a:pt x="58" y="15"/>
                    <a:pt x="58" y="15"/>
                  </a:cubicBezTo>
                  <a:cubicBezTo>
                    <a:pt x="58" y="28"/>
                    <a:pt x="58" y="28"/>
                    <a:pt x="58" y="28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80" y="29"/>
                    <a:pt x="82" y="32"/>
                    <a:pt x="80" y="38"/>
                  </a:cubicBezTo>
                  <a:cubicBezTo>
                    <a:pt x="76" y="48"/>
                    <a:pt x="70" y="56"/>
                    <a:pt x="62" y="63"/>
                  </a:cubicBezTo>
                  <a:cubicBezTo>
                    <a:pt x="69" y="68"/>
                    <a:pt x="77" y="72"/>
                    <a:pt x="85" y="75"/>
                  </a:cubicBezTo>
                  <a:cubicBezTo>
                    <a:pt x="87" y="76"/>
                    <a:pt x="88" y="77"/>
                    <a:pt x="87" y="80"/>
                  </a:cubicBezTo>
                  <a:cubicBezTo>
                    <a:pt x="86" y="82"/>
                    <a:pt x="84" y="82"/>
                    <a:pt x="82" y="82"/>
                  </a:cubicBezTo>
                  <a:cubicBezTo>
                    <a:pt x="74" y="78"/>
                    <a:pt x="65" y="74"/>
                    <a:pt x="56" y="68"/>
                  </a:cubicBezTo>
                  <a:cubicBezTo>
                    <a:pt x="48" y="73"/>
                    <a:pt x="39" y="77"/>
                    <a:pt x="29" y="81"/>
                  </a:cubicBezTo>
                  <a:cubicBezTo>
                    <a:pt x="26" y="81"/>
                    <a:pt x="25" y="81"/>
                    <a:pt x="24" y="78"/>
                  </a:cubicBezTo>
                  <a:cubicBezTo>
                    <a:pt x="23" y="76"/>
                    <a:pt x="24" y="75"/>
                    <a:pt x="26" y="74"/>
                  </a:cubicBezTo>
                  <a:cubicBezTo>
                    <a:pt x="36" y="71"/>
                    <a:pt x="44" y="68"/>
                    <a:pt x="50" y="63"/>
                  </a:cubicBezTo>
                  <a:cubicBezTo>
                    <a:pt x="45" y="59"/>
                    <a:pt x="40" y="51"/>
                    <a:pt x="34" y="40"/>
                  </a:cubicBezTo>
                  <a:cubicBezTo>
                    <a:pt x="33" y="38"/>
                    <a:pt x="33" y="37"/>
                    <a:pt x="35" y="35"/>
                  </a:cubicBezTo>
                  <a:cubicBezTo>
                    <a:pt x="33" y="35"/>
                    <a:pt x="33" y="35"/>
                    <a:pt x="33" y="35"/>
                  </a:cubicBezTo>
                  <a:cubicBezTo>
                    <a:pt x="32" y="35"/>
                    <a:pt x="31" y="34"/>
                    <a:pt x="30" y="32"/>
                  </a:cubicBezTo>
                  <a:cubicBezTo>
                    <a:pt x="31" y="29"/>
                    <a:pt x="32" y="28"/>
                    <a:pt x="34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15"/>
                    <a:pt x="51" y="15"/>
                    <a:pt x="5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29" y="15"/>
                    <a:pt x="28" y="14"/>
                    <a:pt x="28" y="12"/>
                  </a:cubicBezTo>
                  <a:cubicBezTo>
                    <a:pt x="28" y="10"/>
                    <a:pt x="29" y="9"/>
                    <a:pt x="31" y="8"/>
                  </a:cubicBezTo>
                  <a:cubicBezTo>
                    <a:pt x="51" y="8"/>
                    <a:pt x="51" y="8"/>
                    <a:pt x="51" y="8"/>
                  </a:cubicBezTo>
                  <a:cubicBezTo>
                    <a:pt x="51" y="3"/>
                    <a:pt x="51" y="3"/>
                    <a:pt x="51" y="3"/>
                  </a:cubicBezTo>
                  <a:cubicBezTo>
                    <a:pt x="51" y="1"/>
                    <a:pt x="52" y="0"/>
                    <a:pt x="55" y="0"/>
                  </a:cubicBezTo>
                  <a:cubicBezTo>
                    <a:pt x="57" y="0"/>
                    <a:pt x="58" y="1"/>
                    <a:pt x="58" y="3"/>
                  </a:cubicBezTo>
                  <a:close/>
                  <a:moveTo>
                    <a:pt x="70" y="35"/>
                  </a:moveTo>
                  <a:cubicBezTo>
                    <a:pt x="39" y="35"/>
                    <a:pt x="39" y="35"/>
                    <a:pt x="39" y="35"/>
                  </a:cubicBezTo>
                  <a:cubicBezTo>
                    <a:pt x="39" y="36"/>
                    <a:pt x="39" y="36"/>
                    <a:pt x="40" y="36"/>
                  </a:cubicBezTo>
                  <a:cubicBezTo>
                    <a:pt x="47" y="47"/>
                    <a:pt x="52" y="55"/>
                    <a:pt x="56" y="58"/>
                  </a:cubicBezTo>
                  <a:cubicBezTo>
                    <a:pt x="63" y="52"/>
                    <a:pt x="68" y="46"/>
                    <a:pt x="72" y="38"/>
                  </a:cubicBezTo>
                  <a:cubicBezTo>
                    <a:pt x="72" y="37"/>
                    <a:pt x="72" y="36"/>
                    <a:pt x="70" y="35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  <p:grpSp>
        <p:nvGrpSpPr>
          <p:cNvPr id="26" name="组合 25"/>
          <p:cNvGrpSpPr/>
          <p:nvPr userDrawn="1"/>
        </p:nvGrpSpPr>
        <p:grpSpPr>
          <a:xfrm>
            <a:off x="794753" y="3848730"/>
            <a:ext cx="5694681" cy="45719"/>
            <a:chOff x="777184" y="3817770"/>
            <a:chExt cx="5694681" cy="45719"/>
          </a:xfrm>
        </p:grpSpPr>
        <p:sp>
          <p:nvSpPr>
            <p:cNvPr id="27" name="矩形 26"/>
            <p:cNvSpPr/>
            <p:nvPr/>
          </p:nvSpPr>
          <p:spPr>
            <a:xfrm>
              <a:off x="777184" y="3817770"/>
              <a:ext cx="857551" cy="45719"/>
            </a:xfrm>
            <a:prstGeom prst="rect">
              <a:avLst/>
            </a:prstGeom>
            <a:solidFill>
              <a:srgbClr val="EA550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cxnSp>
          <p:nvCxnSpPr>
            <p:cNvPr id="28" name="直接连接符 27"/>
            <p:cNvCxnSpPr/>
            <p:nvPr/>
          </p:nvCxnSpPr>
          <p:spPr>
            <a:xfrm>
              <a:off x="1606260" y="3837412"/>
              <a:ext cx="4865605" cy="0"/>
            </a:xfrm>
            <a:prstGeom prst="line">
              <a:avLst/>
            </a:prstGeom>
            <a:ln w="22225">
              <a:gradFill flip="none" rotWithShape="1">
                <a:gsLst>
                  <a:gs pos="0">
                    <a:schemeClr val="accent1">
                      <a:lumMod val="5000"/>
                      <a:lumOff val="95000"/>
                      <a:alpha val="0"/>
                    </a:schemeClr>
                  </a:gs>
                  <a:gs pos="54000">
                    <a:schemeClr val="accent1">
                      <a:lumMod val="45000"/>
                      <a:lumOff val="55000"/>
                    </a:schemeClr>
                  </a:gs>
                  <a:gs pos="83000">
                    <a:srgbClr val="FB832D"/>
                  </a:gs>
                  <a:gs pos="100000">
                    <a:srgbClr val="EA5504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文本占位符 31"/>
          <p:cNvSpPr>
            <a:spLocks noGrp="1"/>
          </p:cNvSpPr>
          <p:nvPr>
            <p:ph type="body" sz="quarter" idx="10" hasCustomPrompt="1"/>
          </p:nvPr>
        </p:nvSpPr>
        <p:spPr>
          <a:xfrm>
            <a:off x="639824" y="1727200"/>
            <a:ext cx="7241433" cy="2802791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zh-CN" altLang="en-US" sz="5400" b="1" kern="2300" spc="240" dirty="0" smtClean="0">
                <a:ln w="15875">
                  <a:solidFill>
                    <a:schemeClr val="accent1"/>
                  </a:solidFill>
                </a:ln>
                <a:noFill/>
                <a:latin typeface="微软雅黑" panose="020B0503020204020204" charset="-122"/>
                <a:ea typeface="微软雅黑" panose="020B0503020204020204" charset="-122"/>
                <a:cs typeface="+mn-cs"/>
              </a:defRPr>
            </a:lvl1pPr>
            <a:lvl2pPr marL="457200" indent="0">
              <a:buNone/>
              <a:defRPr/>
            </a:lvl2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zh-CN" altLang="en-US"/>
              <a:t>平安集团</a:t>
            </a:r>
            <a:endParaRPr lang="en-US" altLang="zh-CN" dirty="0"/>
          </a:p>
        </p:txBody>
      </p:sp>
      <p:sp>
        <p:nvSpPr>
          <p:cNvPr id="31" name="文本占位符 2"/>
          <p:cNvSpPr>
            <a:spLocks noGrp="1"/>
          </p:cNvSpPr>
          <p:nvPr>
            <p:ph type="body" sz="quarter" idx="13" hasCustomPrompt="1"/>
          </p:nvPr>
        </p:nvSpPr>
        <p:spPr>
          <a:xfrm>
            <a:off x="628248" y="5553571"/>
            <a:ext cx="4612632" cy="24828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SzPct val="80000"/>
              <a:buFont typeface="+mj-ea"/>
              <a:buNone/>
              <a:defRPr lang="en-US" altLang="zh-CN" sz="14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defRPr>
            </a:lvl1pPr>
          </a:lstStyle>
          <a:p>
            <a:pPr marL="0" indent="0">
              <a:buNone/>
            </a:pPr>
            <a:r>
              <a:rPr lang="en-US" altLang="zh-CN" sz="1600" dirty="0">
                <a:latin typeface="微软雅黑" panose="020B0503020204020204" charset="-122"/>
                <a:ea typeface="微软雅黑" panose="020B0503020204020204" charset="-122"/>
              </a:rPr>
              <a:t>Speaker name and title</a:t>
            </a:r>
            <a:endParaRPr lang="en-US" altLang="zh-CN" sz="16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4" name="文本占位符 2"/>
          <p:cNvSpPr>
            <a:spLocks noGrp="1"/>
          </p:cNvSpPr>
          <p:nvPr>
            <p:ph type="body" sz="quarter" idx="14" hasCustomPrompt="1"/>
          </p:nvPr>
        </p:nvSpPr>
        <p:spPr>
          <a:xfrm>
            <a:off x="628248" y="5848201"/>
            <a:ext cx="4612632" cy="24828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SzPct val="80000"/>
              <a:buFont typeface="+mj-ea"/>
              <a:buNone/>
              <a:defRPr lang="en-US" altLang="zh-CN" sz="14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defRPr>
            </a:lvl1pPr>
          </a:lstStyle>
          <a:p>
            <a:pPr marL="0" indent="0">
              <a:buNone/>
            </a:pPr>
            <a:r>
              <a:rPr lang="en-US" altLang="en-US" sz="1600" dirty="0">
                <a:latin typeface="微软雅黑" panose="020B0503020204020204" charset="-122"/>
                <a:ea typeface="微软雅黑" panose="020B0503020204020204" charset="-122"/>
              </a:rPr>
              <a:t>D</a:t>
            </a:r>
            <a:r>
              <a:rPr lang="en-US" altLang="zh-CN" sz="1600" dirty="0">
                <a:latin typeface="微软雅黑" panose="020B0503020204020204" charset="-122"/>
                <a:ea typeface="微软雅黑" panose="020B0503020204020204" charset="-122"/>
              </a:rPr>
              <a:t>ate &amp; Time</a:t>
            </a:r>
            <a:endParaRPr lang="en-US" altLang="en-US" sz="16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1"/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fld id="{A50ECBEB-8597-4EA4-9D29-E1D7025CFAA0}" type="datetime1">
              <a:rPr lang="zh-CN" altLang="en-US" smtClean="0"/>
            </a:fld>
            <a:endParaRPr lang="zh-CN" altLang="en-US"/>
          </a:p>
        </p:txBody>
      </p:sp>
      <p:sp>
        <p:nvSpPr>
          <p:cNvPr id="4" name="页脚占位符 2"/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4" name="日期占位符 2"/>
          <p:cNvSpPr>
            <a:spLocks noGrp="1"/>
          </p:cNvSpPr>
          <p:nvPr>
            <p:ph type="dt" sz="half" idx="10"/>
          </p:nvPr>
        </p:nvSpPr>
        <p:spPr>
          <a:xfrm>
            <a:off x="5401732" y="6235700"/>
            <a:ext cx="1388536" cy="206381"/>
          </a:xfrm>
          <a:prstGeom prst="rect">
            <a:avLst/>
          </a:prstGeom>
        </p:spPr>
        <p:txBody>
          <a:bodyPr/>
          <a:lstStyle/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5" name="页脚占位符 3"/>
          <p:cNvSpPr>
            <a:spLocks noGrp="1"/>
          </p:cNvSpPr>
          <p:nvPr>
            <p:ph type="ftr" sz="quarter" idx="11"/>
          </p:nvPr>
        </p:nvSpPr>
        <p:spPr>
          <a:xfrm>
            <a:off x="669924" y="6235700"/>
            <a:ext cx="4140201" cy="206381"/>
          </a:xfrm>
          <a:prstGeom prst="rect">
            <a:avLst/>
          </a:prstGeom>
        </p:spPr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6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610599" y="6235700"/>
            <a:ext cx="2909888" cy="206381"/>
          </a:xfrm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4" name="日期占位符 2"/>
          <p:cNvSpPr>
            <a:spLocks noGrp="1"/>
          </p:cNvSpPr>
          <p:nvPr>
            <p:ph type="dt" sz="half" idx="10"/>
          </p:nvPr>
        </p:nvSpPr>
        <p:spPr>
          <a:xfrm>
            <a:off x="5401732" y="6235700"/>
            <a:ext cx="1388536" cy="206381"/>
          </a:xfrm>
          <a:prstGeom prst="rect">
            <a:avLst/>
          </a:prstGeom>
        </p:spPr>
        <p:txBody>
          <a:bodyPr/>
          <a:lstStyle/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5" name="页脚占位符 3"/>
          <p:cNvSpPr>
            <a:spLocks noGrp="1"/>
          </p:cNvSpPr>
          <p:nvPr>
            <p:ph type="ftr" sz="quarter" idx="11"/>
          </p:nvPr>
        </p:nvSpPr>
        <p:spPr>
          <a:xfrm>
            <a:off x="669924" y="6235700"/>
            <a:ext cx="4140201" cy="206381"/>
          </a:xfrm>
          <a:prstGeom prst="rect">
            <a:avLst/>
          </a:prstGeom>
        </p:spPr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6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610599" y="6235700"/>
            <a:ext cx="2909888" cy="206381"/>
          </a:xfrm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1"/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fld id="{A50ECBEB-8597-4EA4-9D29-E1D7025CFAA0}" type="datetime1">
              <a:rPr lang="zh-CN" altLang="en-US" smtClean="0"/>
            </a:fld>
            <a:endParaRPr lang="zh-CN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1"/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fld id="{A50ECBEB-8597-4EA4-9D29-E1D7025CFAA0}" type="datetime1">
              <a:rPr lang="zh-CN" altLang="en-US" smtClean="0"/>
            </a:fld>
            <a:endParaRPr lang="zh-CN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1"/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fld id="{FD17C161-E0A8-4D01-9947-85FD8942E9C9}" type="datetime1">
              <a:rPr lang="zh-CN" altLang="en-US" smtClean="0"/>
            </a:fld>
            <a:endParaRPr lang="zh-CN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1"/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fld id="{FD17C161-E0A8-4D01-9947-85FD8942E9C9}" type="datetime1">
              <a:rPr lang="zh-CN" altLang="en-US" smtClean="0"/>
            </a:fld>
            <a:endParaRPr lang="zh-CN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1"/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fld id="{A50ECBEB-8597-4EA4-9D29-E1D7025CFAA0}" type="datetime1">
              <a:rPr lang="zh-CN" altLang="en-US" smtClean="0"/>
            </a:fld>
            <a:endParaRPr lang="zh-CN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1"/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fld id="{A50ECBEB-8597-4EA4-9D29-E1D7025CFAA0}" type="datetime1">
              <a:rPr lang="zh-CN" altLang="en-US" smtClean="0"/>
            </a:fld>
            <a:endParaRPr lang="zh-CN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1"/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fld id="{A50ECBEB-8597-4EA4-9D29-E1D7025CFAA0}" type="datetime1">
              <a:rPr lang="zh-CN" altLang="en-US" smtClean="0"/>
            </a:fld>
            <a:endParaRPr lang="zh-CN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2-目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 userDrawn="1"/>
        </p:nvSpPr>
        <p:spPr>
          <a:xfrm>
            <a:off x="0" y="1"/>
            <a:ext cx="12185496" cy="6855118"/>
          </a:xfrm>
          <a:prstGeom prst="rect">
            <a:avLst/>
          </a:prstGeom>
          <a:gradFill flip="none" rotWithShape="1">
            <a:gsLst>
              <a:gs pos="36000">
                <a:srgbClr val="FEF6F4">
                  <a:alpha val="96000"/>
                </a:srgbClr>
              </a:gs>
              <a:gs pos="68000">
                <a:srgbClr val="FFFCFB">
                  <a:alpha val="80000"/>
                </a:srgbClr>
              </a:gs>
              <a:gs pos="85000">
                <a:schemeClr val="bg1">
                  <a:alpha val="76000"/>
                </a:schemeClr>
              </a:gs>
              <a:gs pos="0">
                <a:srgbClr val="FDEEE9"/>
              </a:gs>
              <a:gs pos="100000">
                <a:schemeClr val="bg1">
                  <a:alpha val="76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pic>
        <p:nvPicPr>
          <p:cNvPr id="3" name="图片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900"/>
                    </a14:imgEffect>
                  </a14:imgLayer>
                </a14:imgProps>
              </a:ext>
            </a:extLst>
          </a:blip>
          <a:srcRect t="45" b="45"/>
          <a:stretch>
            <a:fillRect/>
          </a:stretch>
        </p:blipFill>
        <p:spPr>
          <a:xfrm>
            <a:off x="-21525" y="0"/>
            <a:ext cx="5710001" cy="6858000"/>
          </a:xfrm>
          <a:custGeom>
            <a:avLst/>
            <a:gdLst>
              <a:gd name="connsiteX0" fmla="*/ 0 w 5710001"/>
              <a:gd name="connsiteY0" fmla="*/ 0 h 6858000"/>
              <a:gd name="connsiteX1" fmla="*/ 5710001 w 5710001"/>
              <a:gd name="connsiteY1" fmla="*/ 0 h 6858000"/>
              <a:gd name="connsiteX2" fmla="*/ 2629113 w 5710001"/>
              <a:gd name="connsiteY2" fmla="*/ 6858000 h 6858000"/>
              <a:gd name="connsiteX3" fmla="*/ 0 w 571000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10001" h="6858000">
                <a:moveTo>
                  <a:pt x="0" y="0"/>
                </a:moveTo>
                <a:lnTo>
                  <a:pt x="5710001" y="0"/>
                </a:lnTo>
                <a:lnTo>
                  <a:pt x="2629113" y="6858000"/>
                </a:lnTo>
                <a:lnTo>
                  <a:pt x="0" y="6858000"/>
                </a:lnTo>
                <a:close/>
              </a:path>
            </a:pathLst>
          </a:custGeom>
        </p:spPr>
      </p:pic>
      <p:grpSp>
        <p:nvGrpSpPr>
          <p:cNvPr id="4" name="组合 3"/>
          <p:cNvGrpSpPr/>
          <p:nvPr userDrawn="1"/>
        </p:nvGrpSpPr>
        <p:grpSpPr>
          <a:xfrm>
            <a:off x="5634689" y="1816496"/>
            <a:ext cx="5884211" cy="45719"/>
            <a:chOff x="2913325" y="3817770"/>
            <a:chExt cx="5884211" cy="45719"/>
          </a:xfrm>
        </p:grpSpPr>
        <p:sp>
          <p:nvSpPr>
            <p:cNvPr id="5" name="矩形 4"/>
            <p:cNvSpPr/>
            <p:nvPr/>
          </p:nvSpPr>
          <p:spPr>
            <a:xfrm>
              <a:off x="7939985" y="3817770"/>
              <a:ext cx="857551" cy="45719"/>
            </a:xfrm>
            <a:prstGeom prst="rect">
              <a:avLst/>
            </a:prstGeom>
            <a:solidFill>
              <a:srgbClr val="EA550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cxnSp>
          <p:nvCxnSpPr>
            <p:cNvPr id="6" name="直接连接符 5"/>
            <p:cNvCxnSpPr/>
            <p:nvPr/>
          </p:nvCxnSpPr>
          <p:spPr>
            <a:xfrm flipH="1">
              <a:off x="2913325" y="3837412"/>
              <a:ext cx="5026660" cy="0"/>
            </a:xfrm>
            <a:prstGeom prst="line">
              <a:avLst/>
            </a:prstGeom>
            <a:ln w="22225">
              <a:gradFill flip="none" rotWithShape="1">
                <a:gsLst>
                  <a:gs pos="0">
                    <a:schemeClr val="accent1">
                      <a:lumMod val="5000"/>
                      <a:lumOff val="95000"/>
                      <a:alpha val="0"/>
                    </a:schemeClr>
                  </a:gs>
                  <a:gs pos="54000">
                    <a:srgbClr val="FFC000"/>
                  </a:gs>
                  <a:gs pos="83000">
                    <a:srgbClr val="FB832D"/>
                  </a:gs>
                  <a:gs pos="100000">
                    <a:srgbClr val="EA5504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平行四边形 14"/>
          <p:cNvSpPr/>
          <p:nvPr userDrawn="1"/>
        </p:nvSpPr>
        <p:spPr>
          <a:xfrm>
            <a:off x="2361533" y="3506350"/>
            <a:ext cx="1967851" cy="3348769"/>
          </a:xfrm>
          <a:prstGeom prst="parallelogram">
            <a:avLst>
              <a:gd name="adj" fmla="val 77370"/>
            </a:avLst>
          </a:prstGeom>
          <a:solidFill>
            <a:srgbClr val="005E3C">
              <a:alpha val="1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6" name="文本框 15"/>
          <p:cNvSpPr txBox="1"/>
          <p:nvPr userDrawn="1"/>
        </p:nvSpPr>
        <p:spPr>
          <a:xfrm>
            <a:off x="5976559" y="1014366"/>
            <a:ext cx="112338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600" i="1" kern="100" spc="6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目录</a:t>
            </a:r>
            <a:endParaRPr lang="en-US" altLang="zh-CN" sz="3600" i="1" kern="100" spc="6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7" name="文本框 16"/>
          <p:cNvSpPr txBox="1"/>
          <p:nvPr userDrawn="1"/>
        </p:nvSpPr>
        <p:spPr>
          <a:xfrm>
            <a:off x="6976933" y="1249012"/>
            <a:ext cx="182088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000" i="1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Arial Unicode MS" panose="020B0604020202020204" pitchFamily="34" charset="-122"/>
              </a:rPr>
              <a:t> / CONTENTS</a:t>
            </a:r>
            <a:endParaRPr lang="zh-CN" altLang="en-US" sz="2000" i="1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  <a:cs typeface="Arial Unicode MS" panose="020B0604020202020204" pitchFamily="34" charset="-122"/>
            </a:endParaRPr>
          </a:p>
        </p:txBody>
      </p:sp>
      <p:sp>
        <p:nvSpPr>
          <p:cNvPr id="22" name="矩形 21"/>
          <p:cNvSpPr/>
          <p:nvPr userDrawn="1"/>
        </p:nvSpPr>
        <p:spPr>
          <a:xfrm>
            <a:off x="0" y="0"/>
            <a:ext cx="5688476" cy="6858000"/>
          </a:xfrm>
          <a:custGeom>
            <a:avLst/>
            <a:gdLst>
              <a:gd name="connsiteX0" fmla="*/ 0 w 5688476"/>
              <a:gd name="connsiteY0" fmla="*/ 0 h 6858000"/>
              <a:gd name="connsiteX1" fmla="*/ 5688476 w 5688476"/>
              <a:gd name="connsiteY1" fmla="*/ 0 h 6858000"/>
              <a:gd name="connsiteX2" fmla="*/ 5688476 w 5688476"/>
              <a:gd name="connsiteY2" fmla="*/ 6858000 h 6858000"/>
              <a:gd name="connsiteX3" fmla="*/ 0 w 5688476"/>
              <a:gd name="connsiteY3" fmla="*/ 6858000 h 6858000"/>
              <a:gd name="connsiteX4" fmla="*/ 0 w 5688476"/>
              <a:gd name="connsiteY4" fmla="*/ 0 h 6858000"/>
              <a:gd name="connsiteX0-1" fmla="*/ 0 w 5688476"/>
              <a:gd name="connsiteY0-2" fmla="*/ 0 h 6858000"/>
              <a:gd name="connsiteX1-3" fmla="*/ 5688476 w 5688476"/>
              <a:gd name="connsiteY1-4" fmla="*/ 0 h 6858000"/>
              <a:gd name="connsiteX2-5" fmla="*/ 2586461 w 5688476"/>
              <a:gd name="connsiteY2-6" fmla="*/ 6858000 h 6858000"/>
              <a:gd name="connsiteX3-7" fmla="*/ 0 w 5688476"/>
              <a:gd name="connsiteY3-8" fmla="*/ 6858000 h 6858000"/>
              <a:gd name="connsiteX4-9" fmla="*/ 0 w 5688476"/>
              <a:gd name="connsiteY4-10" fmla="*/ 0 h 68580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5688476" h="6858000">
                <a:moveTo>
                  <a:pt x="0" y="0"/>
                </a:moveTo>
                <a:lnTo>
                  <a:pt x="5688476" y="0"/>
                </a:lnTo>
                <a:lnTo>
                  <a:pt x="2586461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7000">
                <a:srgbClr val="FDF1ED">
                  <a:alpha val="18000"/>
                </a:srgbClr>
              </a:gs>
              <a:gs pos="27000">
                <a:srgbClr val="FEF8F6">
                  <a:alpha val="18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1"/>
          <p:cNvSpPr>
            <a:spLocks noGrp="1"/>
          </p:cNvSpPr>
          <p:nvPr>
            <p:ph type="dt" sz="half" idx="10"/>
          </p:nvPr>
        </p:nvSpPr>
        <p:spPr>
          <a:xfrm>
            <a:off x="4718050" y="6409690"/>
            <a:ext cx="2743200" cy="27432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页脚占位符 2"/>
          <p:cNvSpPr>
            <a:spLocks noGrp="1"/>
          </p:cNvSpPr>
          <p:nvPr>
            <p:ph type="ftr" sz="quarter" idx="11"/>
          </p:nvPr>
        </p:nvSpPr>
        <p:spPr>
          <a:xfrm>
            <a:off x="660399" y="6409690"/>
            <a:ext cx="3657600" cy="27432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7861300" y="6409690"/>
            <a:ext cx="3657600" cy="274320"/>
          </a:xfrm>
          <a:prstGeom prst="rect">
            <a:avLst/>
          </a:prstGeom>
        </p:spPr>
        <p:txBody>
          <a:bodyPr/>
          <a:lstStyle/>
          <a:p>
            <a:fld id="{C8BB1146-E542-4D4E-B8E9-6919A11DDD48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1"/>
          <p:cNvSpPr>
            <a:spLocks noGrp="1"/>
          </p:cNvSpPr>
          <p:nvPr>
            <p:ph type="dt" sz="half" idx="10"/>
          </p:nvPr>
        </p:nvSpPr>
        <p:spPr>
          <a:xfrm>
            <a:off x="4718050" y="6409690"/>
            <a:ext cx="2743200" cy="27432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页脚占位符 2"/>
          <p:cNvSpPr>
            <a:spLocks noGrp="1"/>
          </p:cNvSpPr>
          <p:nvPr>
            <p:ph type="ftr" sz="quarter" idx="11"/>
          </p:nvPr>
        </p:nvSpPr>
        <p:spPr>
          <a:xfrm>
            <a:off x="660399" y="6409690"/>
            <a:ext cx="3657600" cy="27432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7861300" y="6409690"/>
            <a:ext cx="3657600" cy="274320"/>
          </a:xfrm>
          <a:prstGeom prst="rect">
            <a:avLst/>
          </a:prstGeom>
        </p:spPr>
        <p:txBody>
          <a:bodyPr/>
          <a:lstStyle/>
          <a:p>
            <a:fld id="{C8BB1146-E542-4D4E-B8E9-6919A11DDD48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1"/>
          <p:cNvSpPr>
            <a:spLocks noGrp="1"/>
          </p:cNvSpPr>
          <p:nvPr>
            <p:ph type="dt" sz="half" idx="10"/>
          </p:nvPr>
        </p:nvSpPr>
        <p:spPr>
          <a:xfrm>
            <a:off x="4718050" y="6409690"/>
            <a:ext cx="2743200" cy="27432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页脚占位符 2"/>
          <p:cNvSpPr>
            <a:spLocks noGrp="1"/>
          </p:cNvSpPr>
          <p:nvPr>
            <p:ph type="ftr" sz="quarter" idx="11"/>
          </p:nvPr>
        </p:nvSpPr>
        <p:spPr>
          <a:xfrm>
            <a:off x="660399" y="6409690"/>
            <a:ext cx="3657600" cy="27432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7861300" y="6409690"/>
            <a:ext cx="3657600" cy="274320"/>
          </a:xfrm>
          <a:prstGeom prst="rect">
            <a:avLst/>
          </a:prstGeom>
        </p:spPr>
        <p:txBody>
          <a:bodyPr/>
          <a:lstStyle/>
          <a:p>
            <a:fld id="{C8BB1146-E542-4D4E-B8E9-6919A11DDD48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1"/>
          <p:cNvSpPr>
            <a:spLocks noGrp="1"/>
          </p:cNvSpPr>
          <p:nvPr>
            <p:ph type="dt" sz="half" idx="10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fld id="{B9109487-48C0-49BF-9A76-4EC48A3BB7C8}" type="datetime1">
              <a:rPr lang="zh-CN" altLang="en-US" smtClean="0"/>
            </a:fld>
            <a:endParaRPr lang="zh-CN" altLang="en-US"/>
          </a:p>
        </p:txBody>
      </p:sp>
      <p:sp>
        <p:nvSpPr>
          <p:cNvPr id="4" name="页脚占位符 2"/>
          <p:cNvSpPr>
            <a:spLocks noGrp="1"/>
          </p:cNvSpPr>
          <p:nvPr>
            <p:ph type="ftr" sz="quarter" idx="11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/>
          <p:cNvSpPr>
            <a:spLocks noGrp="1"/>
          </p:cNvSpPr>
          <p:nvPr>
            <p:ph type="title" hasCustomPrompt="1"/>
          </p:nvPr>
        </p:nvSpPr>
        <p:spPr>
          <a:xfrm>
            <a:off x="660400" y="128587"/>
            <a:ext cx="10858500" cy="9001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  <a:endParaRPr lang="en-US"/>
          </a:p>
        </p:txBody>
      </p:sp>
      <p:sp>
        <p:nvSpPr>
          <p:cNvPr id="4" name="日期占位符 2"/>
          <p:cNvSpPr>
            <a:spLocks noGrp="1"/>
          </p:cNvSpPr>
          <p:nvPr>
            <p:ph type="dt" sz="half" idx="10"/>
          </p:nvPr>
        </p:nvSpPr>
        <p:spPr>
          <a:xfrm>
            <a:off x="4718050" y="6409690"/>
            <a:ext cx="2743200" cy="27432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页脚占位符 3"/>
          <p:cNvSpPr>
            <a:spLocks noGrp="1"/>
          </p:cNvSpPr>
          <p:nvPr>
            <p:ph type="ftr" sz="quarter" idx="11"/>
          </p:nvPr>
        </p:nvSpPr>
        <p:spPr>
          <a:xfrm>
            <a:off x="660399" y="6409690"/>
            <a:ext cx="3657600" cy="27432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7861300" y="6409690"/>
            <a:ext cx="3657600" cy="274320"/>
          </a:xfrm>
          <a:prstGeom prst="rect">
            <a:avLst/>
          </a:prstGeom>
        </p:spPr>
        <p:txBody>
          <a:bodyPr/>
          <a:lstStyle/>
          <a:p>
            <a:fld id="{C8BB1146-E542-4D4E-B8E9-6919A11DDD48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/>
          <p:cNvSpPr>
            <a:spLocks noGrp="1"/>
          </p:cNvSpPr>
          <p:nvPr>
            <p:ph type="title" hasCustomPrompt="1"/>
          </p:nvPr>
        </p:nvSpPr>
        <p:spPr>
          <a:xfrm>
            <a:off x="660400" y="128587"/>
            <a:ext cx="10858500" cy="9001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  <a:endParaRPr lang="en-US"/>
          </a:p>
        </p:txBody>
      </p:sp>
      <p:sp>
        <p:nvSpPr>
          <p:cNvPr id="4" name="日期占位符 2"/>
          <p:cNvSpPr>
            <a:spLocks noGrp="1"/>
          </p:cNvSpPr>
          <p:nvPr>
            <p:ph type="dt" sz="half" idx="10"/>
          </p:nvPr>
        </p:nvSpPr>
        <p:spPr>
          <a:xfrm>
            <a:off x="4718050" y="6409690"/>
            <a:ext cx="2743200" cy="27432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页脚占位符 3"/>
          <p:cNvSpPr>
            <a:spLocks noGrp="1"/>
          </p:cNvSpPr>
          <p:nvPr>
            <p:ph type="ftr" sz="quarter" idx="11"/>
          </p:nvPr>
        </p:nvSpPr>
        <p:spPr>
          <a:xfrm>
            <a:off x="660399" y="6409690"/>
            <a:ext cx="3657600" cy="27432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7861300" y="6409690"/>
            <a:ext cx="3657600" cy="274320"/>
          </a:xfrm>
          <a:prstGeom prst="rect">
            <a:avLst/>
          </a:prstGeom>
        </p:spPr>
        <p:txBody>
          <a:bodyPr/>
          <a:lstStyle/>
          <a:p>
            <a:fld id="{C8BB1146-E542-4D4E-B8E9-6919A11DDD48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/>
          <p:cNvSpPr>
            <a:spLocks noGrp="1"/>
          </p:cNvSpPr>
          <p:nvPr>
            <p:ph type="title" hasCustomPrompt="1"/>
          </p:nvPr>
        </p:nvSpPr>
        <p:spPr>
          <a:xfrm>
            <a:off x="660400" y="128587"/>
            <a:ext cx="10858500" cy="9001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  <a:endParaRPr lang="en-US"/>
          </a:p>
        </p:txBody>
      </p:sp>
      <p:sp>
        <p:nvSpPr>
          <p:cNvPr id="4" name="日期占位符 2"/>
          <p:cNvSpPr>
            <a:spLocks noGrp="1"/>
          </p:cNvSpPr>
          <p:nvPr>
            <p:ph type="dt" sz="half" idx="10"/>
          </p:nvPr>
        </p:nvSpPr>
        <p:spPr>
          <a:xfrm>
            <a:off x="4718050" y="6409690"/>
            <a:ext cx="2743200" cy="27432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页脚占位符 3"/>
          <p:cNvSpPr>
            <a:spLocks noGrp="1"/>
          </p:cNvSpPr>
          <p:nvPr>
            <p:ph type="ftr" sz="quarter" idx="11"/>
          </p:nvPr>
        </p:nvSpPr>
        <p:spPr>
          <a:xfrm>
            <a:off x="660399" y="6409690"/>
            <a:ext cx="3657600" cy="27432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7861300" y="6409690"/>
            <a:ext cx="3657600" cy="274320"/>
          </a:xfrm>
          <a:prstGeom prst="rect">
            <a:avLst/>
          </a:prstGeom>
        </p:spPr>
        <p:txBody>
          <a:bodyPr/>
          <a:lstStyle/>
          <a:p>
            <a:fld id="{C8BB1146-E542-4D4E-B8E9-6919A11DDD48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/>
          <p:cNvSpPr>
            <a:spLocks noGrp="1"/>
          </p:cNvSpPr>
          <p:nvPr>
            <p:ph type="title" hasCustomPrompt="1"/>
          </p:nvPr>
        </p:nvSpPr>
        <p:spPr>
          <a:xfrm>
            <a:off x="660400" y="128587"/>
            <a:ext cx="10858500" cy="9001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  <a:endParaRPr lang="en-US"/>
          </a:p>
        </p:txBody>
      </p:sp>
      <p:sp>
        <p:nvSpPr>
          <p:cNvPr id="4" name="日期占位符 2"/>
          <p:cNvSpPr>
            <a:spLocks noGrp="1"/>
          </p:cNvSpPr>
          <p:nvPr>
            <p:ph type="dt" sz="half" idx="10"/>
          </p:nvPr>
        </p:nvSpPr>
        <p:spPr>
          <a:xfrm>
            <a:off x="4718050" y="6409690"/>
            <a:ext cx="2743200" cy="27432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页脚占位符 3"/>
          <p:cNvSpPr>
            <a:spLocks noGrp="1"/>
          </p:cNvSpPr>
          <p:nvPr>
            <p:ph type="ftr" sz="quarter" idx="11"/>
          </p:nvPr>
        </p:nvSpPr>
        <p:spPr>
          <a:xfrm>
            <a:off x="660399" y="6409690"/>
            <a:ext cx="3657600" cy="27432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7861300" y="6409690"/>
            <a:ext cx="3657600" cy="274320"/>
          </a:xfrm>
          <a:prstGeom prst="rect">
            <a:avLst/>
          </a:prstGeom>
        </p:spPr>
        <p:txBody>
          <a:bodyPr/>
          <a:lstStyle/>
          <a:p>
            <a:fld id="{C8BB1146-E542-4D4E-B8E9-6919A11DDD48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1"/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fld id="{A50ECBEB-8597-4EA4-9D29-E1D7025CFAA0}" type="datetime1">
              <a:rPr lang="zh-CN" altLang="en-US" smtClean="0"/>
            </a:fld>
            <a:endParaRPr lang="zh-CN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1"/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fld id="{FD17C161-E0A8-4D01-9947-85FD8942E9C9}" type="datetime1">
              <a:rPr lang="zh-CN" altLang="en-US" smtClean="0"/>
            </a:fld>
            <a:endParaRPr lang="zh-CN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0"/>
          </p:nvPr>
        </p:nvSpPr>
        <p:spPr>
          <a:xfrm>
            <a:off x="11287844" y="6289488"/>
            <a:ext cx="526143" cy="365125"/>
          </a:xfrm>
        </p:spPr>
        <p:txBody>
          <a:bodyPr/>
          <a:lstStyle/>
          <a:p>
            <a:fld id="{09321FF8-95CF-4FCD-B001-FA7673DD6BBC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1"/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fld id="{B9109487-48C0-49BF-9A76-4EC48A3BB7C8}" type="datetime1">
              <a:rPr lang="zh-CN" altLang="en-US" smtClean="0"/>
            </a:fld>
            <a:endParaRPr lang="zh-CN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5701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对象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9265313" y="6448834"/>
            <a:ext cx="2844800" cy="365125"/>
          </a:xfrm>
          <a:prstGeom prst="rect">
            <a:avLst/>
          </a:prstGeom>
        </p:spPr>
        <p:txBody>
          <a:bodyPr lIns="99791" tIns="49895" rIns="99791" bIns="49895"/>
          <a:lstStyle>
            <a:lvl1pPr algn="r">
              <a:defRPr sz="160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defRPr>
            </a:lvl1pPr>
          </a:lstStyle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  <p:sp>
        <p:nvSpPr>
          <p:cNvPr id="5" name="标题 3"/>
          <p:cNvSpPr>
            <a:spLocks noGrp="1"/>
          </p:cNvSpPr>
          <p:nvPr>
            <p:ph type="title"/>
          </p:nvPr>
        </p:nvSpPr>
        <p:spPr>
          <a:xfrm>
            <a:off x="37395" y="1"/>
            <a:ext cx="12072719" cy="719832"/>
          </a:xfrm>
          <a:prstGeom prst="rect">
            <a:avLst/>
          </a:prstGeom>
        </p:spPr>
        <p:txBody>
          <a:bodyPr lIns="68580" tIns="34290" rIns="68580" bIns="34290" anchor="ctr">
            <a:normAutofit/>
          </a:bodyPr>
          <a:lstStyle>
            <a:lvl1pPr>
              <a:defRPr sz="2800" b="1">
                <a:solidFill>
                  <a:schemeClr val="tx1">
                    <a:lumMod val="85000"/>
                    <a:lumOff val="15000"/>
                  </a:schemeClr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90204" pitchFamily="34" charset="0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>
          <a:xfrm>
            <a:off x="792057" y="995257"/>
            <a:ext cx="9844616" cy="4358216"/>
          </a:xfrm>
          <a:prstGeom prst="rect">
            <a:avLst/>
          </a:prstGeom>
        </p:spPr>
        <p:txBody>
          <a:bodyPr/>
          <a:lstStyle>
            <a:lvl1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1pPr>
            <a:lvl2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2pPr>
            <a:lvl3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3pPr>
            <a:lvl4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4pPr>
            <a:lvl5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  <a:endParaRPr lang="zh-CN" altLang="en-US" dirty="0" smtClean="0"/>
          </a:p>
          <a:p>
            <a:pPr lvl="1"/>
            <a:r>
              <a:rPr lang="zh-CN" altLang="en-US" dirty="0" smtClean="0"/>
              <a:t>第二级</a:t>
            </a:r>
            <a:endParaRPr lang="zh-CN" altLang="en-US" dirty="0" smtClean="0"/>
          </a:p>
          <a:p>
            <a:pPr lvl="2"/>
            <a:r>
              <a:rPr lang="zh-CN" altLang="en-US" dirty="0" smtClean="0"/>
              <a:t>第三级</a:t>
            </a:r>
            <a:endParaRPr lang="zh-CN" altLang="en-US" dirty="0" smtClean="0"/>
          </a:p>
          <a:p>
            <a:pPr lvl="3"/>
            <a:r>
              <a:rPr lang="zh-CN" altLang="en-US" dirty="0" smtClean="0"/>
              <a:t>第四级</a:t>
            </a:r>
            <a:endParaRPr lang="zh-CN" altLang="en-US" dirty="0" smtClean="0"/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0封面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"/>
          <p:cNvSpPr/>
          <p:nvPr userDrawn="1"/>
        </p:nvSpPr>
        <p:spPr bwMode="auto">
          <a:xfrm flipH="1">
            <a:off x="0" y="3073313"/>
            <a:ext cx="10920534" cy="2262324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</p:txBody>
      </p:sp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0" name="对象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矩形 2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4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90204" pitchFamily="34" charset="0"/>
              <a:ea typeface="微软雅黑" panose="020B0503020204020204" charset="-122"/>
              <a:cs typeface="+mj-cs"/>
              <a:sym typeface="Arial" panose="020B0604020202090204" pitchFamily="34" charset="0"/>
            </a:endParaRPr>
          </a:p>
        </p:txBody>
      </p:sp>
      <p:sp>
        <p:nvSpPr>
          <p:cNvPr id="12" name="矩形 11"/>
          <p:cNvSpPr/>
          <p:nvPr userDrawn="1"/>
        </p:nvSpPr>
        <p:spPr>
          <a:xfrm>
            <a:off x="-1" y="5335637"/>
            <a:ext cx="12191999" cy="15223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cxnSp>
        <p:nvCxnSpPr>
          <p:cNvPr id="6" name="直接连接符 5"/>
          <p:cNvCxnSpPr/>
          <p:nvPr userDrawn="1"/>
        </p:nvCxnSpPr>
        <p:spPr>
          <a:xfrm>
            <a:off x="171507" y="1028700"/>
            <a:ext cx="11822373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0" name="对象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BCF4D">
              <a:alpha val="8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en-US" altLang="zh-CN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90204" pitchFamily="34" charset="0"/>
              <a:ea typeface="华文楷体" panose="02010600040101010101" pitchFamily="2" charset="-122"/>
              <a:cs typeface="+mj-cs"/>
              <a:sym typeface="Arial" panose="020B0604020202090204" pitchFamily="34" charset="0"/>
            </a:endParaRPr>
          </a:p>
        </p:txBody>
      </p:sp>
      <p:sp>
        <p:nvSpPr>
          <p:cNvPr id="19" name="灯片编号占位符 5"/>
          <p:cNvSpPr txBox="1"/>
          <p:nvPr userDrawn="1"/>
        </p:nvSpPr>
        <p:spPr>
          <a:xfrm>
            <a:off x="8869679" y="6395878"/>
            <a:ext cx="2909888" cy="206381"/>
          </a:xfrm>
          <a:prstGeom prst="rect">
            <a:avLst/>
          </a:prstGeom>
        </p:spPr>
        <p:txBody>
          <a:bodyPr vert="horz" lIns="91440" tIns="0" rIns="91440" bIns="45720" rtlCol="0" anchor="b" anchorCtr="0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DD3DB80-B894-403A-B48E-6FDC1A72010E}" type="slidenum">
              <a:rPr lang="zh-CN" altLang="en-US" sz="1200" b="1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 panose="020B0604020202090204"/>
                <a:ea typeface="微软雅黑" panose="020B0503020204020204" charset="-122"/>
              </a:rPr>
            </a:fld>
            <a:endParaRPr lang="zh-CN" altLang="en-US" sz="1200" b="1" dirty="0">
              <a:solidFill>
                <a:srgbClr val="000000">
                  <a:lumMod val="50000"/>
                  <a:lumOff val="50000"/>
                </a:srgbClr>
              </a:solidFill>
              <a:latin typeface="Arial" panose="020B0604020202090204"/>
              <a:ea typeface="微软雅黑" panose="020B0503020204020204" charset="-122"/>
            </a:endParaRPr>
          </a:p>
        </p:txBody>
      </p:sp>
      <p:cxnSp>
        <p:nvCxnSpPr>
          <p:cNvPr id="11" name="直接连接符 10"/>
          <p:cNvCxnSpPr/>
          <p:nvPr userDrawn="1"/>
        </p:nvCxnSpPr>
        <p:spPr>
          <a:xfrm>
            <a:off x="171507" y="1028700"/>
            <a:ext cx="11822373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标题 5"/>
          <p:cNvSpPr>
            <a:spLocks noGrp="1"/>
          </p:cNvSpPr>
          <p:nvPr>
            <p:ph type="title" hasCustomPrompt="1"/>
          </p:nvPr>
        </p:nvSpPr>
        <p:spPr>
          <a:xfrm>
            <a:off x="171507" y="121920"/>
            <a:ext cx="11822373" cy="845820"/>
          </a:xfrm>
          <a:prstGeom prst="rect">
            <a:avLst/>
          </a:prstGeom>
        </p:spPr>
        <p:txBody>
          <a:bodyPr anchor="b"/>
          <a:lstStyle>
            <a:lvl1pPr>
              <a:defRPr/>
            </a:lvl1pPr>
          </a:lstStyle>
          <a:p>
            <a:r>
              <a:rPr lang="zh-CN" altLang="en-US" dirty="0"/>
              <a:t>标题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72d2fdfb8da93606a4b836a6cf30fcbf570dc6d9178c0b-ai3vDw.jpeg" descr="72d2fdfb8da93606a4b836a6cf30fcbf570dc6d9178c0b-ai3vDw.jpeg"/>
          <p:cNvPicPr>
            <a:picLocks noChangeAspect="1"/>
          </p:cNvPicPr>
          <p:nvPr userDrawn="1"/>
        </p:nvPicPr>
        <p:blipFill rotWithShape="1">
          <a:blip r:embed="rId2"/>
          <a:srcRect b="4492"/>
          <a:stretch>
            <a:fillRect/>
          </a:stretch>
        </p:blipFill>
        <p:spPr>
          <a:xfrm>
            <a:off x="0" y="1"/>
            <a:ext cx="12231566" cy="6858000"/>
          </a:xfrm>
          <a:prstGeom prst="rect">
            <a:avLst/>
          </a:prstGeom>
          <a:ln w="12700">
            <a:miter lim="400000"/>
            <a:headEnd/>
            <a:tailEnd/>
          </a:ln>
        </p:spPr>
      </p:pic>
      <p:sp>
        <p:nvSpPr>
          <p:cNvPr id="6" name="矩形"/>
          <p:cNvSpPr/>
          <p:nvPr userDrawn="1"/>
        </p:nvSpPr>
        <p:spPr>
          <a:xfrm>
            <a:off x="0" y="10581"/>
            <a:ext cx="12231566" cy="6847420"/>
          </a:xfrm>
          <a:prstGeom prst="rect">
            <a:avLst/>
          </a:prstGeom>
          <a:solidFill>
            <a:srgbClr val="000000">
              <a:alpha val="30174"/>
            </a:srgbClr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sym typeface="等线" panose="02010600030101010101" charset="-122"/>
            </a:endParaRPr>
          </a:p>
        </p:txBody>
      </p:sp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561320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altLang="zh-CN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703020202090204" pitchFamily="34" charset="0"/>
              </a:rPr>
              <a:t>【</a:t>
            </a:r>
            <a:r>
              <a:rPr lang="zh-CN" alt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703020202090204" pitchFamily="34" charset="0"/>
              </a:rPr>
              <a:t>材料汇总</a:t>
            </a:r>
            <a:r>
              <a:rPr lang="en-US" altLang="zh-CN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703020202090204" pitchFamily="34" charset="0"/>
              </a:rPr>
              <a:t>】201809CIO office sample sldies v5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703020202090204" pitchFamily="34" charset="0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1" y="140399"/>
            <a:ext cx="10934700" cy="72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lnSpc>
                <a:spcPct val="100000"/>
              </a:lnSpc>
              <a:defRPr b="1"/>
            </a:lvl1pPr>
          </a:lstStyle>
          <a:p>
            <a:r>
              <a:rPr lang="en-US" altLang="zh-CN" dirty="0"/>
              <a:t>Click to add title</a:t>
            </a:r>
            <a:endParaRPr lang="en-US" dirty="0"/>
          </a:p>
        </p:txBody>
      </p:sp>
      <p:sp>
        <p:nvSpPr>
          <p:cNvPr id="6" name="矩形 5"/>
          <p:cNvSpPr/>
          <p:nvPr userDrawn="1"/>
        </p:nvSpPr>
        <p:spPr>
          <a:xfrm>
            <a:off x="203223" y="6461080"/>
            <a:ext cx="11051664" cy="2974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200" dirty="0">
                <a:solidFill>
                  <a:schemeClr val="accent5"/>
                </a:solidFill>
                <a:latin typeface="华文楷体" panose="02010600040101010101" pitchFamily="2" charset="-122"/>
                <a:ea typeface="+mj-ea"/>
                <a:cs typeface="+mj-cs"/>
                <a:sym typeface="Trebuchet MS" panose="020B0703020202090204" pitchFamily="34" charset="0"/>
              </a:rPr>
              <a:t>申明：本材料仅供集团内部学习交流使用，严禁出于商业目的使用，以避免不必要的纠纷。</a:t>
            </a:r>
            <a:r>
              <a:rPr lang="en-US" altLang="zh-CN" sz="1335" dirty="0">
                <a:solidFill>
                  <a:srgbClr val="FF0000"/>
                </a:solidFill>
                <a:latin typeface="华文楷体" panose="02010600040101010101" pitchFamily="2" charset="-122"/>
                <a:ea typeface="+mj-ea"/>
                <a:cs typeface="+mj-cs"/>
                <a:sym typeface="Trebuchet MS" panose="020B0703020202090204" pitchFamily="34" charset="0"/>
              </a:rPr>
              <a:t>		</a:t>
            </a:r>
            <a:endParaRPr lang="zh-CN" altLang="en-US" sz="1335" dirty="0">
              <a:solidFill>
                <a:schemeClr val="accent5"/>
              </a:solidFill>
              <a:latin typeface="华文楷体" panose="02010600040101010101" pitchFamily="2" charset="-122"/>
              <a:ea typeface="+mj-ea"/>
              <a:cs typeface="+mj-cs"/>
              <a:sym typeface="Trebuchet MS" panose="020B0703020202090204" pitchFamily="34" charset="0"/>
            </a:endParaRPr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-封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42" b="42"/>
          <a:stretch>
            <a:fillRect/>
          </a:stretch>
        </p:blipFill>
        <p:spPr>
          <a:xfrm>
            <a:off x="1016697" y="10123"/>
            <a:ext cx="11168799" cy="6844996"/>
          </a:xfrm>
          <a:prstGeom prst="rect">
            <a:avLst/>
          </a:prstGeom>
          <a:ln w="12700">
            <a:miter lim="400000"/>
            <a:headEnd/>
            <a:tailEnd/>
          </a:ln>
        </p:spPr>
      </p:pic>
      <p:pic>
        <p:nvPicPr>
          <p:cNvPr id="4" name="图片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815" y="0"/>
            <a:ext cx="11146185" cy="6858000"/>
          </a:xfrm>
          <a:prstGeom prst="rect">
            <a:avLst/>
          </a:prstGeom>
        </p:spPr>
      </p:pic>
      <p:sp>
        <p:nvSpPr>
          <p:cNvPr id="8" name="矩形 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5000">
                <a:srgbClr val="FDF1ED">
                  <a:alpha val="97647"/>
                </a:srgbClr>
              </a:gs>
              <a:gs pos="27000">
                <a:srgbClr val="FEF8F6">
                  <a:alpha val="86000"/>
                </a:srgbClr>
              </a:gs>
              <a:gs pos="56000">
                <a:schemeClr val="bg1">
                  <a:alpha val="86000"/>
                </a:schemeClr>
              </a:gs>
              <a:gs pos="0">
                <a:srgbClr val="FDEAE3"/>
              </a:gs>
              <a:gs pos="100000">
                <a:schemeClr val="bg1">
                  <a:alpha val="64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0" name="任意多边形: 形状 29"/>
          <p:cNvSpPr/>
          <p:nvPr userDrawn="1"/>
        </p:nvSpPr>
        <p:spPr>
          <a:xfrm>
            <a:off x="6918699" y="3183037"/>
            <a:ext cx="3984653" cy="3682203"/>
          </a:xfrm>
          <a:custGeom>
            <a:avLst/>
            <a:gdLst>
              <a:gd name="connsiteX0" fmla="*/ 2696901 w 5266797"/>
              <a:gd name="connsiteY0" fmla="*/ 0 h 6875362"/>
              <a:gd name="connsiteX1" fmla="*/ 5266797 w 5266797"/>
              <a:gd name="connsiteY1" fmla="*/ 0 h 6875362"/>
              <a:gd name="connsiteX2" fmla="*/ 5266797 w 5266797"/>
              <a:gd name="connsiteY2" fmla="*/ 1408772 h 6875362"/>
              <a:gd name="connsiteX3" fmla="*/ 3126080 w 5266797"/>
              <a:gd name="connsiteY3" fmla="*/ 6866222 h 6875362"/>
              <a:gd name="connsiteX4" fmla="*/ 0 w 5266797"/>
              <a:gd name="connsiteY4" fmla="*/ 6875362 h 6875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66797" h="6875362">
                <a:moveTo>
                  <a:pt x="2696901" y="0"/>
                </a:moveTo>
                <a:lnTo>
                  <a:pt x="5266797" y="0"/>
                </a:lnTo>
                <a:lnTo>
                  <a:pt x="5266797" y="1408772"/>
                </a:lnTo>
                <a:lnTo>
                  <a:pt x="3126080" y="6866222"/>
                </a:lnTo>
                <a:lnTo>
                  <a:pt x="0" y="6875362"/>
                </a:lnTo>
                <a:close/>
              </a:path>
            </a:pathLst>
          </a:custGeom>
          <a:gradFill flip="none" rotWithShape="1">
            <a:gsLst>
              <a:gs pos="32000">
                <a:srgbClr val="FE832C"/>
              </a:gs>
              <a:gs pos="88000">
                <a:srgbClr val="FFCEAB"/>
              </a:gs>
              <a:gs pos="0">
                <a:srgbClr val="EA5504"/>
              </a:gs>
              <a:gs pos="100000">
                <a:srgbClr val="FBE9D5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pic>
        <p:nvPicPr>
          <p:cNvPr id="12" name="图片 11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 flipH="1">
            <a:off x="6229392" y="1300480"/>
            <a:ext cx="5962607" cy="5557520"/>
          </a:xfrm>
          <a:prstGeom prst="rect">
            <a:avLst/>
          </a:prstGeom>
        </p:spPr>
      </p:pic>
      <p:sp>
        <p:nvSpPr>
          <p:cNvPr id="13" name="任意多边形: 形状 12"/>
          <p:cNvSpPr/>
          <p:nvPr userDrawn="1"/>
        </p:nvSpPr>
        <p:spPr>
          <a:xfrm>
            <a:off x="0" y="0"/>
            <a:ext cx="690654" cy="745871"/>
          </a:xfrm>
          <a:custGeom>
            <a:avLst/>
            <a:gdLst>
              <a:gd name="connsiteX0" fmla="*/ 590479 w 631437"/>
              <a:gd name="connsiteY0" fmla="*/ 600003 h 681919"/>
              <a:gd name="connsiteX1" fmla="*/ 631437 w 631437"/>
              <a:gd name="connsiteY1" fmla="*/ 640961 h 681919"/>
              <a:gd name="connsiteX2" fmla="*/ 590479 w 631437"/>
              <a:gd name="connsiteY2" fmla="*/ 681919 h 681919"/>
              <a:gd name="connsiteX3" fmla="*/ 549521 w 631437"/>
              <a:gd name="connsiteY3" fmla="*/ 640961 h 681919"/>
              <a:gd name="connsiteX4" fmla="*/ 590479 w 631437"/>
              <a:gd name="connsiteY4" fmla="*/ 600003 h 681919"/>
              <a:gd name="connsiteX5" fmla="*/ 448555 w 631437"/>
              <a:gd name="connsiteY5" fmla="*/ 600003 h 681919"/>
              <a:gd name="connsiteX6" fmla="*/ 489513 w 631437"/>
              <a:gd name="connsiteY6" fmla="*/ 640961 h 681919"/>
              <a:gd name="connsiteX7" fmla="*/ 448555 w 631437"/>
              <a:gd name="connsiteY7" fmla="*/ 681919 h 681919"/>
              <a:gd name="connsiteX8" fmla="*/ 407597 w 631437"/>
              <a:gd name="connsiteY8" fmla="*/ 640961 h 681919"/>
              <a:gd name="connsiteX9" fmla="*/ 448555 w 631437"/>
              <a:gd name="connsiteY9" fmla="*/ 600003 h 681919"/>
              <a:gd name="connsiteX10" fmla="*/ 306633 w 631437"/>
              <a:gd name="connsiteY10" fmla="*/ 600003 h 681919"/>
              <a:gd name="connsiteX11" fmla="*/ 347591 w 631437"/>
              <a:gd name="connsiteY11" fmla="*/ 640961 h 681919"/>
              <a:gd name="connsiteX12" fmla="*/ 306633 w 631437"/>
              <a:gd name="connsiteY12" fmla="*/ 681919 h 681919"/>
              <a:gd name="connsiteX13" fmla="*/ 265675 w 631437"/>
              <a:gd name="connsiteY13" fmla="*/ 640961 h 681919"/>
              <a:gd name="connsiteX14" fmla="*/ 306633 w 631437"/>
              <a:gd name="connsiteY14" fmla="*/ 600003 h 681919"/>
              <a:gd name="connsiteX15" fmla="*/ 164711 w 631437"/>
              <a:gd name="connsiteY15" fmla="*/ 600003 h 681919"/>
              <a:gd name="connsiteX16" fmla="*/ 205669 w 631437"/>
              <a:gd name="connsiteY16" fmla="*/ 640961 h 681919"/>
              <a:gd name="connsiteX17" fmla="*/ 164711 w 631437"/>
              <a:gd name="connsiteY17" fmla="*/ 681919 h 681919"/>
              <a:gd name="connsiteX18" fmla="*/ 123753 w 631437"/>
              <a:gd name="connsiteY18" fmla="*/ 640961 h 681919"/>
              <a:gd name="connsiteX19" fmla="*/ 164711 w 631437"/>
              <a:gd name="connsiteY19" fmla="*/ 600003 h 681919"/>
              <a:gd name="connsiteX20" fmla="*/ 22789 w 631437"/>
              <a:gd name="connsiteY20" fmla="*/ 600003 h 681919"/>
              <a:gd name="connsiteX21" fmla="*/ 63747 w 631437"/>
              <a:gd name="connsiteY21" fmla="*/ 640961 h 681919"/>
              <a:gd name="connsiteX22" fmla="*/ 22789 w 631437"/>
              <a:gd name="connsiteY22" fmla="*/ 681919 h 681919"/>
              <a:gd name="connsiteX23" fmla="*/ 0 w 631437"/>
              <a:gd name="connsiteY23" fmla="*/ 672479 h 681919"/>
              <a:gd name="connsiteX24" fmla="*/ 0 w 631437"/>
              <a:gd name="connsiteY24" fmla="*/ 609443 h 681919"/>
              <a:gd name="connsiteX25" fmla="*/ 590479 w 631437"/>
              <a:gd name="connsiteY25" fmla="*/ 441888 h 681919"/>
              <a:gd name="connsiteX26" fmla="*/ 631437 w 631437"/>
              <a:gd name="connsiteY26" fmla="*/ 482846 h 681919"/>
              <a:gd name="connsiteX27" fmla="*/ 590479 w 631437"/>
              <a:gd name="connsiteY27" fmla="*/ 523804 h 681919"/>
              <a:gd name="connsiteX28" fmla="*/ 549521 w 631437"/>
              <a:gd name="connsiteY28" fmla="*/ 482846 h 681919"/>
              <a:gd name="connsiteX29" fmla="*/ 590479 w 631437"/>
              <a:gd name="connsiteY29" fmla="*/ 441888 h 681919"/>
              <a:gd name="connsiteX30" fmla="*/ 448555 w 631437"/>
              <a:gd name="connsiteY30" fmla="*/ 441888 h 681919"/>
              <a:gd name="connsiteX31" fmla="*/ 489513 w 631437"/>
              <a:gd name="connsiteY31" fmla="*/ 482846 h 681919"/>
              <a:gd name="connsiteX32" fmla="*/ 448555 w 631437"/>
              <a:gd name="connsiteY32" fmla="*/ 523804 h 681919"/>
              <a:gd name="connsiteX33" fmla="*/ 407597 w 631437"/>
              <a:gd name="connsiteY33" fmla="*/ 482846 h 681919"/>
              <a:gd name="connsiteX34" fmla="*/ 448555 w 631437"/>
              <a:gd name="connsiteY34" fmla="*/ 441888 h 681919"/>
              <a:gd name="connsiteX35" fmla="*/ 306633 w 631437"/>
              <a:gd name="connsiteY35" fmla="*/ 441888 h 681919"/>
              <a:gd name="connsiteX36" fmla="*/ 347591 w 631437"/>
              <a:gd name="connsiteY36" fmla="*/ 482846 h 681919"/>
              <a:gd name="connsiteX37" fmla="*/ 306633 w 631437"/>
              <a:gd name="connsiteY37" fmla="*/ 523804 h 681919"/>
              <a:gd name="connsiteX38" fmla="*/ 265675 w 631437"/>
              <a:gd name="connsiteY38" fmla="*/ 482846 h 681919"/>
              <a:gd name="connsiteX39" fmla="*/ 306633 w 631437"/>
              <a:gd name="connsiteY39" fmla="*/ 441888 h 681919"/>
              <a:gd name="connsiteX40" fmla="*/ 164711 w 631437"/>
              <a:gd name="connsiteY40" fmla="*/ 441888 h 681919"/>
              <a:gd name="connsiteX41" fmla="*/ 205669 w 631437"/>
              <a:gd name="connsiteY41" fmla="*/ 482846 h 681919"/>
              <a:gd name="connsiteX42" fmla="*/ 164711 w 631437"/>
              <a:gd name="connsiteY42" fmla="*/ 523804 h 681919"/>
              <a:gd name="connsiteX43" fmla="*/ 123753 w 631437"/>
              <a:gd name="connsiteY43" fmla="*/ 482846 h 681919"/>
              <a:gd name="connsiteX44" fmla="*/ 164711 w 631437"/>
              <a:gd name="connsiteY44" fmla="*/ 441888 h 681919"/>
              <a:gd name="connsiteX45" fmla="*/ 22789 w 631437"/>
              <a:gd name="connsiteY45" fmla="*/ 441888 h 681919"/>
              <a:gd name="connsiteX46" fmla="*/ 63747 w 631437"/>
              <a:gd name="connsiteY46" fmla="*/ 482846 h 681919"/>
              <a:gd name="connsiteX47" fmla="*/ 22789 w 631437"/>
              <a:gd name="connsiteY47" fmla="*/ 523804 h 681919"/>
              <a:gd name="connsiteX48" fmla="*/ 0 w 631437"/>
              <a:gd name="connsiteY48" fmla="*/ 514364 h 681919"/>
              <a:gd name="connsiteX49" fmla="*/ 0 w 631437"/>
              <a:gd name="connsiteY49" fmla="*/ 451328 h 681919"/>
              <a:gd name="connsiteX50" fmla="*/ 590479 w 631437"/>
              <a:gd name="connsiteY50" fmla="*/ 283773 h 681919"/>
              <a:gd name="connsiteX51" fmla="*/ 631437 w 631437"/>
              <a:gd name="connsiteY51" fmla="*/ 324731 h 681919"/>
              <a:gd name="connsiteX52" fmla="*/ 590479 w 631437"/>
              <a:gd name="connsiteY52" fmla="*/ 365689 h 681919"/>
              <a:gd name="connsiteX53" fmla="*/ 549521 w 631437"/>
              <a:gd name="connsiteY53" fmla="*/ 324731 h 681919"/>
              <a:gd name="connsiteX54" fmla="*/ 590479 w 631437"/>
              <a:gd name="connsiteY54" fmla="*/ 283773 h 681919"/>
              <a:gd name="connsiteX55" fmla="*/ 448555 w 631437"/>
              <a:gd name="connsiteY55" fmla="*/ 283773 h 681919"/>
              <a:gd name="connsiteX56" fmla="*/ 489513 w 631437"/>
              <a:gd name="connsiteY56" fmla="*/ 324731 h 681919"/>
              <a:gd name="connsiteX57" fmla="*/ 448555 w 631437"/>
              <a:gd name="connsiteY57" fmla="*/ 365689 h 681919"/>
              <a:gd name="connsiteX58" fmla="*/ 407597 w 631437"/>
              <a:gd name="connsiteY58" fmla="*/ 324731 h 681919"/>
              <a:gd name="connsiteX59" fmla="*/ 448555 w 631437"/>
              <a:gd name="connsiteY59" fmla="*/ 283773 h 681919"/>
              <a:gd name="connsiteX60" fmla="*/ 306633 w 631437"/>
              <a:gd name="connsiteY60" fmla="*/ 283773 h 681919"/>
              <a:gd name="connsiteX61" fmla="*/ 347591 w 631437"/>
              <a:gd name="connsiteY61" fmla="*/ 324731 h 681919"/>
              <a:gd name="connsiteX62" fmla="*/ 306633 w 631437"/>
              <a:gd name="connsiteY62" fmla="*/ 365689 h 681919"/>
              <a:gd name="connsiteX63" fmla="*/ 265675 w 631437"/>
              <a:gd name="connsiteY63" fmla="*/ 324731 h 681919"/>
              <a:gd name="connsiteX64" fmla="*/ 306633 w 631437"/>
              <a:gd name="connsiteY64" fmla="*/ 283773 h 681919"/>
              <a:gd name="connsiteX65" fmla="*/ 164711 w 631437"/>
              <a:gd name="connsiteY65" fmla="*/ 283773 h 681919"/>
              <a:gd name="connsiteX66" fmla="*/ 205669 w 631437"/>
              <a:gd name="connsiteY66" fmla="*/ 324731 h 681919"/>
              <a:gd name="connsiteX67" fmla="*/ 164711 w 631437"/>
              <a:gd name="connsiteY67" fmla="*/ 365689 h 681919"/>
              <a:gd name="connsiteX68" fmla="*/ 123753 w 631437"/>
              <a:gd name="connsiteY68" fmla="*/ 324731 h 681919"/>
              <a:gd name="connsiteX69" fmla="*/ 164711 w 631437"/>
              <a:gd name="connsiteY69" fmla="*/ 283773 h 681919"/>
              <a:gd name="connsiteX70" fmla="*/ 22789 w 631437"/>
              <a:gd name="connsiteY70" fmla="*/ 283773 h 681919"/>
              <a:gd name="connsiteX71" fmla="*/ 63747 w 631437"/>
              <a:gd name="connsiteY71" fmla="*/ 324731 h 681919"/>
              <a:gd name="connsiteX72" fmla="*/ 22789 w 631437"/>
              <a:gd name="connsiteY72" fmla="*/ 365689 h 681919"/>
              <a:gd name="connsiteX73" fmla="*/ 0 w 631437"/>
              <a:gd name="connsiteY73" fmla="*/ 356249 h 681919"/>
              <a:gd name="connsiteX74" fmla="*/ 0 w 631437"/>
              <a:gd name="connsiteY74" fmla="*/ 293213 h 681919"/>
              <a:gd name="connsiteX75" fmla="*/ 448555 w 631437"/>
              <a:gd name="connsiteY75" fmla="*/ 125658 h 681919"/>
              <a:gd name="connsiteX76" fmla="*/ 489513 w 631437"/>
              <a:gd name="connsiteY76" fmla="*/ 166616 h 681919"/>
              <a:gd name="connsiteX77" fmla="*/ 448555 w 631437"/>
              <a:gd name="connsiteY77" fmla="*/ 207574 h 681919"/>
              <a:gd name="connsiteX78" fmla="*/ 407597 w 631437"/>
              <a:gd name="connsiteY78" fmla="*/ 166616 h 681919"/>
              <a:gd name="connsiteX79" fmla="*/ 448555 w 631437"/>
              <a:gd name="connsiteY79" fmla="*/ 125658 h 681919"/>
              <a:gd name="connsiteX80" fmla="*/ 306633 w 631437"/>
              <a:gd name="connsiteY80" fmla="*/ 125658 h 681919"/>
              <a:gd name="connsiteX81" fmla="*/ 347591 w 631437"/>
              <a:gd name="connsiteY81" fmla="*/ 166616 h 681919"/>
              <a:gd name="connsiteX82" fmla="*/ 306633 w 631437"/>
              <a:gd name="connsiteY82" fmla="*/ 207574 h 681919"/>
              <a:gd name="connsiteX83" fmla="*/ 265675 w 631437"/>
              <a:gd name="connsiteY83" fmla="*/ 166616 h 681919"/>
              <a:gd name="connsiteX84" fmla="*/ 306633 w 631437"/>
              <a:gd name="connsiteY84" fmla="*/ 125658 h 681919"/>
              <a:gd name="connsiteX85" fmla="*/ 164711 w 631437"/>
              <a:gd name="connsiteY85" fmla="*/ 125658 h 681919"/>
              <a:gd name="connsiteX86" fmla="*/ 205669 w 631437"/>
              <a:gd name="connsiteY86" fmla="*/ 166616 h 681919"/>
              <a:gd name="connsiteX87" fmla="*/ 164711 w 631437"/>
              <a:gd name="connsiteY87" fmla="*/ 207574 h 681919"/>
              <a:gd name="connsiteX88" fmla="*/ 123753 w 631437"/>
              <a:gd name="connsiteY88" fmla="*/ 166616 h 681919"/>
              <a:gd name="connsiteX89" fmla="*/ 164711 w 631437"/>
              <a:gd name="connsiteY89" fmla="*/ 125658 h 681919"/>
              <a:gd name="connsiteX90" fmla="*/ 22789 w 631437"/>
              <a:gd name="connsiteY90" fmla="*/ 125658 h 681919"/>
              <a:gd name="connsiteX91" fmla="*/ 63747 w 631437"/>
              <a:gd name="connsiteY91" fmla="*/ 166616 h 681919"/>
              <a:gd name="connsiteX92" fmla="*/ 22789 w 631437"/>
              <a:gd name="connsiteY92" fmla="*/ 207574 h 681919"/>
              <a:gd name="connsiteX93" fmla="*/ 0 w 631437"/>
              <a:gd name="connsiteY93" fmla="*/ 198134 h 681919"/>
              <a:gd name="connsiteX94" fmla="*/ 0 w 631437"/>
              <a:gd name="connsiteY94" fmla="*/ 135098 h 681919"/>
              <a:gd name="connsiteX95" fmla="*/ 590479 w 631437"/>
              <a:gd name="connsiteY95" fmla="*/ 125658 h 681919"/>
              <a:gd name="connsiteX96" fmla="*/ 631437 w 631437"/>
              <a:gd name="connsiteY96" fmla="*/ 166616 h 681919"/>
              <a:gd name="connsiteX97" fmla="*/ 590479 w 631437"/>
              <a:gd name="connsiteY97" fmla="*/ 207574 h 681919"/>
              <a:gd name="connsiteX98" fmla="*/ 549521 w 631437"/>
              <a:gd name="connsiteY98" fmla="*/ 166616 h 681919"/>
              <a:gd name="connsiteX99" fmla="*/ 590479 w 631437"/>
              <a:gd name="connsiteY99" fmla="*/ 125658 h 681919"/>
              <a:gd name="connsiteX100" fmla="*/ 553042 w 631437"/>
              <a:gd name="connsiteY100" fmla="*/ 0 h 681919"/>
              <a:gd name="connsiteX101" fmla="*/ 627916 w 631437"/>
              <a:gd name="connsiteY101" fmla="*/ 0 h 681919"/>
              <a:gd name="connsiteX102" fmla="*/ 631437 w 631437"/>
              <a:gd name="connsiteY102" fmla="*/ 8501 h 681919"/>
              <a:gd name="connsiteX103" fmla="*/ 590479 w 631437"/>
              <a:gd name="connsiteY103" fmla="*/ 49459 h 681919"/>
              <a:gd name="connsiteX104" fmla="*/ 549521 w 631437"/>
              <a:gd name="connsiteY104" fmla="*/ 8501 h 681919"/>
              <a:gd name="connsiteX105" fmla="*/ 411118 w 631437"/>
              <a:gd name="connsiteY105" fmla="*/ 0 h 681919"/>
              <a:gd name="connsiteX106" fmla="*/ 485992 w 631437"/>
              <a:gd name="connsiteY106" fmla="*/ 0 h 681919"/>
              <a:gd name="connsiteX107" fmla="*/ 489513 w 631437"/>
              <a:gd name="connsiteY107" fmla="*/ 8501 h 681919"/>
              <a:gd name="connsiteX108" fmla="*/ 448555 w 631437"/>
              <a:gd name="connsiteY108" fmla="*/ 49459 h 681919"/>
              <a:gd name="connsiteX109" fmla="*/ 407597 w 631437"/>
              <a:gd name="connsiteY109" fmla="*/ 8501 h 681919"/>
              <a:gd name="connsiteX110" fmla="*/ 269196 w 631437"/>
              <a:gd name="connsiteY110" fmla="*/ 0 h 681919"/>
              <a:gd name="connsiteX111" fmla="*/ 344070 w 631437"/>
              <a:gd name="connsiteY111" fmla="*/ 0 h 681919"/>
              <a:gd name="connsiteX112" fmla="*/ 347591 w 631437"/>
              <a:gd name="connsiteY112" fmla="*/ 8501 h 681919"/>
              <a:gd name="connsiteX113" fmla="*/ 306633 w 631437"/>
              <a:gd name="connsiteY113" fmla="*/ 49459 h 681919"/>
              <a:gd name="connsiteX114" fmla="*/ 265675 w 631437"/>
              <a:gd name="connsiteY114" fmla="*/ 8501 h 681919"/>
              <a:gd name="connsiteX115" fmla="*/ 127274 w 631437"/>
              <a:gd name="connsiteY115" fmla="*/ 0 h 681919"/>
              <a:gd name="connsiteX116" fmla="*/ 202148 w 631437"/>
              <a:gd name="connsiteY116" fmla="*/ 0 h 681919"/>
              <a:gd name="connsiteX117" fmla="*/ 205669 w 631437"/>
              <a:gd name="connsiteY117" fmla="*/ 8501 h 681919"/>
              <a:gd name="connsiteX118" fmla="*/ 164711 w 631437"/>
              <a:gd name="connsiteY118" fmla="*/ 49459 h 681919"/>
              <a:gd name="connsiteX119" fmla="*/ 123753 w 631437"/>
              <a:gd name="connsiteY119" fmla="*/ 8501 h 681919"/>
              <a:gd name="connsiteX120" fmla="*/ 0 w 631437"/>
              <a:gd name="connsiteY120" fmla="*/ 0 h 681919"/>
              <a:gd name="connsiteX121" fmla="*/ 60226 w 631437"/>
              <a:gd name="connsiteY121" fmla="*/ 0 h 681919"/>
              <a:gd name="connsiteX122" fmla="*/ 63747 w 631437"/>
              <a:gd name="connsiteY122" fmla="*/ 8501 h 681919"/>
              <a:gd name="connsiteX123" fmla="*/ 22789 w 631437"/>
              <a:gd name="connsiteY123" fmla="*/ 49459 h 681919"/>
              <a:gd name="connsiteX124" fmla="*/ 0 w 631437"/>
              <a:gd name="connsiteY124" fmla="*/ 40019 h 6819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631437" h="681919">
                <a:moveTo>
                  <a:pt x="590479" y="600003"/>
                </a:moveTo>
                <a:cubicBezTo>
                  <a:pt x="613099" y="600003"/>
                  <a:pt x="631437" y="618341"/>
                  <a:pt x="631437" y="640961"/>
                </a:cubicBezTo>
                <a:cubicBezTo>
                  <a:pt x="631437" y="663581"/>
                  <a:pt x="613099" y="681919"/>
                  <a:pt x="590479" y="681919"/>
                </a:cubicBezTo>
                <a:cubicBezTo>
                  <a:pt x="567859" y="681919"/>
                  <a:pt x="549521" y="663581"/>
                  <a:pt x="549521" y="640961"/>
                </a:cubicBezTo>
                <a:cubicBezTo>
                  <a:pt x="549521" y="618341"/>
                  <a:pt x="567859" y="600003"/>
                  <a:pt x="590479" y="600003"/>
                </a:cubicBezTo>
                <a:close/>
                <a:moveTo>
                  <a:pt x="448555" y="600003"/>
                </a:moveTo>
                <a:cubicBezTo>
                  <a:pt x="471175" y="600003"/>
                  <a:pt x="489513" y="618341"/>
                  <a:pt x="489513" y="640961"/>
                </a:cubicBezTo>
                <a:cubicBezTo>
                  <a:pt x="489513" y="663581"/>
                  <a:pt x="471175" y="681919"/>
                  <a:pt x="448555" y="681919"/>
                </a:cubicBezTo>
                <a:cubicBezTo>
                  <a:pt x="425935" y="681919"/>
                  <a:pt x="407597" y="663581"/>
                  <a:pt x="407597" y="640961"/>
                </a:cubicBezTo>
                <a:cubicBezTo>
                  <a:pt x="407597" y="618341"/>
                  <a:pt x="425935" y="600003"/>
                  <a:pt x="448555" y="600003"/>
                </a:cubicBezTo>
                <a:close/>
                <a:moveTo>
                  <a:pt x="306633" y="600003"/>
                </a:moveTo>
                <a:cubicBezTo>
                  <a:pt x="329253" y="600003"/>
                  <a:pt x="347591" y="618341"/>
                  <a:pt x="347591" y="640961"/>
                </a:cubicBezTo>
                <a:cubicBezTo>
                  <a:pt x="347591" y="663581"/>
                  <a:pt x="329253" y="681919"/>
                  <a:pt x="306633" y="681919"/>
                </a:cubicBezTo>
                <a:cubicBezTo>
                  <a:pt x="284013" y="681919"/>
                  <a:pt x="265675" y="663581"/>
                  <a:pt x="265675" y="640961"/>
                </a:cubicBezTo>
                <a:cubicBezTo>
                  <a:pt x="265675" y="618341"/>
                  <a:pt x="284013" y="600003"/>
                  <a:pt x="306633" y="600003"/>
                </a:cubicBezTo>
                <a:close/>
                <a:moveTo>
                  <a:pt x="164711" y="600003"/>
                </a:moveTo>
                <a:cubicBezTo>
                  <a:pt x="187331" y="600003"/>
                  <a:pt x="205669" y="618341"/>
                  <a:pt x="205669" y="640961"/>
                </a:cubicBezTo>
                <a:cubicBezTo>
                  <a:pt x="205669" y="663581"/>
                  <a:pt x="187331" y="681919"/>
                  <a:pt x="164711" y="681919"/>
                </a:cubicBezTo>
                <a:cubicBezTo>
                  <a:pt x="142091" y="681919"/>
                  <a:pt x="123753" y="663581"/>
                  <a:pt x="123753" y="640961"/>
                </a:cubicBezTo>
                <a:cubicBezTo>
                  <a:pt x="123753" y="618341"/>
                  <a:pt x="142091" y="600003"/>
                  <a:pt x="164711" y="600003"/>
                </a:cubicBezTo>
                <a:close/>
                <a:moveTo>
                  <a:pt x="22789" y="600003"/>
                </a:moveTo>
                <a:cubicBezTo>
                  <a:pt x="45409" y="600003"/>
                  <a:pt x="63747" y="618341"/>
                  <a:pt x="63747" y="640961"/>
                </a:cubicBezTo>
                <a:cubicBezTo>
                  <a:pt x="63747" y="663581"/>
                  <a:pt x="45409" y="681919"/>
                  <a:pt x="22789" y="681919"/>
                </a:cubicBezTo>
                <a:lnTo>
                  <a:pt x="0" y="672479"/>
                </a:lnTo>
                <a:lnTo>
                  <a:pt x="0" y="609443"/>
                </a:lnTo>
                <a:close/>
                <a:moveTo>
                  <a:pt x="590479" y="441888"/>
                </a:moveTo>
                <a:cubicBezTo>
                  <a:pt x="613099" y="441888"/>
                  <a:pt x="631437" y="460226"/>
                  <a:pt x="631437" y="482846"/>
                </a:cubicBezTo>
                <a:cubicBezTo>
                  <a:pt x="631437" y="505466"/>
                  <a:pt x="613099" y="523804"/>
                  <a:pt x="590479" y="523804"/>
                </a:cubicBezTo>
                <a:cubicBezTo>
                  <a:pt x="567859" y="523804"/>
                  <a:pt x="549521" y="505466"/>
                  <a:pt x="549521" y="482846"/>
                </a:cubicBezTo>
                <a:cubicBezTo>
                  <a:pt x="549521" y="460226"/>
                  <a:pt x="567859" y="441888"/>
                  <a:pt x="590479" y="441888"/>
                </a:cubicBezTo>
                <a:close/>
                <a:moveTo>
                  <a:pt x="448555" y="441888"/>
                </a:moveTo>
                <a:cubicBezTo>
                  <a:pt x="471175" y="441888"/>
                  <a:pt x="489513" y="460226"/>
                  <a:pt x="489513" y="482846"/>
                </a:cubicBezTo>
                <a:cubicBezTo>
                  <a:pt x="489513" y="505466"/>
                  <a:pt x="471175" y="523804"/>
                  <a:pt x="448555" y="523804"/>
                </a:cubicBezTo>
                <a:cubicBezTo>
                  <a:pt x="425935" y="523804"/>
                  <a:pt x="407597" y="505466"/>
                  <a:pt x="407597" y="482846"/>
                </a:cubicBezTo>
                <a:cubicBezTo>
                  <a:pt x="407597" y="460226"/>
                  <a:pt x="425935" y="441888"/>
                  <a:pt x="448555" y="441888"/>
                </a:cubicBezTo>
                <a:close/>
                <a:moveTo>
                  <a:pt x="306633" y="441888"/>
                </a:moveTo>
                <a:cubicBezTo>
                  <a:pt x="329253" y="441888"/>
                  <a:pt x="347591" y="460226"/>
                  <a:pt x="347591" y="482846"/>
                </a:cubicBezTo>
                <a:cubicBezTo>
                  <a:pt x="347591" y="505466"/>
                  <a:pt x="329253" y="523804"/>
                  <a:pt x="306633" y="523804"/>
                </a:cubicBezTo>
                <a:cubicBezTo>
                  <a:pt x="284013" y="523804"/>
                  <a:pt x="265675" y="505466"/>
                  <a:pt x="265675" y="482846"/>
                </a:cubicBezTo>
                <a:cubicBezTo>
                  <a:pt x="265675" y="460226"/>
                  <a:pt x="284013" y="441888"/>
                  <a:pt x="306633" y="441888"/>
                </a:cubicBezTo>
                <a:close/>
                <a:moveTo>
                  <a:pt x="164711" y="441888"/>
                </a:moveTo>
                <a:cubicBezTo>
                  <a:pt x="187331" y="441888"/>
                  <a:pt x="205669" y="460226"/>
                  <a:pt x="205669" y="482846"/>
                </a:cubicBezTo>
                <a:cubicBezTo>
                  <a:pt x="205669" y="505466"/>
                  <a:pt x="187331" y="523804"/>
                  <a:pt x="164711" y="523804"/>
                </a:cubicBezTo>
                <a:cubicBezTo>
                  <a:pt x="142091" y="523804"/>
                  <a:pt x="123753" y="505466"/>
                  <a:pt x="123753" y="482846"/>
                </a:cubicBezTo>
                <a:cubicBezTo>
                  <a:pt x="123753" y="460226"/>
                  <a:pt x="142091" y="441888"/>
                  <a:pt x="164711" y="441888"/>
                </a:cubicBezTo>
                <a:close/>
                <a:moveTo>
                  <a:pt x="22789" y="441888"/>
                </a:moveTo>
                <a:cubicBezTo>
                  <a:pt x="45409" y="441888"/>
                  <a:pt x="63747" y="460226"/>
                  <a:pt x="63747" y="482846"/>
                </a:cubicBezTo>
                <a:cubicBezTo>
                  <a:pt x="63747" y="505466"/>
                  <a:pt x="45409" y="523804"/>
                  <a:pt x="22789" y="523804"/>
                </a:cubicBezTo>
                <a:lnTo>
                  <a:pt x="0" y="514364"/>
                </a:lnTo>
                <a:lnTo>
                  <a:pt x="0" y="451328"/>
                </a:lnTo>
                <a:close/>
                <a:moveTo>
                  <a:pt x="590479" y="283773"/>
                </a:moveTo>
                <a:cubicBezTo>
                  <a:pt x="613099" y="283773"/>
                  <a:pt x="631437" y="302111"/>
                  <a:pt x="631437" y="324731"/>
                </a:cubicBezTo>
                <a:cubicBezTo>
                  <a:pt x="631437" y="347351"/>
                  <a:pt x="613099" y="365689"/>
                  <a:pt x="590479" y="365689"/>
                </a:cubicBezTo>
                <a:cubicBezTo>
                  <a:pt x="567859" y="365689"/>
                  <a:pt x="549521" y="347351"/>
                  <a:pt x="549521" y="324731"/>
                </a:cubicBezTo>
                <a:cubicBezTo>
                  <a:pt x="549521" y="302111"/>
                  <a:pt x="567859" y="283773"/>
                  <a:pt x="590479" y="283773"/>
                </a:cubicBezTo>
                <a:close/>
                <a:moveTo>
                  <a:pt x="448555" y="283773"/>
                </a:moveTo>
                <a:cubicBezTo>
                  <a:pt x="471175" y="283773"/>
                  <a:pt x="489513" y="302111"/>
                  <a:pt x="489513" y="324731"/>
                </a:cubicBezTo>
                <a:cubicBezTo>
                  <a:pt x="489513" y="347351"/>
                  <a:pt x="471175" y="365689"/>
                  <a:pt x="448555" y="365689"/>
                </a:cubicBezTo>
                <a:cubicBezTo>
                  <a:pt x="425935" y="365689"/>
                  <a:pt x="407597" y="347351"/>
                  <a:pt x="407597" y="324731"/>
                </a:cubicBezTo>
                <a:cubicBezTo>
                  <a:pt x="407597" y="302111"/>
                  <a:pt x="425935" y="283773"/>
                  <a:pt x="448555" y="283773"/>
                </a:cubicBezTo>
                <a:close/>
                <a:moveTo>
                  <a:pt x="306633" y="283773"/>
                </a:moveTo>
                <a:cubicBezTo>
                  <a:pt x="329253" y="283773"/>
                  <a:pt x="347591" y="302111"/>
                  <a:pt x="347591" y="324731"/>
                </a:cubicBezTo>
                <a:cubicBezTo>
                  <a:pt x="347591" y="347351"/>
                  <a:pt x="329253" y="365689"/>
                  <a:pt x="306633" y="365689"/>
                </a:cubicBezTo>
                <a:cubicBezTo>
                  <a:pt x="284013" y="365689"/>
                  <a:pt x="265675" y="347351"/>
                  <a:pt x="265675" y="324731"/>
                </a:cubicBezTo>
                <a:cubicBezTo>
                  <a:pt x="265675" y="302111"/>
                  <a:pt x="284013" y="283773"/>
                  <a:pt x="306633" y="283773"/>
                </a:cubicBezTo>
                <a:close/>
                <a:moveTo>
                  <a:pt x="164711" y="283773"/>
                </a:moveTo>
                <a:cubicBezTo>
                  <a:pt x="187331" y="283773"/>
                  <a:pt x="205669" y="302111"/>
                  <a:pt x="205669" y="324731"/>
                </a:cubicBezTo>
                <a:cubicBezTo>
                  <a:pt x="205669" y="347351"/>
                  <a:pt x="187331" y="365689"/>
                  <a:pt x="164711" y="365689"/>
                </a:cubicBezTo>
                <a:cubicBezTo>
                  <a:pt x="142091" y="365689"/>
                  <a:pt x="123753" y="347351"/>
                  <a:pt x="123753" y="324731"/>
                </a:cubicBezTo>
                <a:cubicBezTo>
                  <a:pt x="123753" y="302111"/>
                  <a:pt x="142091" y="283773"/>
                  <a:pt x="164711" y="283773"/>
                </a:cubicBezTo>
                <a:close/>
                <a:moveTo>
                  <a:pt x="22789" y="283773"/>
                </a:moveTo>
                <a:cubicBezTo>
                  <a:pt x="45409" y="283773"/>
                  <a:pt x="63747" y="302111"/>
                  <a:pt x="63747" y="324731"/>
                </a:cubicBezTo>
                <a:cubicBezTo>
                  <a:pt x="63747" y="347351"/>
                  <a:pt x="45409" y="365689"/>
                  <a:pt x="22789" y="365689"/>
                </a:cubicBezTo>
                <a:lnTo>
                  <a:pt x="0" y="356249"/>
                </a:lnTo>
                <a:lnTo>
                  <a:pt x="0" y="293213"/>
                </a:lnTo>
                <a:close/>
                <a:moveTo>
                  <a:pt x="448555" y="125658"/>
                </a:moveTo>
                <a:cubicBezTo>
                  <a:pt x="471175" y="125658"/>
                  <a:pt x="489513" y="143996"/>
                  <a:pt x="489513" y="166616"/>
                </a:cubicBezTo>
                <a:cubicBezTo>
                  <a:pt x="489513" y="189236"/>
                  <a:pt x="471175" y="207574"/>
                  <a:pt x="448555" y="207574"/>
                </a:cubicBezTo>
                <a:cubicBezTo>
                  <a:pt x="425935" y="207574"/>
                  <a:pt x="407597" y="189236"/>
                  <a:pt x="407597" y="166616"/>
                </a:cubicBezTo>
                <a:cubicBezTo>
                  <a:pt x="407597" y="143996"/>
                  <a:pt x="425935" y="125658"/>
                  <a:pt x="448555" y="125658"/>
                </a:cubicBezTo>
                <a:close/>
                <a:moveTo>
                  <a:pt x="306633" y="125658"/>
                </a:moveTo>
                <a:cubicBezTo>
                  <a:pt x="329253" y="125658"/>
                  <a:pt x="347591" y="143996"/>
                  <a:pt x="347591" y="166616"/>
                </a:cubicBezTo>
                <a:cubicBezTo>
                  <a:pt x="347591" y="189236"/>
                  <a:pt x="329253" y="207574"/>
                  <a:pt x="306633" y="207574"/>
                </a:cubicBezTo>
                <a:cubicBezTo>
                  <a:pt x="284013" y="207574"/>
                  <a:pt x="265675" y="189236"/>
                  <a:pt x="265675" y="166616"/>
                </a:cubicBezTo>
                <a:cubicBezTo>
                  <a:pt x="265675" y="143996"/>
                  <a:pt x="284013" y="125658"/>
                  <a:pt x="306633" y="125658"/>
                </a:cubicBezTo>
                <a:close/>
                <a:moveTo>
                  <a:pt x="164711" y="125658"/>
                </a:moveTo>
                <a:cubicBezTo>
                  <a:pt x="187331" y="125658"/>
                  <a:pt x="205669" y="143996"/>
                  <a:pt x="205669" y="166616"/>
                </a:cubicBezTo>
                <a:cubicBezTo>
                  <a:pt x="205669" y="189236"/>
                  <a:pt x="187331" y="207574"/>
                  <a:pt x="164711" y="207574"/>
                </a:cubicBezTo>
                <a:cubicBezTo>
                  <a:pt x="142091" y="207574"/>
                  <a:pt x="123753" y="189236"/>
                  <a:pt x="123753" y="166616"/>
                </a:cubicBezTo>
                <a:cubicBezTo>
                  <a:pt x="123753" y="143996"/>
                  <a:pt x="142091" y="125658"/>
                  <a:pt x="164711" y="125658"/>
                </a:cubicBezTo>
                <a:close/>
                <a:moveTo>
                  <a:pt x="22789" y="125658"/>
                </a:moveTo>
                <a:cubicBezTo>
                  <a:pt x="45409" y="125658"/>
                  <a:pt x="63747" y="143996"/>
                  <a:pt x="63747" y="166616"/>
                </a:cubicBezTo>
                <a:cubicBezTo>
                  <a:pt x="63747" y="189236"/>
                  <a:pt x="45409" y="207574"/>
                  <a:pt x="22789" y="207574"/>
                </a:cubicBezTo>
                <a:lnTo>
                  <a:pt x="0" y="198134"/>
                </a:lnTo>
                <a:lnTo>
                  <a:pt x="0" y="135098"/>
                </a:lnTo>
                <a:close/>
                <a:moveTo>
                  <a:pt x="590479" y="125658"/>
                </a:moveTo>
                <a:cubicBezTo>
                  <a:pt x="613099" y="125658"/>
                  <a:pt x="631437" y="143996"/>
                  <a:pt x="631437" y="166616"/>
                </a:cubicBezTo>
                <a:cubicBezTo>
                  <a:pt x="631437" y="189236"/>
                  <a:pt x="613099" y="207574"/>
                  <a:pt x="590479" y="207574"/>
                </a:cubicBezTo>
                <a:cubicBezTo>
                  <a:pt x="567859" y="207574"/>
                  <a:pt x="549521" y="189236"/>
                  <a:pt x="549521" y="166616"/>
                </a:cubicBezTo>
                <a:cubicBezTo>
                  <a:pt x="549521" y="143996"/>
                  <a:pt x="567859" y="125658"/>
                  <a:pt x="590479" y="125658"/>
                </a:cubicBezTo>
                <a:close/>
                <a:moveTo>
                  <a:pt x="553042" y="0"/>
                </a:moveTo>
                <a:lnTo>
                  <a:pt x="627916" y="0"/>
                </a:lnTo>
                <a:lnTo>
                  <a:pt x="631437" y="8501"/>
                </a:lnTo>
                <a:cubicBezTo>
                  <a:pt x="631437" y="31121"/>
                  <a:pt x="613099" y="49459"/>
                  <a:pt x="590479" y="49459"/>
                </a:cubicBezTo>
                <a:cubicBezTo>
                  <a:pt x="567859" y="49459"/>
                  <a:pt x="549521" y="31121"/>
                  <a:pt x="549521" y="8501"/>
                </a:cubicBezTo>
                <a:close/>
                <a:moveTo>
                  <a:pt x="411118" y="0"/>
                </a:moveTo>
                <a:lnTo>
                  <a:pt x="485992" y="0"/>
                </a:lnTo>
                <a:lnTo>
                  <a:pt x="489513" y="8501"/>
                </a:lnTo>
                <a:cubicBezTo>
                  <a:pt x="489513" y="31121"/>
                  <a:pt x="471175" y="49459"/>
                  <a:pt x="448555" y="49459"/>
                </a:cubicBezTo>
                <a:cubicBezTo>
                  <a:pt x="425935" y="49459"/>
                  <a:pt x="407597" y="31121"/>
                  <a:pt x="407597" y="8501"/>
                </a:cubicBezTo>
                <a:close/>
                <a:moveTo>
                  <a:pt x="269196" y="0"/>
                </a:moveTo>
                <a:lnTo>
                  <a:pt x="344070" y="0"/>
                </a:lnTo>
                <a:lnTo>
                  <a:pt x="347591" y="8501"/>
                </a:lnTo>
                <a:cubicBezTo>
                  <a:pt x="347591" y="31121"/>
                  <a:pt x="329253" y="49459"/>
                  <a:pt x="306633" y="49459"/>
                </a:cubicBezTo>
                <a:cubicBezTo>
                  <a:pt x="284013" y="49459"/>
                  <a:pt x="265675" y="31121"/>
                  <a:pt x="265675" y="8501"/>
                </a:cubicBezTo>
                <a:close/>
                <a:moveTo>
                  <a:pt x="127274" y="0"/>
                </a:moveTo>
                <a:lnTo>
                  <a:pt x="202148" y="0"/>
                </a:lnTo>
                <a:lnTo>
                  <a:pt x="205669" y="8501"/>
                </a:lnTo>
                <a:cubicBezTo>
                  <a:pt x="205669" y="31121"/>
                  <a:pt x="187331" y="49459"/>
                  <a:pt x="164711" y="49459"/>
                </a:cubicBezTo>
                <a:cubicBezTo>
                  <a:pt x="142091" y="49459"/>
                  <a:pt x="123753" y="31121"/>
                  <a:pt x="123753" y="8501"/>
                </a:cubicBezTo>
                <a:close/>
                <a:moveTo>
                  <a:pt x="0" y="0"/>
                </a:moveTo>
                <a:lnTo>
                  <a:pt x="60226" y="0"/>
                </a:lnTo>
                <a:lnTo>
                  <a:pt x="63747" y="8501"/>
                </a:lnTo>
                <a:cubicBezTo>
                  <a:pt x="63747" y="31121"/>
                  <a:pt x="45409" y="49459"/>
                  <a:pt x="22789" y="49459"/>
                </a:cubicBezTo>
                <a:lnTo>
                  <a:pt x="0" y="40019"/>
                </a:lnTo>
                <a:close/>
              </a:path>
            </a:pathLst>
          </a:custGeom>
          <a:gradFill flip="none" rotWithShape="1">
            <a:gsLst>
              <a:gs pos="6000">
                <a:srgbClr val="FE832C"/>
              </a:gs>
              <a:gs pos="61000">
                <a:srgbClr val="FFCEAB"/>
              </a:gs>
              <a:gs pos="0">
                <a:srgbClr val="EA5504"/>
              </a:gs>
              <a:gs pos="100000">
                <a:srgbClr val="FBE9D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grpSp>
        <p:nvGrpSpPr>
          <p:cNvPr id="14" name="组合 13"/>
          <p:cNvGrpSpPr/>
          <p:nvPr userDrawn="1"/>
        </p:nvGrpSpPr>
        <p:grpSpPr>
          <a:xfrm>
            <a:off x="741424" y="571834"/>
            <a:ext cx="2812005" cy="468667"/>
            <a:chOff x="660400" y="492126"/>
            <a:chExt cx="3257550" cy="542924"/>
          </a:xfrm>
        </p:grpSpPr>
        <p:sp>
          <p:nvSpPr>
            <p:cNvPr id="15" name="Freeform 5"/>
            <p:cNvSpPr>
              <a:spLocks noEditPoints="1"/>
            </p:cNvSpPr>
            <p:nvPr/>
          </p:nvSpPr>
          <p:spPr bwMode="auto">
            <a:xfrm>
              <a:off x="660400" y="492126"/>
              <a:ext cx="3257550" cy="285750"/>
            </a:xfrm>
            <a:custGeom>
              <a:avLst/>
              <a:gdLst>
                <a:gd name="T0" fmla="*/ 1282 w 1998"/>
                <a:gd name="T1" fmla="*/ 16 h 174"/>
                <a:gd name="T2" fmla="*/ 1247 w 1998"/>
                <a:gd name="T3" fmla="*/ 166 h 174"/>
                <a:gd name="T4" fmla="*/ 1376 w 1998"/>
                <a:gd name="T5" fmla="*/ 167 h 174"/>
                <a:gd name="T6" fmla="*/ 1409 w 1998"/>
                <a:gd name="T7" fmla="*/ 17 h 174"/>
                <a:gd name="T8" fmla="*/ 1184 w 1998"/>
                <a:gd name="T9" fmla="*/ 166 h 174"/>
                <a:gd name="T10" fmla="*/ 1214 w 1998"/>
                <a:gd name="T11" fmla="*/ 13 h 174"/>
                <a:gd name="T12" fmla="*/ 1122 w 1998"/>
                <a:gd name="T13" fmla="*/ 41 h 174"/>
                <a:gd name="T14" fmla="*/ 1007 w 1998"/>
                <a:gd name="T15" fmla="*/ 17 h 174"/>
                <a:gd name="T16" fmla="*/ 1042 w 1998"/>
                <a:gd name="T17" fmla="*/ 122 h 174"/>
                <a:gd name="T18" fmla="*/ 1994 w 1998"/>
                <a:gd name="T19" fmla="*/ 13 h 174"/>
                <a:gd name="T20" fmla="*/ 1863 w 1998"/>
                <a:gd name="T21" fmla="*/ 13 h 174"/>
                <a:gd name="T22" fmla="*/ 1840 w 1998"/>
                <a:gd name="T23" fmla="*/ 170 h 174"/>
                <a:gd name="T24" fmla="*/ 1971 w 1998"/>
                <a:gd name="T25" fmla="*/ 170 h 174"/>
                <a:gd name="T26" fmla="*/ 1994 w 1998"/>
                <a:gd name="T27" fmla="*/ 13 h 174"/>
                <a:gd name="T28" fmla="*/ 1488 w 1998"/>
                <a:gd name="T29" fmla="*/ 172 h 174"/>
                <a:gd name="T30" fmla="*/ 1513 w 1998"/>
                <a:gd name="T31" fmla="*/ 104 h 174"/>
                <a:gd name="T32" fmla="*/ 1471 w 1998"/>
                <a:gd name="T33" fmla="*/ 142 h 174"/>
                <a:gd name="T34" fmla="*/ 1562 w 1998"/>
                <a:gd name="T35" fmla="*/ 44 h 174"/>
                <a:gd name="T36" fmla="*/ 1596 w 1998"/>
                <a:gd name="T37" fmla="*/ 58 h 174"/>
                <a:gd name="T38" fmla="*/ 767 w 1998"/>
                <a:gd name="T39" fmla="*/ 112 h 174"/>
                <a:gd name="T40" fmla="*/ 894 w 1998"/>
                <a:gd name="T41" fmla="*/ 65 h 174"/>
                <a:gd name="T42" fmla="*/ 832 w 1998"/>
                <a:gd name="T43" fmla="*/ 51 h 174"/>
                <a:gd name="T44" fmla="*/ 731 w 1998"/>
                <a:gd name="T45" fmla="*/ 48 h 174"/>
                <a:gd name="T46" fmla="*/ 692 w 1998"/>
                <a:gd name="T47" fmla="*/ 85 h 174"/>
                <a:gd name="T48" fmla="*/ 767 w 1998"/>
                <a:gd name="T49" fmla="*/ 138 h 174"/>
                <a:gd name="T50" fmla="*/ 700 w 1998"/>
                <a:gd name="T51" fmla="*/ 170 h 174"/>
                <a:gd name="T52" fmla="*/ 859 w 1998"/>
                <a:gd name="T53" fmla="*/ 170 h 174"/>
                <a:gd name="T54" fmla="*/ 859 w 1998"/>
                <a:gd name="T55" fmla="*/ 146 h 174"/>
                <a:gd name="T56" fmla="*/ 894 w 1998"/>
                <a:gd name="T57" fmla="*/ 89 h 174"/>
                <a:gd name="T58" fmla="*/ 1740 w 1998"/>
                <a:gd name="T59" fmla="*/ 13 h 174"/>
                <a:gd name="T60" fmla="*/ 1663 w 1998"/>
                <a:gd name="T61" fmla="*/ 170 h 174"/>
                <a:gd name="T62" fmla="*/ 1816 w 1998"/>
                <a:gd name="T63" fmla="*/ 170 h 174"/>
                <a:gd name="T64" fmla="*/ 597 w 1998"/>
                <a:gd name="T65" fmla="*/ 98 h 174"/>
                <a:gd name="T66" fmla="*/ 654 w 1998"/>
                <a:gd name="T67" fmla="*/ 46 h 174"/>
                <a:gd name="T68" fmla="*/ 416 w 1998"/>
                <a:gd name="T69" fmla="*/ 28 h 174"/>
                <a:gd name="T70" fmla="*/ 239 w 1998"/>
                <a:gd name="T71" fmla="*/ 148 h 174"/>
                <a:gd name="T72" fmla="*/ 423 w 1998"/>
                <a:gd name="T73" fmla="*/ 6 h 174"/>
                <a:gd name="T74" fmla="*/ 872 w 1998"/>
                <a:gd name="T75" fmla="*/ 34 h 174"/>
                <a:gd name="T76" fmla="*/ 897 w 1998"/>
                <a:gd name="T77" fmla="*/ 32 h 174"/>
                <a:gd name="T78" fmla="*/ 782 w 1998"/>
                <a:gd name="T79" fmla="*/ 0 h 174"/>
                <a:gd name="T80" fmla="*/ 693 w 1998"/>
                <a:gd name="T81" fmla="*/ 45 h 174"/>
                <a:gd name="T82" fmla="*/ 179 w 1998"/>
                <a:gd name="T83" fmla="*/ 49 h 174"/>
                <a:gd name="T84" fmla="*/ 88 w 1998"/>
                <a:gd name="T85" fmla="*/ 49 h 174"/>
                <a:gd name="T86" fmla="*/ 118 w 1998"/>
                <a:gd name="T87" fmla="*/ 1 h 174"/>
                <a:gd name="T88" fmla="*/ 0 w 1998"/>
                <a:gd name="T89" fmla="*/ 46 h 174"/>
                <a:gd name="T90" fmla="*/ 91 w 1998"/>
                <a:gd name="T91" fmla="*/ 174 h 174"/>
                <a:gd name="T92" fmla="*/ 210 w 1998"/>
                <a:gd name="T93" fmla="*/ 118 h 174"/>
                <a:gd name="T94" fmla="*/ 379 w 1998"/>
                <a:gd name="T95" fmla="*/ 112 h 174"/>
                <a:gd name="T96" fmla="*/ 357 w 1998"/>
                <a:gd name="T97" fmla="*/ 75 h 174"/>
                <a:gd name="T98" fmla="*/ 284 w 1998"/>
                <a:gd name="T99" fmla="*/ 61 h 174"/>
                <a:gd name="T100" fmla="*/ 328 w 1998"/>
                <a:gd name="T101" fmla="*/ 93 h 174"/>
                <a:gd name="T102" fmla="*/ 401 w 1998"/>
                <a:gd name="T103" fmla="*/ 104 h 174"/>
                <a:gd name="T104" fmla="*/ 512 w 1998"/>
                <a:gd name="T105" fmla="*/ 46 h 174"/>
                <a:gd name="T106" fmla="*/ 669 w 1998"/>
                <a:gd name="T107" fmla="*/ 115 h 174"/>
                <a:gd name="T108" fmla="*/ 666 w 1998"/>
                <a:gd name="T109" fmla="*/ 14 h 174"/>
                <a:gd name="T110" fmla="*/ 479 w 1998"/>
                <a:gd name="T111" fmla="*/ 33 h 174"/>
                <a:gd name="T112" fmla="*/ 469 w 1998"/>
                <a:gd name="T113" fmla="*/ 135 h 174"/>
                <a:gd name="T114" fmla="*/ 583 w 1998"/>
                <a:gd name="T115" fmla="*/ 174 h 174"/>
                <a:gd name="T116" fmla="*/ 673 w 1998"/>
                <a:gd name="T117" fmla="*/ 119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98" h="174">
                  <a:moveTo>
                    <a:pt x="1405" y="13"/>
                  </a:moveTo>
                  <a:cubicBezTo>
                    <a:pt x="1382" y="13"/>
                    <a:pt x="1382" y="13"/>
                    <a:pt x="1382" y="13"/>
                  </a:cubicBezTo>
                  <a:cubicBezTo>
                    <a:pt x="1379" y="13"/>
                    <a:pt x="1378" y="15"/>
                    <a:pt x="1378" y="17"/>
                  </a:cubicBezTo>
                  <a:cubicBezTo>
                    <a:pt x="1378" y="125"/>
                    <a:pt x="1378" y="125"/>
                    <a:pt x="1378" y="125"/>
                  </a:cubicBezTo>
                  <a:cubicBezTo>
                    <a:pt x="1365" y="111"/>
                    <a:pt x="1284" y="18"/>
                    <a:pt x="1282" y="16"/>
                  </a:cubicBezTo>
                  <a:cubicBezTo>
                    <a:pt x="1279" y="13"/>
                    <a:pt x="1276" y="13"/>
                    <a:pt x="1275" y="13"/>
                  </a:cubicBezTo>
                  <a:cubicBezTo>
                    <a:pt x="1275" y="13"/>
                    <a:pt x="1275" y="13"/>
                    <a:pt x="1275" y="13"/>
                  </a:cubicBezTo>
                  <a:cubicBezTo>
                    <a:pt x="1251" y="13"/>
                    <a:pt x="1251" y="13"/>
                    <a:pt x="1251" y="13"/>
                  </a:cubicBezTo>
                  <a:cubicBezTo>
                    <a:pt x="1249" y="13"/>
                    <a:pt x="1247" y="15"/>
                    <a:pt x="1247" y="17"/>
                  </a:cubicBezTo>
                  <a:cubicBezTo>
                    <a:pt x="1247" y="166"/>
                    <a:pt x="1247" y="166"/>
                    <a:pt x="1247" y="166"/>
                  </a:cubicBezTo>
                  <a:cubicBezTo>
                    <a:pt x="1247" y="168"/>
                    <a:pt x="1249" y="170"/>
                    <a:pt x="1251" y="170"/>
                  </a:cubicBezTo>
                  <a:cubicBezTo>
                    <a:pt x="1275" y="170"/>
                    <a:pt x="1275" y="170"/>
                    <a:pt x="1275" y="170"/>
                  </a:cubicBezTo>
                  <a:cubicBezTo>
                    <a:pt x="1277" y="170"/>
                    <a:pt x="1279" y="168"/>
                    <a:pt x="1279" y="166"/>
                  </a:cubicBezTo>
                  <a:cubicBezTo>
                    <a:pt x="1279" y="57"/>
                    <a:pt x="1279" y="57"/>
                    <a:pt x="1279" y="57"/>
                  </a:cubicBezTo>
                  <a:cubicBezTo>
                    <a:pt x="1287" y="67"/>
                    <a:pt x="1373" y="165"/>
                    <a:pt x="1376" y="167"/>
                  </a:cubicBezTo>
                  <a:cubicBezTo>
                    <a:pt x="1378" y="169"/>
                    <a:pt x="1381" y="170"/>
                    <a:pt x="1383" y="170"/>
                  </a:cubicBezTo>
                  <a:cubicBezTo>
                    <a:pt x="1383" y="170"/>
                    <a:pt x="1383" y="170"/>
                    <a:pt x="1383" y="170"/>
                  </a:cubicBezTo>
                  <a:cubicBezTo>
                    <a:pt x="1405" y="170"/>
                    <a:pt x="1405" y="170"/>
                    <a:pt x="1405" y="170"/>
                  </a:cubicBezTo>
                  <a:cubicBezTo>
                    <a:pt x="1407" y="170"/>
                    <a:pt x="1409" y="168"/>
                    <a:pt x="1409" y="166"/>
                  </a:cubicBezTo>
                  <a:cubicBezTo>
                    <a:pt x="1409" y="17"/>
                    <a:pt x="1409" y="17"/>
                    <a:pt x="1409" y="17"/>
                  </a:cubicBezTo>
                  <a:cubicBezTo>
                    <a:pt x="1409" y="15"/>
                    <a:pt x="1407" y="13"/>
                    <a:pt x="1405" y="13"/>
                  </a:cubicBezTo>
                  <a:moveTo>
                    <a:pt x="1214" y="13"/>
                  </a:moveTo>
                  <a:cubicBezTo>
                    <a:pt x="1188" y="13"/>
                    <a:pt x="1188" y="13"/>
                    <a:pt x="1188" y="13"/>
                  </a:cubicBezTo>
                  <a:cubicBezTo>
                    <a:pt x="1186" y="13"/>
                    <a:pt x="1184" y="15"/>
                    <a:pt x="1184" y="17"/>
                  </a:cubicBezTo>
                  <a:cubicBezTo>
                    <a:pt x="1184" y="166"/>
                    <a:pt x="1184" y="166"/>
                    <a:pt x="1184" y="166"/>
                  </a:cubicBezTo>
                  <a:cubicBezTo>
                    <a:pt x="1184" y="168"/>
                    <a:pt x="1186" y="170"/>
                    <a:pt x="1188" y="170"/>
                  </a:cubicBezTo>
                  <a:cubicBezTo>
                    <a:pt x="1214" y="170"/>
                    <a:pt x="1214" y="170"/>
                    <a:pt x="1214" y="170"/>
                  </a:cubicBezTo>
                  <a:cubicBezTo>
                    <a:pt x="1216" y="170"/>
                    <a:pt x="1218" y="168"/>
                    <a:pt x="1218" y="166"/>
                  </a:cubicBezTo>
                  <a:cubicBezTo>
                    <a:pt x="1218" y="17"/>
                    <a:pt x="1218" y="17"/>
                    <a:pt x="1218" y="17"/>
                  </a:cubicBezTo>
                  <a:cubicBezTo>
                    <a:pt x="1218" y="15"/>
                    <a:pt x="1216" y="13"/>
                    <a:pt x="1214" y="13"/>
                  </a:cubicBezTo>
                  <a:moveTo>
                    <a:pt x="1125" y="91"/>
                  </a:moveTo>
                  <a:cubicBezTo>
                    <a:pt x="1125" y="93"/>
                    <a:pt x="1124" y="94"/>
                    <a:pt x="1122" y="94"/>
                  </a:cubicBezTo>
                  <a:cubicBezTo>
                    <a:pt x="1042" y="94"/>
                    <a:pt x="1042" y="94"/>
                    <a:pt x="1042" y="94"/>
                  </a:cubicBezTo>
                  <a:cubicBezTo>
                    <a:pt x="1042" y="41"/>
                    <a:pt x="1042" y="41"/>
                    <a:pt x="1042" y="41"/>
                  </a:cubicBezTo>
                  <a:cubicBezTo>
                    <a:pt x="1122" y="41"/>
                    <a:pt x="1122" y="41"/>
                    <a:pt x="1122" y="41"/>
                  </a:cubicBezTo>
                  <a:cubicBezTo>
                    <a:pt x="1124" y="41"/>
                    <a:pt x="1125" y="42"/>
                    <a:pt x="1125" y="44"/>
                  </a:cubicBezTo>
                  <a:lnTo>
                    <a:pt x="1125" y="91"/>
                  </a:lnTo>
                  <a:close/>
                  <a:moveTo>
                    <a:pt x="1108" y="13"/>
                  </a:moveTo>
                  <a:cubicBezTo>
                    <a:pt x="1011" y="13"/>
                    <a:pt x="1011" y="13"/>
                    <a:pt x="1011" y="13"/>
                  </a:cubicBezTo>
                  <a:cubicBezTo>
                    <a:pt x="1009" y="13"/>
                    <a:pt x="1007" y="15"/>
                    <a:pt x="1007" y="17"/>
                  </a:cubicBezTo>
                  <a:cubicBezTo>
                    <a:pt x="1007" y="166"/>
                    <a:pt x="1007" y="166"/>
                    <a:pt x="1007" y="166"/>
                  </a:cubicBezTo>
                  <a:cubicBezTo>
                    <a:pt x="1007" y="168"/>
                    <a:pt x="1009" y="170"/>
                    <a:pt x="1011" y="170"/>
                  </a:cubicBezTo>
                  <a:cubicBezTo>
                    <a:pt x="1038" y="170"/>
                    <a:pt x="1038" y="170"/>
                    <a:pt x="1038" y="170"/>
                  </a:cubicBezTo>
                  <a:cubicBezTo>
                    <a:pt x="1040" y="170"/>
                    <a:pt x="1042" y="168"/>
                    <a:pt x="1042" y="166"/>
                  </a:cubicBezTo>
                  <a:cubicBezTo>
                    <a:pt x="1042" y="122"/>
                    <a:pt x="1042" y="122"/>
                    <a:pt x="1042" y="122"/>
                  </a:cubicBezTo>
                  <a:cubicBezTo>
                    <a:pt x="1108" y="122"/>
                    <a:pt x="1108" y="122"/>
                    <a:pt x="1108" y="122"/>
                  </a:cubicBezTo>
                  <a:cubicBezTo>
                    <a:pt x="1137" y="122"/>
                    <a:pt x="1161" y="104"/>
                    <a:pt x="1161" y="78"/>
                  </a:cubicBezTo>
                  <a:cubicBezTo>
                    <a:pt x="1161" y="61"/>
                    <a:pt x="1161" y="61"/>
                    <a:pt x="1161" y="61"/>
                  </a:cubicBezTo>
                  <a:cubicBezTo>
                    <a:pt x="1161" y="34"/>
                    <a:pt x="1137" y="13"/>
                    <a:pt x="1108" y="13"/>
                  </a:cubicBezTo>
                  <a:moveTo>
                    <a:pt x="1994" y="13"/>
                  </a:moveTo>
                  <a:cubicBezTo>
                    <a:pt x="1970" y="13"/>
                    <a:pt x="1970" y="13"/>
                    <a:pt x="1970" y="13"/>
                  </a:cubicBezTo>
                  <a:cubicBezTo>
                    <a:pt x="1968" y="13"/>
                    <a:pt x="1967" y="15"/>
                    <a:pt x="1967" y="17"/>
                  </a:cubicBezTo>
                  <a:cubicBezTo>
                    <a:pt x="1967" y="125"/>
                    <a:pt x="1967" y="125"/>
                    <a:pt x="1967" y="125"/>
                  </a:cubicBezTo>
                  <a:cubicBezTo>
                    <a:pt x="1954" y="111"/>
                    <a:pt x="1872" y="18"/>
                    <a:pt x="1870" y="16"/>
                  </a:cubicBezTo>
                  <a:cubicBezTo>
                    <a:pt x="1868" y="13"/>
                    <a:pt x="1865" y="13"/>
                    <a:pt x="1863" y="13"/>
                  </a:cubicBezTo>
                  <a:cubicBezTo>
                    <a:pt x="1863" y="13"/>
                    <a:pt x="1863" y="13"/>
                    <a:pt x="1863" y="13"/>
                  </a:cubicBezTo>
                  <a:cubicBezTo>
                    <a:pt x="1840" y="13"/>
                    <a:pt x="1840" y="13"/>
                    <a:pt x="1840" y="13"/>
                  </a:cubicBezTo>
                  <a:cubicBezTo>
                    <a:pt x="1838" y="13"/>
                    <a:pt x="1836" y="15"/>
                    <a:pt x="1836" y="17"/>
                  </a:cubicBezTo>
                  <a:cubicBezTo>
                    <a:pt x="1836" y="166"/>
                    <a:pt x="1836" y="166"/>
                    <a:pt x="1836" y="166"/>
                  </a:cubicBezTo>
                  <a:cubicBezTo>
                    <a:pt x="1836" y="168"/>
                    <a:pt x="1838" y="170"/>
                    <a:pt x="1840" y="170"/>
                  </a:cubicBezTo>
                  <a:cubicBezTo>
                    <a:pt x="1864" y="170"/>
                    <a:pt x="1864" y="170"/>
                    <a:pt x="1864" y="170"/>
                  </a:cubicBezTo>
                  <a:cubicBezTo>
                    <a:pt x="1866" y="170"/>
                    <a:pt x="1867" y="168"/>
                    <a:pt x="1867" y="166"/>
                  </a:cubicBezTo>
                  <a:cubicBezTo>
                    <a:pt x="1867" y="57"/>
                    <a:pt x="1867" y="57"/>
                    <a:pt x="1867" y="57"/>
                  </a:cubicBezTo>
                  <a:cubicBezTo>
                    <a:pt x="1876" y="67"/>
                    <a:pt x="1962" y="165"/>
                    <a:pt x="1964" y="167"/>
                  </a:cubicBezTo>
                  <a:cubicBezTo>
                    <a:pt x="1967" y="169"/>
                    <a:pt x="1969" y="170"/>
                    <a:pt x="1971" y="170"/>
                  </a:cubicBezTo>
                  <a:cubicBezTo>
                    <a:pt x="1971" y="170"/>
                    <a:pt x="1971" y="170"/>
                    <a:pt x="1971" y="170"/>
                  </a:cubicBezTo>
                  <a:cubicBezTo>
                    <a:pt x="1994" y="170"/>
                    <a:pt x="1994" y="170"/>
                    <a:pt x="1994" y="170"/>
                  </a:cubicBezTo>
                  <a:cubicBezTo>
                    <a:pt x="1996" y="170"/>
                    <a:pt x="1998" y="168"/>
                    <a:pt x="1998" y="166"/>
                  </a:cubicBezTo>
                  <a:cubicBezTo>
                    <a:pt x="1998" y="17"/>
                    <a:pt x="1998" y="17"/>
                    <a:pt x="1998" y="17"/>
                  </a:cubicBezTo>
                  <a:cubicBezTo>
                    <a:pt x="1998" y="15"/>
                    <a:pt x="1996" y="13"/>
                    <a:pt x="1994" y="13"/>
                  </a:cubicBezTo>
                  <a:moveTo>
                    <a:pt x="1542" y="11"/>
                  </a:moveTo>
                  <a:cubicBezTo>
                    <a:pt x="1488" y="11"/>
                    <a:pt x="1488" y="11"/>
                    <a:pt x="1488" y="11"/>
                  </a:cubicBezTo>
                  <a:cubicBezTo>
                    <a:pt x="1458" y="11"/>
                    <a:pt x="1434" y="32"/>
                    <a:pt x="1434" y="58"/>
                  </a:cubicBezTo>
                  <a:cubicBezTo>
                    <a:pt x="1434" y="124"/>
                    <a:pt x="1434" y="124"/>
                    <a:pt x="1434" y="124"/>
                  </a:cubicBezTo>
                  <a:cubicBezTo>
                    <a:pt x="1434" y="150"/>
                    <a:pt x="1458" y="172"/>
                    <a:pt x="1488" y="172"/>
                  </a:cubicBezTo>
                  <a:cubicBezTo>
                    <a:pt x="1542" y="172"/>
                    <a:pt x="1542" y="172"/>
                    <a:pt x="1542" y="172"/>
                  </a:cubicBezTo>
                  <a:cubicBezTo>
                    <a:pt x="1572" y="172"/>
                    <a:pt x="1596" y="150"/>
                    <a:pt x="1596" y="124"/>
                  </a:cubicBezTo>
                  <a:cubicBezTo>
                    <a:pt x="1596" y="82"/>
                    <a:pt x="1596" y="82"/>
                    <a:pt x="1596" y="82"/>
                  </a:cubicBezTo>
                  <a:cubicBezTo>
                    <a:pt x="1513" y="82"/>
                    <a:pt x="1513" y="82"/>
                    <a:pt x="1513" y="82"/>
                  </a:cubicBezTo>
                  <a:cubicBezTo>
                    <a:pt x="1513" y="104"/>
                    <a:pt x="1513" y="104"/>
                    <a:pt x="1513" y="104"/>
                  </a:cubicBezTo>
                  <a:cubicBezTo>
                    <a:pt x="1513" y="106"/>
                    <a:pt x="1515" y="108"/>
                    <a:pt x="1517" y="108"/>
                  </a:cubicBezTo>
                  <a:cubicBezTo>
                    <a:pt x="1562" y="108"/>
                    <a:pt x="1562" y="108"/>
                    <a:pt x="1562" y="108"/>
                  </a:cubicBezTo>
                  <a:cubicBezTo>
                    <a:pt x="1562" y="138"/>
                    <a:pt x="1562" y="138"/>
                    <a:pt x="1562" y="138"/>
                  </a:cubicBezTo>
                  <a:cubicBezTo>
                    <a:pt x="1562" y="140"/>
                    <a:pt x="1560" y="142"/>
                    <a:pt x="1558" y="142"/>
                  </a:cubicBezTo>
                  <a:cubicBezTo>
                    <a:pt x="1471" y="142"/>
                    <a:pt x="1471" y="142"/>
                    <a:pt x="1471" y="142"/>
                  </a:cubicBezTo>
                  <a:cubicBezTo>
                    <a:pt x="1469" y="142"/>
                    <a:pt x="1468" y="140"/>
                    <a:pt x="1468" y="138"/>
                  </a:cubicBezTo>
                  <a:cubicBezTo>
                    <a:pt x="1468" y="44"/>
                    <a:pt x="1468" y="44"/>
                    <a:pt x="1468" y="44"/>
                  </a:cubicBezTo>
                  <a:cubicBezTo>
                    <a:pt x="1468" y="42"/>
                    <a:pt x="1469" y="41"/>
                    <a:pt x="1471" y="41"/>
                  </a:cubicBezTo>
                  <a:cubicBezTo>
                    <a:pt x="1558" y="41"/>
                    <a:pt x="1558" y="41"/>
                    <a:pt x="1558" y="41"/>
                  </a:cubicBezTo>
                  <a:cubicBezTo>
                    <a:pt x="1560" y="41"/>
                    <a:pt x="1562" y="42"/>
                    <a:pt x="1562" y="44"/>
                  </a:cubicBezTo>
                  <a:cubicBezTo>
                    <a:pt x="1562" y="62"/>
                    <a:pt x="1562" y="62"/>
                    <a:pt x="1562" y="62"/>
                  </a:cubicBezTo>
                  <a:cubicBezTo>
                    <a:pt x="1562" y="64"/>
                    <a:pt x="1564" y="66"/>
                    <a:pt x="1566" y="66"/>
                  </a:cubicBezTo>
                  <a:cubicBezTo>
                    <a:pt x="1592" y="66"/>
                    <a:pt x="1592" y="66"/>
                    <a:pt x="1592" y="66"/>
                  </a:cubicBezTo>
                  <a:cubicBezTo>
                    <a:pt x="1594" y="66"/>
                    <a:pt x="1596" y="64"/>
                    <a:pt x="1596" y="62"/>
                  </a:cubicBezTo>
                  <a:cubicBezTo>
                    <a:pt x="1596" y="58"/>
                    <a:pt x="1596" y="58"/>
                    <a:pt x="1596" y="58"/>
                  </a:cubicBezTo>
                  <a:cubicBezTo>
                    <a:pt x="1596" y="32"/>
                    <a:pt x="1572" y="11"/>
                    <a:pt x="1542" y="11"/>
                  </a:cubicBezTo>
                  <a:moveTo>
                    <a:pt x="832" y="96"/>
                  </a:moveTo>
                  <a:cubicBezTo>
                    <a:pt x="832" y="103"/>
                    <a:pt x="831" y="108"/>
                    <a:pt x="823" y="112"/>
                  </a:cubicBezTo>
                  <a:cubicBezTo>
                    <a:pt x="816" y="115"/>
                    <a:pt x="805" y="121"/>
                    <a:pt x="795" y="125"/>
                  </a:cubicBezTo>
                  <a:cubicBezTo>
                    <a:pt x="785" y="121"/>
                    <a:pt x="774" y="115"/>
                    <a:pt x="767" y="112"/>
                  </a:cubicBezTo>
                  <a:cubicBezTo>
                    <a:pt x="758" y="108"/>
                    <a:pt x="757" y="103"/>
                    <a:pt x="757" y="96"/>
                  </a:cubicBezTo>
                  <a:cubicBezTo>
                    <a:pt x="757" y="89"/>
                    <a:pt x="757" y="89"/>
                    <a:pt x="757" y="89"/>
                  </a:cubicBezTo>
                  <a:cubicBezTo>
                    <a:pt x="832" y="89"/>
                    <a:pt x="832" y="89"/>
                    <a:pt x="832" y="89"/>
                  </a:cubicBezTo>
                  <a:lnTo>
                    <a:pt x="832" y="96"/>
                  </a:lnTo>
                  <a:close/>
                  <a:moveTo>
                    <a:pt x="894" y="65"/>
                  </a:moveTo>
                  <a:cubicBezTo>
                    <a:pt x="862" y="65"/>
                    <a:pt x="862" y="65"/>
                    <a:pt x="862" y="65"/>
                  </a:cubicBezTo>
                  <a:cubicBezTo>
                    <a:pt x="862" y="51"/>
                    <a:pt x="862" y="51"/>
                    <a:pt x="862" y="51"/>
                  </a:cubicBezTo>
                  <a:cubicBezTo>
                    <a:pt x="862" y="49"/>
                    <a:pt x="860" y="48"/>
                    <a:pt x="858" y="48"/>
                  </a:cubicBezTo>
                  <a:cubicBezTo>
                    <a:pt x="836" y="48"/>
                    <a:pt x="836" y="48"/>
                    <a:pt x="836" y="48"/>
                  </a:cubicBezTo>
                  <a:cubicBezTo>
                    <a:pt x="834" y="48"/>
                    <a:pt x="832" y="49"/>
                    <a:pt x="832" y="51"/>
                  </a:cubicBezTo>
                  <a:cubicBezTo>
                    <a:pt x="832" y="65"/>
                    <a:pt x="832" y="65"/>
                    <a:pt x="832" y="65"/>
                  </a:cubicBezTo>
                  <a:cubicBezTo>
                    <a:pt x="757" y="65"/>
                    <a:pt x="757" y="65"/>
                    <a:pt x="757" y="65"/>
                  </a:cubicBezTo>
                  <a:cubicBezTo>
                    <a:pt x="757" y="51"/>
                    <a:pt x="757" y="51"/>
                    <a:pt x="757" y="51"/>
                  </a:cubicBezTo>
                  <a:cubicBezTo>
                    <a:pt x="757" y="49"/>
                    <a:pt x="755" y="48"/>
                    <a:pt x="753" y="48"/>
                  </a:cubicBezTo>
                  <a:cubicBezTo>
                    <a:pt x="731" y="48"/>
                    <a:pt x="731" y="48"/>
                    <a:pt x="731" y="48"/>
                  </a:cubicBezTo>
                  <a:cubicBezTo>
                    <a:pt x="729" y="48"/>
                    <a:pt x="728" y="49"/>
                    <a:pt x="728" y="51"/>
                  </a:cubicBezTo>
                  <a:cubicBezTo>
                    <a:pt x="728" y="65"/>
                    <a:pt x="728" y="65"/>
                    <a:pt x="728" y="65"/>
                  </a:cubicBezTo>
                  <a:cubicBezTo>
                    <a:pt x="695" y="65"/>
                    <a:pt x="695" y="65"/>
                    <a:pt x="695" y="65"/>
                  </a:cubicBezTo>
                  <a:cubicBezTo>
                    <a:pt x="693" y="65"/>
                    <a:pt x="692" y="67"/>
                    <a:pt x="692" y="69"/>
                  </a:cubicBezTo>
                  <a:cubicBezTo>
                    <a:pt x="692" y="85"/>
                    <a:pt x="692" y="85"/>
                    <a:pt x="692" y="85"/>
                  </a:cubicBezTo>
                  <a:cubicBezTo>
                    <a:pt x="692" y="87"/>
                    <a:pt x="693" y="89"/>
                    <a:pt x="695" y="89"/>
                  </a:cubicBezTo>
                  <a:cubicBezTo>
                    <a:pt x="727" y="89"/>
                    <a:pt x="727" y="89"/>
                    <a:pt x="727" y="89"/>
                  </a:cubicBezTo>
                  <a:cubicBezTo>
                    <a:pt x="727" y="99"/>
                    <a:pt x="727" y="99"/>
                    <a:pt x="727" y="99"/>
                  </a:cubicBezTo>
                  <a:cubicBezTo>
                    <a:pt x="727" y="111"/>
                    <a:pt x="733" y="122"/>
                    <a:pt x="747" y="129"/>
                  </a:cubicBezTo>
                  <a:cubicBezTo>
                    <a:pt x="753" y="132"/>
                    <a:pt x="760" y="135"/>
                    <a:pt x="767" y="138"/>
                  </a:cubicBezTo>
                  <a:cubicBezTo>
                    <a:pt x="754" y="143"/>
                    <a:pt x="743" y="146"/>
                    <a:pt x="731" y="146"/>
                  </a:cubicBezTo>
                  <a:cubicBezTo>
                    <a:pt x="700" y="146"/>
                    <a:pt x="700" y="146"/>
                    <a:pt x="700" y="146"/>
                  </a:cubicBezTo>
                  <a:cubicBezTo>
                    <a:pt x="698" y="146"/>
                    <a:pt x="696" y="148"/>
                    <a:pt x="696" y="150"/>
                  </a:cubicBezTo>
                  <a:cubicBezTo>
                    <a:pt x="696" y="166"/>
                    <a:pt x="696" y="166"/>
                    <a:pt x="696" y="166"/>
                  </a:cubicBezTo>
                  <a:cubicBezTo>
                    <a:pt x="696" y="168"/>
                    <a:pt x="698" y="170"/>
                    <a:pt x="700" y="170"/>
                  </a:cubicBezTo>
                  <a:cubicBezTo>
                    <a:pt x="730" y="170"/>
                    <a:pt x="730" y="170"/>
                    <a:pt x="730" y="170"/>
                  </a:cubicBezTo>
                  <a:cubicBezTo>
                    <a:pt x="742" y="170"/>
                    <a:pt x="757" y="167"/>
                    <a:pt x="769" y="162"/>
                  </a:cubicBezTo>
                  <a:cubicBezTo>
                    <a:pt x="774" y="161"/>
                    <a:pt x="784" y="156"/>
                    <a:pt x="795" y="151"/>
                  </a:cubicBezTo>
                  <a:cubicBezTo>
                    <a:pt x="806" y="156"/>
                    <a:pt x="815" y="161"/>
                    <a:pt x="820" y="162"/>
                  </a:cubicBezTo>
                  <a:cubicBezTo>
                    <a:pt x="833" y="167"/>
                    <a:pt x="847" y="170"/>
                    <a:pt x="859" y="170"/>
                  </a:cubicBezTo>
                  <a:cubicBezTo>
                    <a:pt x="889" y="170"/>
                    <a:pt x="889" y="170"/>
                    <a:pt x="889" y="170"/>
                  </a:cubicBezTo>
                  <a:cubicBezTo>
                    <a:pt x="891" y="170"/>
                    <a:pt x="893" y="168"/>
                    <a:pt x="893" y="166"/>
                  </a:cubicBezTo>
                  <a:cubicBezTo>
                    <a:pt x="893" y="150"/>
                    <a:pt x="893" y="150"/>
                    <a:pt x="893" y="150"/>
                  </a:cubicBezTo>
                  <a:cubicBezTo>
                    <a:pt x="893" y="148"/>
                    <a:pt x="891" y="146"/>
                    <a:pt x="889" y="146"/>
                  </a:cubicBezTo>
                  <a:cubicBezTo>
                    <a:pt x="859" y="146"/>
                    <a:pt x="859" y="146"/>
                    <a:pt x="859" y="146"/>
                  </a:cubicBezTo>
                  <a:cubicBezTo>
                    <a:pt x="847" y="146"/>
                    <a:pt x="835" y="143"/>
                    <a:pt x="823" y="138"/>
                  </a:cubicBezTo>
                  <a:cubicBezTo>
                    <a:pt x="830" y="135"/>
                    <a:pt x="837" y="132"/>
                    <a:pt x="842" y="129"/>
                  </a:cubicBezTo>
                  <a:cubicBezTo>
                    <a:pt x="857" y="122"/>
                    <a:pt x="862" y="111"/>
                    <a:pt x="862" y="99"/>
                  </a:cubicBezTo>
                  <a:cubicBezTo>
                    <a:pt x="862" y="89"/>
                    <a:pt x="862" y="89"/>
                    <a:pt x="862" y="89"/>
                  </a:cubicBezTo>
                  <a:cubicBezTo>
                    <a:pt x="894" y="89"/>
                    <a:pt x="894" y="89"/>
                    <a:pt x="894" y="89"/>
                  </a:cubicBezTo>
                  <a:cubicBezTo>
                    <a:pt x="896" y="89"/>
                    <a:pt x="898" y="87"/>
                    <a:pt x="898" y="85"/>
                  </a:cubicBezTo>
                  <a:cubicBezTo>
                    <a:pt x="898" y="69"/>
                    <a:pt x="898" y="69"/>
                    <a:pt x="898" y="69"/>
                  </a:cubicBezTo>
                  <a:cubicBezTo>
                    <a:pt x="898" y="67"/>
                    <a:pt x="896" y="65"/>
                    <a:pt x="894" y="65"/>
                  </a:cubicBezTo>
                  <a:moveTo>
                    <a:pt x="1747" y="17"/>
                  </a:moveTo>
                  <a:cubicBezTo>
                    <a:pt x="1745" y="14"/>
                    <a:pt x="1743" y="13"/>
                    <a:pt x="1740" y="13"/>
                  </a:cubicBezTo>
                  <a:cubicBezTo>
                    <a:pt x="1716" y="13"/>
                    <a:pt x="1716" y="13"/>
                    <a:pt x="1716" y="13"/>
                  </a:cubicBezTo>
                  <a:cubicBezTo>
                    <a:pt x="1713" y="13"/>
                    <a:pt x="1711" y="14"/>
                    <a:pt x="1710" y="17"/>
                  </a:cubicBezTo>
                  <a:cubicBezTo>
                    <a:pt x="1636" y="162"/>
                    <a:pt x="1636" y="162"/>
                    <a:pt x="1636" y="162"/>
                  </a:cubicBezTo>
                  <a:cubicBezTo>
                    <a:pt x="1634" y="167"/>
                    <a:pt x="1636" y="170"/>
                    <a:pt x="1640" y="170"/>
                  </a:cubicBezTo>
                  <a:cubicBezTo>
                    <a:pt x="1663" y="170"/>
                    <a:pt x="1663" y="170"/>
                    <a:pt x="1663" y="170"/>
                  </a:cubicBezTo>
                  <a:cubicBezTo>
                    <a:pt x="1667" y="170"/>
                    <a:pt x="1668" y="169"/>
                    <a:pt x="1670" y="165"/>
                  </a:cubicBezTo>
                  <a:cubicBezTo>
                    <a:pt x="1728" y="49"/>
                    <a:pt x="1728" y="49"/>
                    <a:pt x="1728" y="49"/>
                  </a:cubicBezTo>
                  <a:cubicBezTo>
                    <a:pt x="1786" y="165"/>
                    <a:pt x="1786" y="165"/>
                    <a:pt x="1786" y="165"/>
                  </a:cubicBezTo>
                  <a:cubicBezTo>
                    <a:pt x="1788" y="169"/>
                    <a:pt x="1789" y="170"/>
                    <a:pt x="1793" y="170"/>
                  </a:cubicBezTo>
                  <a:cubicBezTo>
                    <a:pt x="1816" y="170"/>
                    <a:pt x="1816" y="170"/>
                    <a:pt x="1816" y="170"/>
                  </a:cubicBezTo>
                  <a:cubicBezTo>
                    <a:pt x="1820" y="170"/>
                    <a:pt x="1823" y="167"/>
                    <a:pt x="1820" y="162"/>
                  </a:cubicBezTo>
                  <a:lnTo>
                    <a:pt x="1747" y="17"/>
                  </a:lnTo>
                  <a:close/>
                  <a:moveTo>
                    <a:pt x="629" y="46"/>
                  </a:moveTo>
                  <a:cubicBezTo>
                    <a:pt x="626" y="46"/>
                    <a:pt x="623" y="48"/>
                    <a:pt x="622" y="49"/>
                  </a:cubicBezTo>
                  <a:cubicBezTo>
                    <a:pt x="597" y="98"/>
                    <a:pt x="597" y="98"/>
                    <a:pt x="597" y="98"/>
                  </a:cubicBezTo>
                  <a:cubicBezTo>
                    <a:pt x="596" y="100"/>
                    <a:pt x="597" y="102"/>
                    <a:pt x="599" y="102"/>
                  </a:cubicBezTo>
                  <a:cubicBezTo>
                    <a:pt x="625" y="102"/>
                    <a:pt x="625" y="102"/>
                    <a:pt x="625" y="102"/>
                  </a:cubicBezTo>
                  <a:cubicBezTo>
                    <a:pt x="628" y="102"/>
                    <a:pt x="630" y="100"/>
                    <a:pt x="631" y="98"/>
                  </a:cubicBezTo>
                  <a:cubicBezTo>
                    <a:pt x="656" y="49"/>
                    <a:pt x="656" y="49"/>
                    <a:pt x="656" y="49"/>
                  </a:cubicBezTo>
                  <a:cubicBezTo>
                    <a:pt x="657" y="48"/>
                    <a:pt x="656" y="46"/>
                    <a:pt x="654" y="46"/>
                  </a:cubicBezTo>
                  <a:lnTo>
                    <a:pt x="629" y="46"/>
                  </a:lnTo>
                  <a:close/>
                  <a:moveTo>
                    <a:pt x="416" y="146"/>
                  </a:moveTo>
                  <a:cubicBezTo>
                    <a:pt x="269" y="146"/>
                    <a:pt x="269" y="146"/>
                    <a:pt x="269" y="146"/>
                  </a:cubicBezTo>
                  <a:cubicBezTo>
                    <a:pt x="269" y="28"/>
                    <a:pt x="269" y="28"/>
                    <a:pt x="269" y="28"/>
                  </a:cubicBezTo>
                  <a:cubicBezTo>
                    <a:pt x="416" y="28"/>
                    <a:pt x="416" y="28"/>
                    <a:pt x="416" y="28"/>
                  </a:cubicBezTo>
                  <a:lnTo>
                    <a:pt x="416" y="146"/>
                  </a:lnTo>
                  <a:close/>
                  <a:moveTo>
                    <a:pt x="423" y="6"/>
                  </a:moveTo>
                  <a:cubicBezTo>
                    <a:pt x="261" y="6"/>
                    <a:pt x="261" y="6"/>
                    <a:pt x="261" y="6"/>
                  </a:cubicBezTo>
                  <a:cubicBezTo>
                    <a:pt x="249" y="6"/>
                    <a:pt x="239" y="16"/>
                    <a:pt x="239" y="28"/>
                  </a:cubicBezTo>
                  <a:cubicBezTo>
                    <a:pt x="239" y="148"/>
                    <a:pt x="239" y="148"/>
                    <a:pt x="239" y="148"/>
                  </a:cubicBezTo>
                  <a:cubicBezTo>
                    <a:pt x="239" y="160"/>
                    <a:pt x="249" y="169"/>
                    <a:pt x="261" y="169"/>
                  </a:cubicBezTo>
                  <a:cubicBezTo>
                    <a:pt x="423" y="169"/>
                    <a:pt x="423" y="169"/>
                    <a:pt x="423" y="169"/>
                  </a:cubicBezTo>
                  <a:cubicBezTo>
                    <a:pt x="435" y="169"/>
                    <a:pt x="445" y="160"/>
                    <a:pt x="445" y="148"/>
                  </a:cubicBezTo>
                  <a:cubicBezTo>
                    <a:pt x="445" y="28"/>
                    <a:pt x="445" y="28"/>
                    <a:pt x="445" y="28"/>
                  </a:cubicBezTo>
                  <a:cubicBezTo>
                    <a:pt x="445" y="16"/>
                    <a:pt x="435" y="6"/>
                    <a:pt x="423" y="6"/>
                  </a:cubicBezTo>
                  <a:moveTo>
                    <a:pt x="697" y="49"/>
                  </a:moveTo>
                  <a:cubicBezTo>
                    <a:pt x="714" y="49"/>
                    <a:pt x="714" y="49"/>
                    <a:pt x="714" y="49"/>
                  </a:cubicBezTo>
                  <a:cubicBezTo>
                    <a:pt x="716" y="49"/>
                    <a:pt x="718" y="47"/>
                    <a:pt x="718" y="45"/>
                  </a:cubicBezTo>
                  <a:cubicBezTo>
                    <a:pt x="718" y="34"/>
                    <a:pt x="718" y="34"/>
                    <a:pt x="718" y="34"/>
                  </a:cubicBezTo>
                  <a:cubicBezTo>
                    <a:pt x="872" y="34"/>
                    <a:pt x="872" y="34"/>
                    <a:pt x="872" y="34"/>
                  </a:cubicBezTo>
                  <a:cubicBezTo>
                    <a:pt x="872" y="45"/>
                    <a:pt x="872" y="45"/>
                    <a:pt x="872" y="45"/>
                  </a:cubicBezTo>
                  <a:cubicBezTo>
                    <a:pt x="872" y="47"/>
                    <a:pt x="873" y="49"/>
                    <a:pt x="875" y="49"/>
                  </a:cubicBezTo>
                  <a:cubicBezTo>
                    <a:pt x="893" y="49"/>
                    <a:pt x="893" y="49"/>
                    <a:pt x="893" y="49"/>
                  </a:cubicBezTo>
                  <a:cubicBezTo>
                    <a:pt x="895" y="49"/>
                    <a:pt x="897" y="47"/>
                    <a:pt x="897" y="45"/>
                  </a:cubicBezTo>
                  <a:cubicBezTo>
                    <a:pt x="897" y="32"/>
                    <a:pt x="897" y="32"/>
                    <a:pt x="897" y="32"/>
                  </a:cubicBezTo>
                  <a:cubicBezTo>
                    <a:pt x="897" y="22"/>
                    <a:pt x="888" y="13"/>
                    <a:pt x="877" y="13"/>
                  </a:cubicBezTo>
                  <a:cubicBezTo>
                    <a:pt x="811" y="13"/>
                    <a:pt x="811" y="13"/>
                    <a:pt x="811" y="13"/>
                  </a:cubicBezTo>
                  <a:cubicBezTo>
                    <a:pt x="811" y="4"/>
                    <a:pt x="811" y="4"/>
                    <a:pt x="811" y="4"/>
                  </a:cubicBezTo>
                  <a:cubicBezTo>
                    <a:pt x="811" y="2"/>
                    <a:pt x="809" y="0"/>
                    <a:pt x="807" y="0"/>
                  </a:cubicBezTo>
                  <a:cubicBezTo>
                    <a:pt x="782" y="0"/>
                    <a:pt x="782" y="0"/>
                    <a:pt x="782" y="0"/>
                  </a:cubicBezTo>
                  <a:cubicBezTo>
                    <a:pt x="780" y="0"/>
                    <a:pt x="778" y="2"/>
                    <a:pt x="778" y="4"/>
                  </a:cubicBezTo>
                  <a:cubicBezTo>
                    <a:pt x="778" y="13"/>
                    <a:pt x="778" y="13"/>
                    <a:pt x="778" y="13"/>
                  </a:cubicBezTo>
                  <a:cubicBezTo>
                    <a:pt x="712" y="13"/>
                    <a:pt x="712" y="13"/>
                    <a:pt x="712" y="13"/>
                  </a:cubicBezTo>
                  <a:cubicBezTo>
                    <a:pt x="702" y="13"/>
                    <a:pt x="693" y="22"/>
                    <a:pt x="693" y="32"/>
                  </a:cubicBezTo>
                  <a:cubicBezTo>
                    <a:pt x="693" y="45"/>
                    <a:pt x="693" y="45"/>
                    <a:pt x="693" y="45"/>
                  </a:cubicBezTo>
                  <a:cubicBezTo>
                    <a:pt x="693" y="47"/>
                    <a:pt x="695" y="49"/>
                    <a:pt x="697" y="49"/>
                  </a:cubicBezTo>
                  <a:moveTo>
                    <a:pt x="179" y="115"/>
                  </a:moveTo>
                  <a:cubicBezTo>
                    <a:pt x="122" y="115"/>
                    <a:pt x="122" y="115"/>
                    <a:pt x="122" y="115"/>
                  </a:cubicBezTo>
                  <a:cubicBezTo>
                    <a:pt x="122" y="49"/>
                    <a:pt x="122" y="49"/>
                    <a:pt x="122" y="49"/>
                  </a:cubicBezTo>
                  <a:cubicBezTo>
                    <a:pt x="179" y="49"/>
                    <a:pt x="179" y="49"/>
                    <a:pt x="179" y="49"/>
                  </a:cubicBezTo>
                  <a:lnTo>
                    <a:pt x="179" y="115"/>
                  </a:lnTo>
                  <a:close/>
                  <a:moveTo>
                    <a:pt x="88" y="115"/>
                  </a:moveTo>
                  <a:cubicBezTo>
                    <a:pt x="31" y="115"/>
                    <a:pt x="31" y="115"/>
                    <a:pt x="31" y="115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88" y="49"/>
                    <a:pt x="88" y="49"/>
                    <a:pt x="88" y="49"/>
                  </a:cubicBezTo>
                  <a:lnTo>
                    <a:pt x="88" y="115"/>
                  </a:lnTo>
                  <a:close/>
                  <a:moveTo>
                    <a:pt x="188" y="2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22" y="5"/>
                    <a:pt x="122" y="5"/>
                    <a:pt x="122" y="5"/>
                  </a:cubicBezTo>
                  <a:cubicBezTo>
                    <a:pt x="122" y="3"/>
                    <a:pt x="120" y="1"/>
                    <a:pt x="118" y="1"/>
                  </a:cubicBezTo>
                  <a:cubicBezTo>
                    <a:pt x="91" y="1"/>
                    <a:pt x="91" y="1"/>
                    <a:pt x="91" y="1"/>
                  </a:cubicBezTo>
                  <a:cubicBezTo>
                    <a:pt x="89" y="1"/>
                    <a:pt x="88" y="3"/>
                    <a:pt x="88" y="5"/>
                  </a:cubicBezTo>
                  <a:cubicBezTo>
                    <a:pt x="88" y="24"/>
                    <a:pt x="88" y="24"/>
                    <a:pt x="88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10" y="24"/>
                    <a:pt x="0" y="34"/>
                    <a:pt x="0" y="46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130"/>
                    <a:pt x="10" y="140"/>
                    <a:pt x="22" y="140"/>
                  </a:cubicBezTo>
                  <a:cubicBezTo>
                    <a:pt x="88" y="140"/>
                    <a:pt x="88" y="140"/>
                    <a:pt x="88" y="140"/>
                  </a:cubicBezTo>
                  <a:cubicBezTo>
                    <a:pt x="88" y="171"/>
                    <a:pt x="88" y="171"/>
                    <a:pt x="88" y="171"/>
                  </a:cubicBezTo>
                  <a:cubicBezTo>
                    <a:pt x="88" y="173"/>
                    <a:pt x="89" y="174"/>
                    <a:pt x="91" y="174"/>
                  </a:cubicBezTo>
                  <a:cubicBezTo>
                    <a:pt x="118" y="174"/>
                    <a:pt x="118" y="174"/>
                    <a:pt x="118" y="174"/>
                  </a:cubicBezTo>
                  <a:cubicBezTo>
                    <a:pt x="120" y="174"/>
                    <a:pt x="122" y="173"/>
                    <a:pt x="122" y="171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88" y="140"/>
                    <a:pt x="188" y="140"/>
                    <a:pt x="188" y="140"/>
                  </a:cubicBezTo>
                  <a:cubicBezTo>
                    <a:pt x="200" y="140"/>
                    <a:pt x="210" y="130"/>
                    <a:pt x="210" y="118"/>
                  </a:cubicBezTo>
                  <a:cubicBezTo>
                    <a:pt x="210" y="46"/>
                    <a:pt x="210" y="46"/>
                    <a:pt x="210" y="46"/>
                  </a:cubicBezTo>
                  <a:cubicBezTo>
                    <a:pt x="210" y="34"/>
                    <a:pt x="200" y="24"/>
                    <a:pt x="188" y="24"/>
                  </a:cubicBezTo>
                  <a:moveTo>
                    <a:pt x="401" y="104"/>
                  </a:moveTo>
                  <a:cubicBezTo>
                    <a:pt x="379" y="104"/>
                    <a:pt x="379" y="104"/>
                    <a:pt x="379" y="104"/>
                  </a:cubicBezTo>
                  <a:cubicBezTo>
                    <a:pt x="379" y="112"/>
                    <a:pt x="379" y="112"/>
                    <a:pt x="379" y="112"/>
                  </a:cubicBezTo>
                  <a:cubicBezTo>
                    <a:pt x="357" y="112"/>
                    <a:pt x="357" y="112"/>
                    <a:pt x="357" y="112"/>
                  </a:cubicBezTo>
                  <a:cubicBezTo>
                    <a:pt x="357" y="93"/>
                    <a:pt x="357" y="93"/>
                    <a:pt x="357" y="93"/>
                  </a:cubicBezTo>
                  <a:cubicBezTo>
                    <a:pt x="395" y="93"/>
                    <a:pt x="395" y="93"/>
                    <a:pt x="395" y="93"/>
                  </a:cubicBezTo>
                  <a:cubicBezTo>
                    <a:pt x="395" y="75"/>
                    <a:pt x="395" y="75"/>
                    <a:pt x="395" y="75"/>
                  </a:cubicBezTo>
                  <a:cubicBezTo>
                    <a:pt x="357" y="75"/>
                    <a:pt x="357" y="75"/>
                    <a:pt x="357" y="75"/>
                  </a:cubicBezTo>
                  <a:cubicBezTo>
                    <a:pt x="357" y="61"/>
                    <a:pt x="357" y="61"/>
                    <a:pt x="357" y="61"/>
                  </a:cubicBezTo>
                  <a:cubicBezTo>
                    <a:pt x="401" y="61"/>
                    <a:pt x="401" y="61"/>
                    <a:pt x="401" y="61"/>
                  </a:cubicBezTo>
                  <a:cubicBezTo>
                    <a:pt x="401" y="41"/>
                    <a:pt x="401" y="41"/>
                    <a:pt x="401" y="41"/>
                  </a:cubicBezTo>
                  <a:cubicBezTo>
                    <a:pt x="284" y="41"/>
                    <a:pt x="284" y="41"/>
                    <a:pt x="284" y="41"/>
                  </a:cubicBezTo>
                  <a:cubicBezTo>
                    <a:pt x="284" y="61"/>
                    <a:pt x="284" y="61"/>
                    <a:pt x="284" y="61"/>
                  </a:cubicBezTo>
                  <a:cubicBezTo>
                    <a:pt x="328" y="61"/>
                    <a:pt x="328" y="61"/>
                    <a:pt x="328" y="61"/>
                  </a:cubicBezTo>
                  <a:cubicBezTo>
                    <a:pt x="328" y="75"/>
                    <a:pt x="328" y="75"/>
                    <a:pt x="328" y="75"/>
                  </a:cubicBezTo>
                  <a:cubicBezTo>
                    <a:pt x="290" y="75"/>
                    <a:pt x="290" y="75"/>
                    <a:pt x="290" y="75"/>
                  </a:cubicBezTo>
                  <a:cubicBezTo>
                    <a:pt x="290" y="93"/>
                    <a:pt x="290" y="93"/>
                    <a:pt x="290" y="93"/>
                  </a:cubicBezTo>
                  <a:cubicBezTo>
                    <a:pt x="328" y="93"/>
                    <a:pt x="328" y="93"/>
                    <a:pt x="328" y="93"/>
                  </a:cubicBezTo>
                  <a:cubicBezTo>
                    <a:pt x="328" y="112"/>
                    <a:pt x="328" y="112"/>
                    <a:pt x="328" y="112"/>
                  </a:cubicBezTo>
                  <a:cubicBezTo>
                    <a:pt x="284" y="112"/>
                    <a:pt x="284" y="112"/>
                    <a:pt x="284" y="112"/>
                  </a:cubicBezTo>
                  <a:cubicBezTo>
                    <a:pt x="284" y="132"/>
                    <a:pt x="284" y="132"/>
                    <a:pt x="284" y="132"/>
                  </a:cubicBezTo>
                  <a:cubicBezTo>
                    <a:pt x="401" y="132"/>
                    <a:pt x="401" y="132"/>
                    <a:pt x="401" y="132"/>
                  </a:cubicBezTo>
                  <a:lnTo>
                    <a:pt x="401" y="104"/>
                  </a:lnTo>
                  <a:close/>
                  <a:moveTo>
                    <a:pt x="516" y="102"/>
                  </a:moveTo>
                  <a:cubicBezTo>
                    <a:pt x="542" y="102"/>
                    <a:pt x="542" y="102"/>
                    <a:pt x="542" y="102"/>
                  </a:cubicBezTo>
                  <a:cubicBezTo>
                    <a:pt x="544" y="102"/>
                    <a:pt x="545" y="100"/>
                    <a:pt x="544" y="98"/>
                  </a:cubicBezTo>
                  <a:cubicBezTo>
                    <a:pt x="519" y="49"/>
                    <a:pt x="519" y="49"/>
                    <a:pt x="519" y="49"/>
                  </a:cubicBezTo>
                  <a:cubicBezTo>
                    <a:pt x="518" y="48"/>
                    <a:pt x="515" y="46"/>
                    <a:pt x="512" y="46"/>
                  </a:cubicBezTo>
                  <a:cubicBezTo>
                    <a:pt x="487" y="46"/>
                    <a:pt x="487" y="46"/>
                    <a:pt x="487" y="46"/>
                  </a:cubicBezTo>
                  <a:cubicBezTo>
                    <a:pt x="485" y="46"/>
                    <a:pt x="484" y="48"/>
                    <a:pt x="485" y="49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511" y="100"/>
                    <a:pt x="513" y="102"/>
                    <a:pt x="516" y="102"/>
                  </a:cubicBezTo>
                  <a:moveTo>
                    <a:pt x="669" y="115"/>
                  </a:moveTo>
                  <a:cubicBezTo>
                    <a:pt x="587" y="115"/>
                    <a:pt x="587" y="115"/>
                    <a:pt x="587" y="115"/>
                  </a:cubicBezTo>
                  <a:cubicBezTo>
                    <a:pt x="587" y="33"/>
                    <a:pt x="587" y="33"/>
                    <a:pt x="587" y="33"/>
                  </a:cubicBezTo>
                  <a:cubicBezTo>
                    <a:pt x="662" y="33"/>
                    <a:pt x="662" y="33"/>
                    <a:pt x="662" y="33"/>
                  </a:cubicBezTo>
                  <a:cubicBezTo>
                    <a:pt x="664" y="33"/>
                    <a:pt x="666" y="31"/>
                    <a:pt x="666" y="29"/>
                  </a:cubicBezTo>
                  <a:cubicBezTo>
                    <a:pt x="666" y="14"/>
                    <a:pt x="666" y="14"/>
                    <a:pt x="666" y="14"/>
                  </a:cubicBezTo>
                  <a:cubicBezTo>
                    <a:pt x="666" y="11"/>
                    <a:pt x="664" y="10"/>
                    <a:pt x="662" y="10"/>
                  </a:cubicBezTo>
                  <a:cubicBezTo>
                    <a:pt x="479" y="10"/>
                    <a:pt x="479" y="10"/>
                    <a:pt x="479" y="10"/>
                  </a:cubicBezTo>
                  <a:cubicBezTo>
                    <a:pt x="477" y="10"/>
                    <a:pt x="475" y="11"/>
                    <a:pt x="475" y="14"/>
                  </a:cubicBezTo>
                  <a:cubicBezTo>
                    <a:pt x="475" y="29"/>
                    <a:pt x="475" y="29"/>
                    <a:pt x="475" y="29"/>
                  </a:cubicBezTo>
                  <a:cubicBezTo>
                    <a:pt x="475" y="31"/>
                    <a:pt x="477" y="33"/>
                    <a:pt x="479" y="33"/>
                  </a:cubicBezTo>
                  <a:cubicBezTo>
                    <a:pt x="554" y="33"/>
                    <a:pt x="554" y="33"/>
                    <a:pt x="554" y="33"/>
                  </a:cubicBezTo>
                  <a:cubicBezTo>
                    <a:pt x="554" y="115"/>
                    <a:pt x="554" y="115"/>
                    <a:pt x="554" y="115"/>
                  </a:cubicBezTo>
                  <a:cubicBezTo>
                    <a:pt x="472" y="115"/>
                    <a:pt x="472" y="115"/>
                    <a:pt x="472" y="115"/>
                  </a:cubicBezTo>
                  <a:cubicBezTo>
                    <a:pt x="470" y="115"/>
                    <a:pt x="469" y="117"/>
                    <a:pt x="469" y="119"/>
                  </a:cubicBezTo>
                  <a:cubicBezTo>
                    <a:pt x="469" y="135"/>
                    <a:pt x="469" y="135"/>
                    <a:pt x="469" y="135"/>
                  </a:cubicBezTo>
                  <a:cubicBezTo>
                    <a:pt x="469" y="137"/>
                    <a:pt x="470" y="139"/>
                    <a:pt x="472" y="139"/>
                  </a:cubicBezTo>
                  <a:cubicBezTo>
                    <a:pt x="554" y="139"/>
                    <a:pt x="554" y="139"/>
                    <a:pt x="554" y="139"/>
                  </a:cubicBezTo>
                  <a:cubicBezTo>
                    <a:pt x="554" y="171"/>
                    <a:pt x="554" y="171"/>
                    <a:pt x="554" y="171"/>
                  </a:cubicBezTo>
                  <a:cubicBezTo>
                    <a:pt x="554" y="173"/>
                    <a:pt x="556" y="174"/>
                    <a:pt x="558" y="174"/>
                  </a:cubicBezTo>
                  <a:cubicBezTo>
                    <a:pt x="583" y="174"/>
                    <a:pt x="583" y="174"/>
                    <a:pt x="583" y="174"/>
                  </a:cubicBezTo>
                  <a:cubicBezTo>
                    <a:pt x="585" y="174"/>
                    <a:pt x="587" y="173"/>
                    <a:pt x="587" y="171"/>
                  </a:cubicBezTo>
                  <a:cubicBezTo>
                    <a:pt x="587" y="139"/>
                    <a:pt x="587" y="139"/>
                    <a:pt x="587" y="139"/>
                  </a:cubicBezTo>
                  <a:cubicBezTo>
                    <a:pt x="669" y="139"/>
                    <a:pt x="669" y="139"/>
                    <a:pt x="669" y="139"/>
                  </a:cubicBezTo>
                  <a:cubicBezTo>
                    <a:pt x="671" y="139"/>
                    <a:pt x="673" y="137"/>
                    <a:pt x="673" y="135"/>
                  </a:cubicBezTo>
                  <a:cubicBezTo>
                    <a:pt x="673" y="119"/>
                    <a:pt x="673" y="119"/>
                    <a:pt x="673" y="119"/>
                  </a:cubicBezTo>
                  <a:cubicBezTo>
                    <a:pt x="673" y="117"/>
                    <a:pt x="671" y="115"/>
                    <a:pt x="669" y="115"/>
                  </a:cubicBezTo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6" name="Freeform 6"/>
            <p:cNvSpPr/>
            <p:nvPr/>
          </p:nvSpPr>
          <p:spPr bwMode="auto">
            <a:xfrm>
              <a:off x="3438525" y="693738"/>
              <a:ext cx="77788" cy="76200"/>
            </a:xfrm>
            <a:custGeom>
              <a:avLst/>
              <a:gdLst>
                <a:gd name="T0" fmla="*/ 44 w 48"/>
                <a:gd name="T1" fmla="*/ 0 h 46"/>
                <a:gd name="T2" fmla="*/ 4 w 48"/>
                <a:gd name="T3" fmla="*/ 0 h 46"/>
                <a:gd name="T4" fmla="*/ 0 w 48"/>
                <a:gd name="T5" fmla="*/ 3 h 46"/>
                <a:gd name="T6" fmla="*/ 0 w 48"/>
                <a:gd name="T7" fmla="*/ 43 h 46"/>
                <a:gd name="T8" fmla="*/ 4 w 48"/>
                <a:gd name="T9" fmla="*/ 46 h 46"/>
                <a:gd name="T10" fmla="*/ 44 w 48"/>
                <a:gd name="T11" fmla="*/ 46 h 46"/>
                <a:gd name="T12" fmla="*/ 48 w 48"/>
                <a:gd name="T13" fmla="*/ 43 h 46"/>
                <a:gd name="T14" fmla="*/ 48 w 48"/>
                <a:gd name="T15" fmla="*/ 3 h 46"/>
                <a:gd name="T16" fmla="*/ 44 w 48"/>
                <a:gd name="T17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46">
                  <a:moveTo>
                    <a:pt x="4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5"/>
                    <a:pt x="2" y="46"/>
                    <a:pt x="4" y="46"/>
                  </a:cubicBezTo>
                  <a:cubicBezTo>
                    <a:pt x="44" y="46"/>
                    <a:pt x="44" y="46"/>
                    <a:pt x="44" y="46"/>
                  </a:cubicBezTo>
                  <a:cubicBezTo>
                    <a:pt x="46" y="46"/>
                    <a:pt x="48" y="45"/>
                    <a:pt x="48" y="43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1"/>
                    <a:pt x="46" y="0"/>
                    <a:pt x="44" y="0"/>
                  </a:cubicBezTo>
                </a:path>
              </a:pathLst>
            </a:custGeom>
            <a:solidFill>
              <a:srgbClr val="005E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7" name="Oval 7"/>
            <p:cNvSpPr>
              <a:spLocks noChangeArrowheads="1"/>
            </p:cNvSpPr>
            <p:nvPr/>
          </p:nvSpPr>
          <p:spPr bwMode="auto">
            <a:xfrm>
              <a:off x="1385888" y="952500"/>
              <a:ext cx="17463" cy="20637"/>
            </a:xfrm>
            <a:prstGeom prst="ellipse">
              <a:avLst/>
            </a:pr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8" name="Freeform 8"/>
            <p:cNvSpPr>
              <a:spLocks noEditPoints="1"/>
            </p:cNvSpPr>
            <p:nvPr/>
          </p:nvSpPr>
          <p:spPr bwMode="auto">
            <a:xfrm>
              <a:off x="1001713" y="893763"/>
              <a:ext cx="142875" cy="133350"/>
            </a:xfrm>
            <a:custGeom>
              <a:avLst/>
              <a:gdLst>
                <a:gd name="T0" fmla="*/ 43 w 88"/>
                <a:gd name="T1" fmla="*/ 0 h 81"/>
                <a:gd name="T2" fmla="*/ 51 w 88"/>
                <a:gd name="T3" fmla="*/ 4 h 81"/>
                <a:gd name="T4" fmla="*/ 84 w 88"/>
                <a:gd name="T5" fmla="*/ 22 h 81"/>
                <a:gd name="T6" fmla="*/ 87 w 88"/>
                <a:gd name="T7" fmla="*/ 28 h 81"/>
                <a:gd name="T8" fmla="*/ 82 w 88"/>
                <a:gd name="T9" fmla="*/ 29 h 81"/>
                <a:gd name="T10" fmla="*/ 49 w 88"/>
                <a:gd name="T11" fmla="*/ 12 h 81"/>
                <a:gd name="T12" fmla="*/ 43 w 88"/>
                <a:gd name="T13" fmla="*/ 8 h 81"/>
                <a:gd name="T14" fmla="*/ 38 w 88"/>
                <a:gd name="T15" fmla="*/ 11 h 81"/>
                <a:gd name="T16" fmla="*/ 6 w 88"/>
                <a:gd name="T17" fmla="*/ 30 h 81"/>
                <a:gd name="T18" fmla="*/ 1 w 88"/>
                <a:gd name="T19" fmla="*/ 28 h 81"/>
                <a:gd name="T20" fmla="*/ 3 w 88"/>
                <a:gd name="T21" fmla="*/ 23 h 81"/>
                <a:gd name="T22" fmla="*/ 35 w 88"/>
                <a:gd name="T23" fmla="*/ 5 h 81"/>
                <a:gd name="T24" fmla="*/ 43 w 88"/>
                <a:gd name="T25" fmla="*/ 0 h 81"/>
                <a:gd name="T26" fmla="*/ 21 w 88"/>
                <a:gd name="T27" fmla="*/ 25 h 81"/>
                <a:gd name="T28" fmla="*/ 68 w 88"/>
                <a:gd name="T29" fmla="*/ 25 h 81"/>
                <a:gd name="T30" fmla="*/ 71 w 88"/>
                <a:gd name="T31" fmla="*/ 28 h 81"/>
                <a:gd name="T32" fmla="*/ 68 w 88"/>
                <a:gd name="T33" fmla="*/ 31 h 81"/>
                <a:gd name="T34" fmla="*/ 48 w 88"/>
                <a:gd name="T35" fmla="*/ 31 h 81"/>
                <a:gd name="T36" fmla="*/ 48 w 88"/>
                <a:gd name="T37" fmla="*/ 42 h 81"/>
                <a:gd name="T38" fmla="*/ 80 w 88"/>
                <a:gd name="T39" fmla="*/ 42 h 81"/>
                <a:gd name="T40" fmla="*/ 83 w 88"/>
                <a:gd name="T41" fmla="*/ 46 h 81"/>
                <a:gd name="T42" fmla="*/ 80 w 88"/>
                <a:gd name="T43" fmla="*/ 49 h 81"/>
                <a:gd name="T44" fmla="*/ 48 w 88"/>
                <a:gd name="T45" fmla="*/ 49 h 81"/>
                <a:gd name="T46" fmla="*/ 48 w 88"/>
                <a:gd name="T47" fmla="*/ 74 h 81"/>
                <a:gd name="T48" fmla="*/ 61 w 88"/>
                <a:gd name="T49" fmla="*/ 74 h 81"/>
                <a:gd name="T50" fmla="*/ 60 w 88"/>
                <a:gd name="T51" fmla="*/ 70 h 81"/>
                <a:gd name="T52" fmla="*/ 70 w 88"/>
                <a:gd name="T53" fmla="*/ 53 h 81"/>
                <a:gd name="T54" fmla="*/ 75 w 88"/>
                <a:gd name="T55" fmla="*/ 51 h 81"/>
                <a:gd name="T56" fmla="*/ 76 w 88"/>
                <a:gd name="T57" fmla="*/ 56 h 81"/>
                <a:gd name="T58" fmla="*/ 66 w 88"/>
                <a:gd name="T59" fmla="*/ 73 h 81"/>
                <a:gd name="T60" fmla="*/ 64 w 88"/>
                <a:gd name="T61" fmla="*/ 74 h 81"/>
                <a:gd name="T62" fmla="*/ 84 w 88"/>
                <a:gd name="T63" fmla="*/ 74 h 81"/>
                <a:gd name="T64" fmla="*/ 87 w 88"/>
                <a:gd name="T65" fmla="*/ 77 h 81"/>
                <a:gd name="T66" fmla="*/ 84 w 88"/>
                <a:gd name="T67" fmla="*/ 81 h 81"/>
                <a:gd name="T68" fmla="*/ 6 w 88"/>
                <a:gd name="T69" fmla="*/ 81 h 81"/>
                <a:gd name="T70" fmla="*/ 2 w 88"/>
                <a:gd name="T71" fmla="*/ 77 h 81"/>
                <a:gd name="T72" fmla="*/ 6 w 88"/>
                <a:gd name="T73" fmla="*/ 74 h 81"/>
                <a:gd name="T74" fmla="*/ 40 w 88"/>
                <a:gd name="T75" fmla="*/ 74 h 81"/>
                <a:gd name="T76" fmla="*/ 40 w 88"/>
                <a:gd name="T77" fmla="*/ 49 h 81"/>
                <a:gd name="T78" fmla="*/ 9 w 88"/>
                <a:gd name="T79" fmla="*/ 49 h 81"/>
                <a:gd name="T80" fmla="*/ 6 w 88"/>
                <a:gd name="T81" fmla="*/ 46 h 81"/>
                <a:gd name="T82" fmla="*/ 9 w 88"/>
                <a:gd name="T83" fmla="*/ 42 h 81"/>
                <a:gd name="T84" fmla="*/ 40 w 88"/>
                <a:gd name="T85" fmla="*/ 42 h 81"/>
                <a:gd name="T86" fmla="*/ 40 w 88"/>
                <a:gd name="T87" fmla="*/ 31 h 81"/>
                <a:gd name="T88" fmla="*/ 21 w 88"/>
                <a:gd name="T89" fmla="*/ 31 h 81"/>
                <a:gd name="T90" fmla="*/ 18 w 88"/>
                <a:gd name="T91" fmla="*/ 28 h 81"/>
                <a:gd name="T92" fmla="*/ 21 w 88"/>
                <a:gd name="T93" fmla="*/ 25 h 81"/>
                <a:gd name="T94" fmla="*/ 20 w 88"/>
                <a:gd name="T95" fmla="*/ 54 h 81"/>
                <a:gd name="T96" fmla="*/ 27 w 88"/>
                <a:gd name="T97" fmla="*/ 67 h 81"/>
                <a:gd name="T98" fmla="*/ 26 w 88"/>
                <a:gd name="T99" fmla="*/ 72 h 81"/>
                <a:gd name="T100" fmla="*/ 21 w 88"/>
                <a:gd name="T101" fmla="*/ 71 h 81"/>
                <a:gd name="T102" fmla="*/ 14 w 88"/>
                <a:gd name="T103" fmla="*/ 57 h 81"/>
                <a:gd name="T104" fmla="*/ 14 w 88"/>
                <a:gd name="T105" fmla="*/ 53 h 81"/>
                <a:gd name="T106" fmla="*/ 20 w 88"/>
                <a:gd name="T107" fmla="*/ 54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8" h="81">
                  <a:moveTo>
                    <a:pt x="43" y="0"/>
                  </a:moveTo>
                  <a:cubicBezTo>
                    <a:pt x="44" y="0"/>
                    <a:pt x="47" y="1"/>
                    <a:pt x="51" y="4"/>
                  </a:cubicBezTo>
                  <a:cubicBezTo>
                    <a:pt x="61" y="12"/>
                    <a:pt x="72" y="18"/>
                    <a:pt x="84" y="22"/>
                  </a:cubicBezTo>
                  <a:cubicBezTo>
                    <a:pt x="87" y="23"/>
                    <a:pt x="88" y="25"/>
                    <a:pt x="87" y="28"/>
                  </a:cubicBezTo>
                  <a:cubicBezTo>
                    <a:pt x="86" y="30"/>
                    <a:pt x="85" y="30"/>
                    <a:pt x="82" y="29"/>
                  </a:cubicBezTo>
                  <a:cubicBezTo>
                    <a:pt x="70" y="25"/>
                    <a:pt x="59" y="19"/>
                    <a:pt x="49" y="12"/>
                  </a:cubicBezTo>
                  <a:cubicBezTo>
                    <a:pt x="46" y="10"/>
                    <a:pt x="44" y="8"/>
                    <a:pt x="43" y="8"/>
                  </a:cubicBezTo>
                  <a:cubicBezTo>
                    <a:pt x="43" y="8"/>
                    <a:pt x="41" y="9"/>
                    <a:pt x="38" y="11"/>
                  </a:cubicBezTo>
                  <a:cubicBezTo>
                    <a:pt x="28" y="19"/>
                    <a:pt x="18" y="25"/>
                    <a:pt x="6" y="30"/>
                  </a:cubicBezTo>
                  <a:cubicBezTo>
                    <a:pt x="4" y="31"/>
                    <a:pt x="2" y="30"/>
                    <a:pt x="1" y="28"/>
                  </a:cubicBezTo>
                  <a:cubicBezTo>
                    <a:pt x="0" y="26"/>
                    <a:pt x="1" y="24"/>
                    <a:pt x="3" y="23"/>
                  </a:cubicBezTo>
                  <a:cubicBezTo>
                    <a:pt x="15" y="19"/>
                    <a:pt x="26" y="13"/>
                    <a:pt x="35" y="5"/>
                  </a:cubicBezTo>
                  <a:cubicBezTo>
                    <a:pt x="39" y="2"/>
                    <a:pt x="42" y="0"/>
                    <a:pt x="43" y="0"/>
                  </a:cubicBezTo>
                  <a:close/>
                  <a:moveTo>
                    <a:pt x="21" y="25"/>
                  </a:moveTo>
                  <a:cubicBezTo>
                    <a:pt x="68" y="25"/>
                    <a:pt x="68" y="25"/>
                    <a:pt x="68" y="25"/>
                  </a:cubicBezTo>
                  <a:cubicBezTo>
                    <a:pt x="70" y="25"/>
                    <a:pt x="71" y="26"/>
                    <a:pt x="71" y="28"/>
                  </a:cubicBezTo>
                  <a:cubicBezTo>
                    <a:pt x="71" y="30"/>
                    <a:pt x="70" y="31"/>
                    <a:pt x="6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80" y="42"/>
                    <a:pt x="80" y="42"/>
                    <a:pt x="80" y="42"/>
                  </a:cubicBezTo>
                  <a:cubicBezTo>
                    <a:pt x="82" y="42"/>
                    <a:pt x="83" y="43"/>
                    <a:pt x="83" y="46"/>
                  </a:cubicBezTo>
                  <a:cubicBezTo>
                    <a:pt x="83" y="48"/>
                    <a:pt x="82" y="49"/>
                    <a:pt x="80" y="49"/>
                  </a:cubicBezTo>
                  <a:cubicBezTo>
                    <a:pt x="48" y="49"/>
                    <a:pt x="48" y="49"/>
                    <a:pt x="48" y="49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59" y="73"/>
                    <a:pt x="59" y="72"/>
                    <a:pt x="60" y="70"/>
                  </a:cubicBezTo>
                  <a:cubicBezTo>
                    <a:pt x="64" y="64"/>
                    <a:pt x="67" y="59"/>
                    <a:pt x="70" y="53"/>
                  </a:cubicBezTo>
                  <a:cubicBezTo>
                    <a:pt x="71" y="51"/>
                    <a:pt x="73" y="50"/>
                    <a:pt x="75" y="51"/>
                  </a:cubicBezTo>
                  <a:cubicBezTo>
                    <a:pt x="76" y="52"/>
                    <a:pt x="77" y="54"/>
                    <a:pt x="76" y="56"/>
                  </a:cubicBezTo>
                  <a:cubicBezTo>
                    <a:pt x="72" y="65"/>
                    <a:pt x="69" y="70"/>
                    <a:pt x="66" y="73"/>
                  </a:cubicBezTo>
                  <a:cubicBezTo>
                    <a:pt x="65" y="74"/>
                    <a:pt x="65" y="74"/>
                    <a:pt x="64" y="74"/>
                  </a:cubicBezTo>
                  <a:cubicBezTo>
                    <a:pt x="84" y="74"/>
                    <a:pt x="84" y="74"/>
                    <a:pt x="84" y="74"/>
                  </a:cubicBezTo>
                  <a:cubicBezTo>
                    <a:pt x="86" y="74"/>
                    <a:pt x="87" y="75"/>
                    <a:pt x="87" y="77"/>
                  </a:cubicBezTo>
                  <a:cubicBezTo>
                    <a:pt x="87" y="79"/>
                    <a:pt x="86" y="81"/>
                    <a:pt x="84" y="81"/>
                  </a:cubicBezTo>
                  <a:cubicBezTo>
                    <a:pt x="6" y="81"/>
                    <a:pt x="6" y="81"/>
                    <a:pt x="6" y="81"/>
                  </a:cubicBezTo>
                  <a:cubicBezTo>
                    <a:pt x="3" y="81"/>
                    <a:pt x="2" y="79"/>
                    <a:pt x="2" y="77"/>
                  </a:cubicBezTo>
                  <a:cubicBezTo>
                    <a:pt x="2" y="75"/>
                    <a:pt x="3" y="74"/>
                    <a:pt x="6" y="74"/>
                  </a:cubicBezTo>
                  <a:cubicBezTo>
                    <a:pt x="40" y="74"/>
                    <a:pt x="40" y="74"/>
                    <a:pt x="40" y="74"/>
                  </a:cubicBezTo>
                  <a:cubicBezTo>
                    <a:pt x="40" y="49"/>
                    <a:pt x="40" y="49"/>
                    <a:pt x="40" y="49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7" y="49"/>
                    <a:pt x="6" y="48"/>
                    <a:pt x="6" y="46"/>
                  </a:cubicBezTo>
                  <a:cubicBezTo>
                    <a:pt x="6" y="43"/>
                    <a:pt x="7" y="42"/>
                    <a:pt x="9" y="42"/>
                  </a:cubicBezTo>
                  <a:cubicBezTo>
                    <a:pt x="40" y="42"/>
                    <a:pt x="40" y="42"/>
                    <a:pt x="40" y="42"/>
                  </a:cubicBezTo>
                  <a:cubicBezTo>
                    <a:pt x="40" y="31"/>
                    <a:pt x="40" y="31"/>
                    <a:pt x="40" y="31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19" y="31"/>
                    <a:pt x="18" y="30"/>
                    <a:pt x="18" y="28"/>
                  </a:cubicBezTo>
                  <a:cubicBezTo>
                    <a:pt x="18" y="26"/>
                    <a:pt x="19" y="25"/>
                    <a:pt x="21" y="25"/>
                  </a:cubicBezTo>
                  <a:close/>
                  <a:moveTo>
                    <a:pt x="20" y="54"/>
                  </a:moveTo>
                  <a:cubicBezTo>
                    <a:pt x="23" y="58"/>
                    <a:pt x="25" y="63"/>
                    <a:pt x="27" y="67"/>
                  </a:cubicBezTo>
                  <a:cubicBezTo>
                    <a:pt x="28" y="69"/>
                    <a:pt x="28" y="71"/>
                    <a:pt x="26" y="72"/>
                  </a:cubicBezTo>
                  <a:cubicBezTo>
                    <a:pt x="24" y="73"/>
                    <a:pt x="23" y="73"/>
                    <a:pt x="21" y="71"/>
                  </a:cubicBezTo>
                  <a:cubicBezTo>
                    <a:pt x="19" y="67"/>
                    <a:pt x="17" y="62"/>
                    <a:pt x="14" y="57"/>
                  </a:cubicBezTo>
                  <a:cubicBezTo>
                    <a:pt x="12" y="55"/>
                    <a:pt x="13" y="54"/>
                    <a:pt x="14" y="53"/>
                  </a:cubicBezTo>
                  <a:cubicBezTo>
                    <a:pt x="16" y="52"/>
                    <a:pt x="18" y="52"/>
                    <a:pt x="20" y="54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9" name="Freeform 9"/>
            <p:cNvSpPr>
              <a:spLocks noEditPoints="1"/>
            </p:cNvSpPr>
            <p:nvPr/>
          </p:nvSpPr>
          <p:spPr bwMode="auto">
            <a:xfrm>
              <a:off x="1168400" y="895350"/>
              <a:ext cx="136525" cy="139700"/>
            </a:xfrm>
            <a:custGeom>
              <a:avLst/>
              <a:gdLst>
                <a:gd name="T0" fmla="*/ 39 w 83"/>
                <a:gd name="T1" fmla="*/ 1 h 85"/>
                <a:gd name="T2" fmla="*/ 39 w 83"/>
                <a:gd name="T3" fmla="*/ 7 h 85"/>
                <a:gd name="T4" fmla="*/ 0 w 83"/>
                <a:gd name="T5" fmla="*/ 4 h 85"/>
                <a:gd name="T6" fmla="*/ 6 w 83"/>
                <a:gd name="T7" fmla="*/ 35 h 85"/>
                <a:gd name="T8" fmla="*/ 42 w 83"/>
                <a:gd name="T9" fmla="*/ 41 h 85"/>
                <a:gd name="T10" fmla="*/ 28 w 83"/>
                <a:gd name="T11" fmla="*/ 80 h 85"/>
                <a:gd name="T12" fmla="*/ 30 w 83"/>
                <a:gd name="T13" fmla="*/ 74 h 85"/>
                <a:gd name="T14" fmla="*/ 36 w 83"/>
                <a:gd name="T15" fmla="*/ 42 h 85"/>
                <a:gd name="T16" fmla="*/ 8 w 83"/>
                <a:gd name="T17" fmla="*/ 40 h 85"/>
                <a:gd name="T18" fmla="*/ 6 w 83"/>
                <a:gd name="T19" fmla="*/ 79 h 85"/>
                <a:gd name="T20" fmla="*/ 0 w 83"/>
                <a:gd name="T21" fmla="*/ 79 h 85"/>
                <a:gd name="T22" fmla="*/ 6 w 83"/>
                <a:gd name="T23" fmla="*/ 35 h 85"/>
                <a:gd name="T24" fmla="*/ 32 w 83"/>
                <a:gd name="T25" fmla="*/ 11 h 85"/>
                <a:gd name="T26" fmla="*/ 37 w 83"/>
                <a:gd name="T27" fmla="*/ 23 h 85"/>
                <a:gd name="T28" fmla="*/ 9 w 83"/>
                <a:gd name="T29" fmla="*/ 29 h 85"/>
                <a:gd name="T30" fmla="*/ 4 w 83"/>
                <a:gd name="T31" fmla="*/ 17 h 85"/>
                <a:gd name="T32" fmla="*/ 10 w 83"/>
                <a:gd name="T33" fmla="*/ 56 h 85"/>
                <a:gd name="T34" fmla="*/ 23 w 83"/>
                <a:gd name="T35" fmla="*/ 53 h 85"/>
                <a:gd name="T36" fmla="*/ 31 w 83"/>
                <a:gd name="T37" fmla="*/ 41 h 85"/>
                <a:gd name="T38" fmla="*/ 31 w 83"/>
                <a:gd name="T39" fmla="*/ 48 h 85"/>
                <a:gd name="T40" fmla="*/ 32 w 83"/>
                <a:gd name="T41" fmla="*/ 56 h 85"/>
                <a:gd name="T42" fmla="*/ 32 w 83"/>
                <a:gd name="T43" fmla="*/ 61 h 85"/>
                <a:gd name="T44" fmla="*/ 24 w 83"/>
                <a:gd name="T45" fmla="*/ 76 h 85"/>
                <a:gd name="T46" fmla="*/ 18 w 83"/>
                <a:gd name="T47" fmla="*/ 76 h 85"/>
                <a:gd name="T48" fmla="*/ 10 w 83"/>
                <a:gd name="T49" fmla="*/ 61 h 85"/>
                <a:gd name="T50" fmla="*/ 10 w 83"/>
                <a:gd name="T51" fmla="*/ 56 h 85"/>
                <a:gd name="T52" fmla="*/ 17 w 83"/>
                <a:gd name="T53" fmla="*/ 46 h 85"/>
                <a:gd name="T54" fmla="*/ 17 w 83"/>
                <a:gd name="T55" fmla="*/ 55 h 85"/>
                <a:gd name="T56" fmla="*/ 11 w 83"/>
                <a:gd name="T57" fmla="*/ 50 h 85"/>
                <a:gd name="T58" fmla="*/ 11 w 83"/>
                <a:gd name="T59" fmla="*/ 42 h 85"/>
                <a:gd name="T60" fmla="*/ 30 w 83"/>
                <a:gd name="T61" fmla="*/ 17 h 85"/>
                <a:gd name="T62" fmla="*/ 10 w 83"/>
                <a:gd name="T63" fmla="*/ 19 h 85"/>
                <a:gd name="T64" fmla="*/ 12 w 83"/>
                <a:gd name="T65" fmla="*/ 23 h 85"/>
                <a:gd name="T66" fmla="*/ 31 w 83"/>
                <a:gd name="T67" fmla="*/ 21 h 85"/>
                <a:gd name="T68" fmla="*/ 30 w 83"/>
                <a:gd name="T69" fmla="*/ 17 h 85"/>
                <a:gd name="T70" fmla="*/ 66 w 83"/>
                <a:gd name="T71" fmla="*/ 11 h 85"/>
                <a:gd name="T72" fmla="*/ 79 w 83"/>
                <a:gd name="T73" fmla="*/ 16 h 85"/>
                <a:gd name="T74" fmla="*/ 75 w 83"/>
                <a:gd name="T75" fmla="*/ 54 h 85"/>
                <a:gd name="T76" fmla="*/ 66 w 83"/>
                <a:gd name="T77" fmla="*/ 73 h 85"/>
                <a:gd name="T78" fmla="*/ 71 w 83"/>
                <a:gd name="T79" fmla="*/ 63 h 85"/>
                <a:gd name="T80" fmla="*/ 77 w 83"/>
                <a:gd name="T81" fmla="*/ 61 h 85"/>
                <a:gd name="T82" fmla="*/ 81 w 83"/>
                <a:gd name="T83" fmla="*/ 84 h 85"/>
                <a:gd name="T84" fmla="*/ 75 w 83"/>
                <a:gd name="T85" fmla="*/ 77 h 85"/>
                <a:gd name="T86" fmla="*/ 44 w 83"/>
                <a:gd name="T87" fmla="*/ 78 h 85"/>
                <a:gd name="T88" fmla="*/ 59 w 83"/>
                <a:gd name="T89" fmla="*/ 73 h 85"/>
                <a:gd name="T90" fmla="*/ 52 w 83"/>
                <a:gd name="T91" fmla="*/ 54 h 85"/>
                <a:gd name="T92" fmla="*/ 46 w 83"/>
                <a:gd name="T93" fmla="*/ 16 h 85"/>
                <a:gd name="T94" fmla="*/ 59 w 83"/>
                <a:gd name="T95" fmla="*/ 11 h 85"/>
                <a:gd name="T96" fmla="*/ 62 w 83"/>
                <a:gd name="T97" fmla="*/ 0 h 85"/>
                <a:gd name="T98" fmla="*/ 55 w 83"/>
                <a:gd name="T99" fmla="*/ 17 h 85"/>
                <a:gd name="T100" fmla="*/ 52 w 83"/>
                <a:gd name="T101" fmla="*/ 46 h 85"/>
                <a:gd name="T102" fmla="*/ 59 w 83"/>
                <a:gd name="T103" fmla="*/ 47 h 85"/>
                <a:gd name="T104" fmla="*/ 55 w 83"/>
                <a:gd name="T105" fmla="*/ 17 h 85"/>
                <a:gd name="T106" fmla="*/ 66 w 83"/>
                <a:gd name="T107" fmla="*/ 17 h 85"/>
                <a:gd name="T108" fmla="*/ 71 w 83"/>
                <a:gd name="T109" fmla="*/ 47 h 85"/>
                <a:gd name="T110" fmla="*/ 73 w 83"/>
                <a:gd name="T111" fmla="*/ 2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3" h="85">
                  <a:moveTo>
                    <a:pt x="4" y="1"/>
                  </a:moveTo>
                  <a:cubicBezTo>
                    <a:pt x="39" y="1"/>
                    <a:pt x="39" y="1"/>
                    <a:pt x="39" y="1"/>
                  </a:cubicBezTo>
                  <a:cubicBezTo>
                    <a:pt x="41" y="1"/>
                    <a:pt x="42" y="2"/>
                    <a:pt x="42" y="4"/>
                  </a:cubicBezTo>
                  <a:cubicBezTo>
                    <a:pt x="42" y="6"/>
                    <a:pt x="41" y="7"/>
                    <a:pt x="39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1" y="7"/>
                    <a:pt x="0" y="6"/>
                    <a:pt x="0" y="4"/>
                  </a:cubicBezTo>
                  <a:cubicBezTo>
                    <a:pt x="0" y="2"/>
                    <a:pt x="1" y="1"/>
                    <a:pt x="4" y="1"/>
                  </a:cubicBezTo>
                  <a:close/>
                  <a:moveTo>
                    <a:pt x="6" y="35"/>
                  </a:moveTo>
                  <a:cubicBezTo>
                    <a:pt x="35" y="35"/>
                    <a:pt x="35" y="35"/>
                    <a:pt x="35" y="35"/>
                  </a:cubicBezTo>
                  <a:cubicBezTo>
                    <a:pt x="40" y="35"/>
                    <a:pt x="43" y="37"/>
                    <a:pt x="42" y="41"/>
                  </a:cubicBezTo>
                  <a:cubicBezTo>
                    <a:pt x="42" y="74"/>
                    <a:pt x="42" y="74"/>
                    <a:pt x="42" y="74"/>
                  </a:cubicBezTo>
                  <a:cubicBezTo>
                    <a:pt x="42" y="81"/>
                    <a:pt x="37" y="82"/>
                    <a:pt x="28" y="80"/>
                  </a:cubicBezTo>
                  <a:cubicBezTo>
                    <a:pt x="26" y="79"/>
                    <a:pt x="26" y="78"/>
                    <a:pt x="26" y="76"/>
                  </a:cubicBezTo>
                  <a:cubicBezTo>
                    <a:pt x="27" y="74"/>
                    <a:pt x="28" y="74"/>
                    <a:pt x="30" y="74"/>
                  </a:cubicBezTo>
                  <a:cubicBezTo>
                    <a:pt x="34" y="76"/>
                    <a:pt x="36" y="76"/>
                    <a:pt x="36" y="73"/>
                  </a:cubicBezTo>
                  <a:cubicBezTo>
                    <a:pt x="36" y="42"/>
                    <a:pt x="36" y="42"/>
                    <a:pt x="36" y="42"/>
                  </a:cubicBezTo>
                  <a:cubicBezTo>
                    <a:pt x="36" y="41"/>
                    <a:pt x="36" y="40"/>
                    <a:pt x="35" y="40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6" y="40"/>
                    <a:pt x="5" y="41"/>
                    <a:pt x="6" y="43"/>
                  </a:cubicBezTo>
                  <a:cubicBezTo>
                    <a:pt x="6" y="79"/>
                    <a:pt x="6" y="79"/>
                    <a:pt x="6" y="79"/>
                  </a:cubicBezTo>
                  <a:cubicBezTo>
                    <a:pt x="5" y="81"/>
                    <a:pt x="4" y="82"/>
                    <a:pt x="3" y="82"/>
                  </a:cubicBezTo>
                  <a:cubicBezTo>
                    <a:pt x="1" y="82"/>
                    <a:pt x="0" y="81"/>
                    <a:pt x="0" y="79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37"/>
                    <a:pt x="2" y="35"/>
                    <a:pt x="6" y="35"/>
                  </a:cubicBezTo>
                  <a:close/>
                  <a:moveTo>
                    <a:pt x="9" y="11"/>
                  </a:moveTo>
                  <a:cubicBezTo>
                    <a:pt x="32" y="11"/>
                    <a:pt x="32" y="11"/>
                    <a:pt x="32" y="11"/>
                  </a:cubicBezTo>
                  <a:cubicBezTo>
                    <a:pt x="36" y="11"/>
                    <a:pt x="38" y="13"/>
                    <a:pt x="37" y="17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8" y="28"/>
                    <a:pt x="36" y="30"/>
                    <a:pt x="32" y="29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5" y="29"/>
                    <a:pt x="4" y="27"/>
                    <a:pt x="4" y="23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3" y="13"/>
                    <a:pt x="5" y="11"/>
                    <a:pt x="9" y="11"/>
                  </a:cubicBezTo>
                  <a:close/>
                  <a:moveTo>
                    <a:pt x="10" y="56"/>
                  </a:moveTo>
                  <a:cubicBezTo>
                    <a:pt x="22" y="56"/>
                    <a:pt x="22" y="56"/>
                    <a:pt x="22" y="56"/>
                  </a:cubicBezTo>
                  <a:cubicBezTo>
                    <a:pt x="22" y="55"/>
                    <a:pt x="22" y="54"/>
                    <a:pt x="23" y="53"/>
                  </a:cubicBezTo>
                  <a:cubicBezTo>
                    <a:pt x="24" y="50"/>
                    <a:pt x="26" y="46"/>
                    <a:pt x="27" y="43"/>
                  </a:cubicBezTo>
                  <a:cubicBezTo>
                    <a:pt x="28" y="41"/>
                    <a:pt x="29" y="41"/>
                    <a:pt x="31" y="41"/>
                  </a:cubicBezTo>
                  <a:cubicBezTo>
                    <a:pt x="33" y="42"/>
                    <a:pt x="33" y="44"/>
                    <a:pt x="33" y="46"/>
                  </a:cubicBezTo>
                  <a:cubicBezTo>
                    <a:pt x="32" y="47"/>
                    <a:pt x="32" y="47"/>
                    <a:pt x="31" y="48"/>
                  </a:cubicBezTo>
                  <a:cubicBezTo>
                    <a:pt x="30" y="52"/>
                    <a:pt x="29" y="54"/>
                    <a:pt x="28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3" y="56"/>
                    <a:pt x="34" y="57"/>
                    <a:pt x="34" y="59"/>
                  </a:cubicBezTo>
                  <a:cubicBezTo>
                    <a:pt x="34" y="61"/>
                    <a:pt x="33" y="61"/>
                    <a:pt x="32" y="61"/>
                  </a:cubicBezTo>
                  <a:cubicBezTo>
                    <a:pt x="24" y="61"/>
                    <a:pt x="24" y="61"/>
                    <a:pt x="24" y="61"/>
                  </a:cubicBezTo>
                  <a:cubicBezTo>
                    <a:pt x="24" y="76"/>
                    <a:pt x="24" y="76"/>
                    <a:pt x="24" y="76"/>
                  </a:cubicBezTo>
                  <a:cubicBezTo>
                    <a:pt x="23" y="77"/>
                    <a:pt x="22" y="78"/>
                    <a:pt x="20" y="78"/>
                  </a:cubicBezTo>
                  <a:cubicBezTo>
                    <a:pt x="19" y="78"/>
                    <a:pt x="18" y="77"/>
                    <a:pt x="18" y="76"/>
                  </a:cubicBezTo>
                  <a:cubicBezTo>
                    <a:pt x="18" y="61"/>
                    <a:pt x="18" y="61"/>
                    <a:pt x="18" y="61"/>
                  </a:cubicBezTo>
                  <a:cubicBezTo>
                    <a:pt x="10" y="61"/>
                    <a:pt x="10" y="61"/>
                    <a:pt x="10" y="61"/>
                  </a:cubicBezTo>
                  <a:cubicBezTo>
                    <a:pt x="8" y="61"/>
                    <a:pt x="7" y="61"/>
                    <a:pt x="7" y="59"/>
                  </a:cubicBezTo>
                  <a:cubicBezTo>
                    <a:pt x="7" y="57"/>
                    <a:pt x="8" y="56"/>
                    <a:pt x="10" y="56"/>
                  </a:cubicBezTo>
                  <a:close/>
                  <a:moveTo>
                    <a:pt x="15" y="43"/>
                  </a:moveTo>
                  <a:cubicBezTo>
                    <a:pt x="15" y="44"/>
                    <a:pt x="16" y="45"/>
                    <a:pt x="17" y="46"/>
                  </a:cubicBezTo>
                  <a:cubicBezTo>
                    <a:pt x="17" y="48"/>
                    <a:pt x="18" y="49"/>
                    <a:pt x="19" y="51"/>
                  </a:cubicBezTo>
                  <a:cubicBezTo>
                    <a:pt x="19" y="53"/>
                    <a:pt x="19" y="54"/>
                    <a:pt x="17" y="55"/>
                  </a:cubicBezTo>
                  <a:cubicBezTo>
                    <a:pt x="15" y="56"/>
                    <a:pt x="13" y="55"/>
                    <a:pt x="13" y="53"/>
                  </a:cubicBezTo>
                  <a:cubicBezTo>
                    <a:pt x="12" y="52"/>
                    <a:pt x="12" y="51"/>
                    <a:pt x="11" y="50"/>
                  </a:cubicBezTo>
                  <a:cubicBezTo>
                    <a:pt x="11" y="48"/>
                    <a:pt x="10" y="47"/>
                    <a:pt x="10" y="46"/>
                  </a:cubicBezTo>
                  <a:cubicBezTo>
                    <a:pt x="9" y="44"/>
                    <a:pt x="9" y="43"/>
                    <a:pt x="11" y="42"/>
                  </a:cubicBezTo>
                  <a:cubicBezTo>
                    <a:pt x="13" y="41"/>
                    <a:pt x="14" y="41"/>
                    <a:pt x="15" y="43"/>
                  </a:cubicBezTo>
                  <a:close/>
                  <a:moveTo>
                    <a:pt x="30" y="17"/>
                  </a:moveTo>
                  <a:cubicBezTo>
                    <a:pt x="11" y="17"/>
                    <a:pt x="11" y="17"/>
                    <a:pt x="11" y="17"/>
                  </a:cubicBezTo>
                  <a:cubicBezTo>
                    <a:pt x="10" y="17"/>
                    <a:pt x="9" y="18"/>
                    <a:pt x="10" y="19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10" y="23"/>
                    <a:pt x="10" y="23"/>
                    <a:pt x="12" y="23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31" y="23"/>
                    <a:pt x="31" y="23"/>
                    <a:pt x="31" y="21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1" y="18"/>
                    <a:pt x="31" y="17"/>
                    <a:pt x="30" y="17"/>
                  </a:cubicBezTo>
                  <a:close/>
                  <a:moveTo>
                    <a:pt x="66" y="3"/>
                  </a:moveTo>
                  <a:cubicBezTo>
                    <a:pt x="66" y="11"/>
                    <a:pt x="66" y="11"/>
                    <a:pt x="66" y="11"/>
                  </a:cubicBezTo>
                  <a:cubicBezTo>
                    <a:pt x="74" y="11"/>
                    <a:pt x="74" y="11"/>
                    <a:pt x="74" y="11"/>
                  </a:cubicBezTo>
                  <a:cubicBezTo>
                    <a:pt x="78" y="11"/>
                    <a:pt x="79" y="12"/>
                    <a:pt x="79" y="16"/>
                  </a:cubicBezTo>
                  <a:cubicBezTo>
                    <a:pt x="79" y="48"/>
                    <a:pt x="79" y="48"/>
                    <a:pt x="79" y="48"/>
                  </a:cubicBezTo>
                  <a:cubicBezTo>
                    <a:pt x="79" y="52"/>
                    <a:pt x="78" y="54"/>
                    <a:pt x="75" y="54"/>
                  </a:cubicBezTo>
                  <a:cubicBezTo>
                    <a:pt x="66" y="54"/>
                    <a:pt x="66" y="54"/>
                    <a:pt x="66" y="54"/>
                  </a:cubicBezTo>
                  <a:cubicBezTo>
                    <a:pt x="66" y="73"/>
                    <a:pt x="66" y="73"/>
                    <a:pt x="66" y="73"/>
                  </a:cubicBezTo>
                  <a:cubicBezTo>
                    <a:pt x="74" y="72"/>
                    <a:pt x="74" y="72"/>
                    <a:pt x="74" y="72"/>
                  </a:cubicBezTo>
                  <a:cubicBezTo>
                    <a:pt x="72" y="67"/>
                    <a:pt x="71" y="64"/>
                    <a:pt x="71" y="63"/>
                  </a:cubicBezTo>
                  <a:cubicBezTo>
                    <a:pt x="70" y="61"/>
                    <a:pt x="71" y="60"/>
                    <a:pt x="73" y="59"/>
                  </a:cubicBezTo>
                  <a:cubicBezTo>
                    <a:pt x="75" y="59"/>
                    <a:pt x="76" y="59"/>
                    <a:pt x="77" y="61"/>
                  </a:cubicBezTo>
                  <a:cubicBezTo>
                    <a:pt x="80" y="69"/>
                    <a:pt x="82" y="76"/>
                    <a:pt x="83" y="81"/>
                  </a:cubicBezTo>
                  <a:cubicBezTo>
                    <a:pt x="83" y="83"/>
                    <a:pt x="83" y="84"/>
                    <a:pt x="81" y="84"/>
                  </a:cubicBezTo>
                  <a:cubicBezTo>
                    <a:pt x="79" y="85"/>
                    <a:pt x="77" y="84"/>
                    <a:pt x="77" y="82"/>
                  </a:cubicBezTo>
                  <a:cubicBezTo>
                    <a:pt x="77" y="82"/>
                    <a:pt x="76" y="80"/>
                    <a:pt x="75" y="77"/>
                  </a:cubicBezTo>
                  <a:cubicBezTo>
                    <a:pt x="58" y="79"/>
                    <a:pt x="48" y="81"/>
                    <a:pt x="48" y="81"/>
                  </a:cubicBezTo>
                  <a:cubicBezTo>
                    <a:pt x="46" y="81"/>
                    <a:pt x="44" y="80"/>
                    <a:pt x="44" y="78"/>
                  </a:cubicBezTo>
                  <a:cubicBezTo>
                    <a:pt x="44" y="76"/>
                    <a:pt x="45" y="75"/>
                    <a:pt x="47" y="74"/>
                  </a:cubicBezTo>
                  <a:cubicBezTo>
                    <a:pt x="48" y="74"/>
                    <a:pt x="52" y="74"/>
                    <a:pt x="59" y="73"/>
                  </a:cubicBezTo>
                  <a:cubicBezTo>
                    <a:pt x="59" y="54"/>
                    <a:pt x="59" y="54"/>
                    <a:pt x="59" y="54"/>
                  </a:cubicBezTo>
                  <a:cubicBezTo>
                    <a:pt x="52" y="54"/>
                    <a:pt x="52" y="54"/>
                    <a:pt x="52" y="54"/>
                  </a:cubicBezTo>
                  <a:cubicBezTo>
                    <a:pt x="48" y="54"/>
                    <a:pt x="45" y="52"/>
                    <a:pt x="46" y="49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6" y="12"/>
                    <a:pt x="48" y="11"/>
                    <a:pt x="52" y="11"/>
                  </a:cubicBezTo>
                  <a:cubicBezTo>
                    <a:pt x="59" y="11"/>
                    <a:pt x="59" y="11"/>
                    <a:pt x="59" y="11"/>
                  </a:cubicBezTo>
                  <a:cubicBezTo>
                    <a:pt x="59" y="3"/>
                    <a:pt x="59" y="3"/>
                    <a:pt x="59" y="3"/>
                  </a:cubicBezTo>
                  <a:cubicBezTo>
                    <a:pt x="59" y="1"/>
                    <a:pt x="60" y="0"/>
                    <a:pt x="62" y="0"/>
                  </a:cubicBezTo>
                  <a:cubicBezTo>
                    <a:pt x="65" y="0"/>
                    <a:pt x="66" y="1"/>
                    <a:pt x="66" y="3"/>
                  </a:cubicBezTo>
                  <a:close/>
                  <a:moveTo>
                    <a:pt x="55" y="17"/>
                  </a:moveTo>
                  <a:cubicBezTo>
                    <a:pt x="53" y="17"/>
                    <a:pt x="52" y="18"/>
                    <a:pt x="52" y="20"/>
                  </a:cubicBezTo>
                  <a:cubicBezTo>
                    <a:pt x="52" y="46"/>
                    <a:pt x="52" y="46"/>
                    <a:pt x="52" y="46"/>
                  </a:cubicBezTo>
                  <a:cubicBezTo>
                    <a:pt x="52" y="47"/>
                    <a:pt x="53" y="48"/>
                    <a:pt x="54" y="47"/>
                  </a:cubicBezTo>
                  <a:cubicBezTo>
                    <a:pt x="59" y="47"/>
                    <a:pt x="59" y="47"/>
                    <a:pt x="59" y="47"/>
                  </a:cubicBezTo>
                  <a:cubicBezTo>
                    <a:pt x="59" y="17"/>
                    <a:pt x="59" y="17"/>
                    <a:pt x="59" y="17"/>
                  </a:cubicBezTo>
                  <a:lnTo>
                    <a:pt x="55" y="17"/>
                  </a:lnTo>
                  <a:close/>
                  <a:moveTo>
                    <a:pt x="71" y="17"/>
                  </a:moveTo>
                  <a:cubicBezTo>
                    <a:pt x="66" y="17"/>
                    <a:pt x="66" y="17"/>
                    <a:pt x="66" y="17"/>
                  </a:cubicBezTo>
                  <a:cubicBezTo>
                    <a:pt x="66" y="47"/>
                    <a:pt x="66" y="47"/>
                    <a:pt x="66" y="47"/>
                  </a:cubicBezTo>
                  <a:cubicBezTo>
                    <a:pt x="71" y="47"/>
                    <a:pt x="71" y="47"/>
                    <a:pt x="71" y="47"/>
                  </a:cubicBezTo>
                  <a:cubicBezTo>
                    <a:pt x="72" y="48"/>
                    <a:pt x="73" y="47"/>
                    <a:pt x="73" y="46"/>
                  </a:cubicBezTo>
                  <a:cubicBezTo>
                    <a:pt x="73" y="20"/>
                    <a:pt x="73" y="20"/>
                    <a:pt x="73" y="20"/>
                  </a:cubicBezTo>
                  <a:cubicBezTo>
                    <a:pt x="73" y="18"/>
                    <a:pt x="72" y="17"/>
                    <a:pt x="71" y="17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0" name="Freeform 10"/>
            <p:cNvSpPr>
              <a:spLocks noEditPoints="1"/>
            </p:cNvSpPr>
            <p:nvPr/>
          </p:nvSpPr>
          <p:spPr bwMode="auto">
            <a:xfrm>
              <a:off x="1476375" y="896938"/>
              <a:ext cx="144463" cy="136525"/>
            </a:xfrm>
            <a:custGeom>
              <a:avLst/>
              <a:gdLst>
                <a:gd name="T0" fmla="*/ 34 w 88"/>
                <a:gd name="T1" fmla="*/ 0 h 83"/>
                <a:gd name="T2" fmla="*/ 38 w 88"/>
                <a:gd name="T3" fmla="*/ 2 h 83"/>
                <a:gd name="T4" fmla="*/ 36 w 88"/>
                <a:gd name="T5" fmla="*/ 6 h 83"/>
                <a:gd name="T6" fmla="*/ 25 w 88"/>
                <a:gd name="T7" fmla="*/ 8 h 83"/>
                <a:gd name="T8" fmla="*/ 25 w 88"/>
                <a:gd name="T9" fmla="*/ 23 h 83"/>
                <a:gd name="T10" fmla="*/ 37 w 88"/>
                <a:gd name="T11" fmla="*/ 23 h 83"/>
                <a:gd name="T12" fmla="*/ 37 w 88"/>
                <a:gd name="T13" fmla="*/ 30 h 83"/>
                <a:gd name="T14" fmla="*/ 25 w 88"/>
                <a:gd name="T15" fmla="*/ 30 h 83"/>
                <a:gd name="T16" fmla="*/ 25 w 88"/>
                <a:gd name="T17" fmla="*/ 32 h 83"/>
                <a:gd name="T18" fmla="*/ 39 w 88"/>
                <a:gd name="T19" fmla="*/ 49 h 83"/>
                <a:gd name="T20" fmla="*/ 38 w 88"/>
                <a:gd name="T21" fmla="*/ 54 h 83"/>
                <a:gd name="T22" fmla="*/ 34 w 88"/>
                <a:gd name="T23" fmla="*/ 53 h 83"/>
                <a:gd name="T24" fmla="*/ 25 w 88"/>
                <a:gd name="T25" fmla="*/ 41 h 83"/>
                <a:gd name="T26" fmla="*/ 25 w 88"/>
                <a:gd name="T27" fmla="*/ 79 h 83"/>
                <a:gd name="T28" fmla="*/ 22 w 88"/>
                <a:gd name="T29" fmla="*/ 82 h 83"/>
                <a:gd name="T30" fmla="*/ 19 w 88"/>
                <a:gd name="T31" fmla="*/ 79 h 83"/>
                <a:gd name="T32" fmla="*/ 19 w 88"/>
                <a:gd name="T33" fmla="*/ 42 h 83"/>
                <a:gd name="T34" fmla="*/ 7 w 88"/>
                <a:gd name="T35" fmla="*/ 59 h 83"/>
                <a:gd name="T36" fmla="*/ 1 w 88"/>
                <a:gd name="T37" fmla="*/ 59 h 83"/>
                <a:gd name="T38" fmla="*/ 2 w 88"/>
                <a:gd name="T39" fmla="*/ 54 h 83"/>
                <a:gd name="T40" fmla="*/ 18 w 88"/>
                <a:gd name="T41" fmla="*/ 30 h 83"/>
                <a:gd name="T42" fmla="*/ 5 w 88"/>
                <a:gd name="T43" fmla="*/ 30 h 83"/>
                <a:gd name="T44" fmla="*/ 5 w 88"/>
                <a:gd name="T45" fmla="*/ 23 h 83"/>
                <a:gd name="T46" fmla="*/ 19 w 88"/>
                <a:gd name="T47" fmla="*/ 23 h 83"/>
                <a:gd name="T48" fmla="*/ 19 w 88"/>
                <a:gd name="T49" fmla="*/ 9 h 83"/>
                <a:gd name="T50" fmla="*/ 7 w 88"/>
                <a:gd name="T51" fmla="*/ 10 h 83"/>
                <a:gd name="T52" fmla="*/ 6 w 88"/>
                <a:gd name="T53" fmla="*/ 3 h 83"/>
                <a:gd name="T54" fmla="*/ 34 w 88"/>
                <a:gd name="T55" fmla="*/ 0 h 83"/>
                <a:gd name="T56" fmla="*/ 76 w 88"/>
                <a:gd name="T57" fmla="*/ 4 h 83"/>
                <a:gd name="T58" fmla="*/ 76 w 88"/>
                <a:gd name="T59" fmla="*/ 52 h 83"/>
                <a:gd name="T60" fmla="*/ 81 w 88"/>
                <a:gd name="T61" fmla="*/ 51 h 83"/>
                <a:gd name="T62" fmla="*/ 84 w 88"/>
                <a:gd name="T63" fmla="*/ 50 h 83"/>
                <a:gd name="T64" fmla="*/ 85 w 88"/>
                <a:gd name="T65" fmla="*/ 58 h 83"/>
                <a:gd name="T66" fmla="*/ 76 w 88"/>
                <a:gd name="T67" fmla="*/ 59 h 83"/>
                <a:gd name="T68" fmla="*/ 76 w 88"/>
                <a:gd name="T69" fmla="*/ 80 h 83"/>
                <a:gd name="T70" fmla="*/ 72 w 88"/>
                <a:gd name="T71" fmla="*/ 83 h 83"/>
                <a:gd name="T72" fmla="*/ 69 w 88"/>
                <a:gd name="T73" fmla="*/ 80 h 83"/>
                <a:gd name="T74" fmla="*/ 69 w 88"/>
                <a:gd name="T75" fmla="*/ 60 h 83"/>
                <a:gd name="T76" fmla="*/ 37 w 88"/>
                <a:gd name="T77" fmla="*/ 65 h 83"/>
                <a:gd name="T78" fmla="*/ 33 w 88"/>
                <a:gd name="T79" fmla="*/ 62 h 83"/>
                <a:gd name="T80" fmla="*/ 36 w 88"/>
                <a:gd name="T81" fmla="*/ 58 h 83"/>
                <a:gd name="T82" fmla="*/ 42 w 88"/>
                <a:gd name="T83" fmla="*/ 57 h 83"/>
                <a:gd name="T84" fmla="*/ 69 w 88"/>
                <a:gd name="T85" fmla="*/ 53 h 83"/>
                <a:gd name="T86" fmla="*/ 69 w 88"/>
                <a:gd name="T87" fmla="*/ 5 h 83"/>
                <a:gd name="T88" fmla="*/ 72 w 88"/>
                <a:gd name="T89" fmla="*/ 2 h 83"/>
                <a:gd name="T90" fmla="*/ 76 w 88"/>
                <a:gd name="T91" fmla="*/ 4 h 83"/>
                <a:gd name="T92" fmla="*/ 47 w 88"/>
                <a:gd name="T93" fmla="*/ 26 h 83"/>
                <a:gd name="T94" fmla="*/ 60 w 88"/>
                <a:gd name="T95" fmla="*/ 40 h 83"/>
                <a:gd name="T96" fmla="*/ 59 w 88"/>
                <a:gd name="T97" fmla="*/ 45 h 83"/>
                <a:gd name="T98" fmla="*/ 55 w 88"/>
                <a:gd name="T99" fmla="*/ 45 h 83"/>
                <a:gd name="T100" fmla="*/ 42 w 88"/>
                <a:gd name="T101" fmla="*/ 31 h 83"/>
                <a:gd name="T102" fmla="*/ 42 w 88"/>
                <a:gd name="T103" fmla="*/ 26 h 83"/>
                <a:gd name="T104" fmla="*/ 47 w 88"/>
                <a:gd name="T105" fmla="*/ 26 h 83"/>
                <a:gd name="T106" fmla="*/ 51 w 88"/>
                <a:gd name="T107" fmla="*/ 5 h 83"/>
                <a:gd name="T108" fmla="*/ 65 w 88"/>
                <a:gd name="T109" fmla="*/ 21 h 83"/>
                <a:gd name="T110" fmla="*/ 64 w 88"/>
                <a:gd name="T111" fmla="*/ 26 h 83"/>
                <a:gd name="T112" fmla="*/ 60 w 88"/>
                <a:gd name="T113" fmla="*/ 25 h 83"/>
                <a:gd name="T114" fmla="*/ 46 w 88"/>
                <a:gd name="T115" fmla="*/ 10 h 83"/>
                <a:gd name="T116" fmla="*/ 46 w 88"/>
                <a:gd name="T117" fmla="*/ 5 h 83"/>
                <a:gd name="T118" fmla="*/ 51 w 88"/>
                <a:gd name="T119" fmla="*/ 5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8" h="83">
                  <a:moveTo>
                    <a:pt x="34" y="0"/>
                  </a:moveTo>
                  <a:cubicBezTo>
                    <a:pt x="36" y="0"/>
                    <a:pt x="38" y="0"/>
                    <a:pt x="38" y="2"/>
                  </a:cubicBezTo>
                  <a:cubicBezTo>
                    <a:pt x="39" y="4"/>
                    <a:pt x="38" y="6"/>
                    <a:pt x="36" y="6"/>
                  </a:cubicBezTo>
                  <a:cubicBezTo>
                    <a:pt x="33" y="7"/>
                    <a:pt x="29" y="8"/>
                    <a:pt x="25" y="8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41" y="26"/>
                    <a:pt x="41" y="28"/>
                    <a:pt x="37" y="30"/>
                  </a:cubicBezTo>
                  <a:cubicBezTo>
                    <a:pt x="25" y="30"/>
                    <a:pt x="25" y="30"/>
                    <a:pt x="25" y="30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31" y="38"/>
                    <a:pt x="36" y="43"/>
                    <a:pt x="39" y="49"/>
                  </a:cubicBezTo>
                  <a:cubicBezTo>
                    <a:pt x="40" y="51"/>
                    <a:pt x="40" y="53"/>
                    <a:pt x="38" y="54"/>
                  </a:cubicBezTo>
                  <a:cubicBezTo>
                    <a:pt x="36" y="56"/>
                    <a:pt x="35" y="55"/>
                    <a:pt x="34" y="53"/>
                  </a:cubicBezTo>
                  <a:cubicBezTo>
                    <a:pt x="32" y="50"/>
                    <a:pt x="29" y="46"/>
                    <a:pt x="25" y="41"/>
                  </a:cubicBezTo>
                  <a:cubicBezTo>
                    <a:pt x="25" y="79"/>
                    <a:pt x="25" y="79"/>
                    <a:pt x="25" y="79"/>
                  </a:cubicBezTo>
                  <a:cubicBezTo>
                    <a:pt x="25" y="80"/>
                    <a:pt x="24" y="81"/>
                    <a:pt x="22" y="82"/>
                  </a:cubicBezTo>
                  <a:cubicBezTo>
                    <a:pt x="20" y="81"/>
                    <a:pt x="19" y="80"/>
                    <a:pt x="19" y="79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5" y="49"/>
                    <a:pt x="11" y="54"/>
                    <a:pt x="7" y="59"/>
                  </a:cubicBezTo>
                  <a:cubicBezTo>
                    <a:pt x="5" y="61"/>
                    <a:pt x="3" y="61"/>
                    <a:pt x="1" y="59"/>
                  </a:cubicBezTo>
                  <a:cubicBezTo>
                    <a:pt x="0" y="58"/>
                    <a:pt x="0" y="56"/>
                    <a:pt x="2" y="54"/>
                  </a:cubicBezTo>
                  <a:cubicBezTo>
                    <a:pt x="9" y="48"/>
                    <a:pt x="14" y="40"/>
                    <a:pt x="18" y="30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1" y="28"/>
                    <a:pt x="1" y="25"/>
                    <a:pt x="5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5" y="10"/>
                    <a:pt x="11" y="10"/>
                    <a:pt x="7" y="10"/>
                  </a:cubicBezTo>
                  <a:cubicBezTo>
                    <a:pt x="3" y="9"/>
                    <a:pt x="3" y="6"/>
                    <a:pt x="6" y="3"/>
                  </a:cubicBezTo>
                  <a:cubicBezTo>
                    <a:pt x="15" y="3"/>
                    <a:pt x="25" y="2"/>
                    <a:pt x="34" y="0"/>
                  </a:cubicBezTo>
                  <a:close/>
                  <a:moveTo>
                    <a:pt x="76" y="4"/>
                  </a:moveTo>
                  <a:cubicBezTo>
                    <a:pt x="76" y="52"/>
                    <a:pt x="76" y="52"/>
                    <a:pt x="76" y="52"/>
                  </a:cubicBezTo>
                  <a:cubicBezTo>
                    <a:pt x="77" y="51"/>
                    <a:pt x="79" y="51"/>
                    <a:pt x="81" y="51"/>
                  </a:cubicBezTo>
                  <a:cubicBezTo>
                    <a:pt x="83" y="51"/>
                    <a:pt x="84" y="50"/>
                    <a:pt x="84" y="50"/>
                  </a:cubicBezTo>
                  <a:cubicBezTo>
                    <a:pt x="88" y="53"/>
                    <a:pt x="88" y="55"/>
                    <a:pt x="85" y="58"/>
                  </a:cubicBezTo>
                  <a:cubicBezTo>
                    <a:pt x="80" y="58"/>
                    <a:pt x="77" y="59"/>
                    <a:pt x="76" y="59"/>
                  </a:cubicBezTo>
                  <a:cubicBezTo>
                    <a:pt x="76" y="80"/>
                    <a:pt x="76" y="80"/>
                    <a:pt x="76" y="80"/>
                  </a:cubicBezTo>
                  <a:cubicBezTo>
                    <a:pt x="75" y="82"/>
                    <a:pt x="74" y="83"/>
                    <a:pt x="72" y="83"/>
                  </a:cubicBezTo>
                  <a:cubicBezTo>
                    <a:pt x="70" y="83"/>
                    <a:pt x="69" y="82"/>
                    <a:pt x="69" y="80"/>
                  </a:cubicBezTo>
                  <a:cubicBezTo>
                    <a:pt x="69" y="60"/>
                    <a:pt x="69" y="60"/>
                    <a:pt x="69" y="60"/>
                  </a:cubicBezTo>
                  <a:cubicBezTo>
                    <a:pt x="54" y="63"/>
                    <a:pt x="43" y="64"/>
                    <a:pt x="37" y="65"/>
                  </a:cubicBezTo>
                  <a:cubicBezTo>
                    <a:pt x="35" y="65"/>
                    <a:pt x="34" y="64"/>
                    <a:pt x="33" y="62"/>
                  </a:cubicBezTo>
                  <a:cubicBezTo>
                    <a:pt x="33" y="60"/>
                    <a:pt x="34" y="58"/>
                    <a:pt x="36" y="58"/>
                  </a:cubicBezTo>
                  <a:cubicBezTo>
                    <a:pt x="37" y="58"/>
                    <a:pt x="39" y="57"/>
                    <a:pt x="42" y="57"/>
                  </a:cubicBezTo>
                  <a:cubicBezTo>
                    <a:pt x="53" y="55"/>
                    <a:pt x="62" y="54"/>
                    <a:pt x="69" y="53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69" y="3"/>
                    <a:pt x="70" y="2"/>
                    <a:pt x="72" y="2"/>
                  </a:cubicBezTo>
                  <a:cubicBezTo>
                    <a:pt x="74" y="2"/>
                    <a:pt x="75" y="3"/>
                    <a:pt x="76" y="4"/>
                  </a:cubicBezTo>
                  <a:close/>
                  <a:moveTo>
                    <a:pt x="47" y="26"/>
                  </a:moveTo>
                  <a:cubicBezTo>
                    <a:pt x="52" y="30"/>
                    <a:pt x="56" y="34"/>
                    <a:pt x="60" y="40"/>
                  </a:cubicBezTo>
                  <a:cubicBezTo>
                    <a:pt x="61" y="42"/>
                    <a:pt x="61" y="44"/>
                    <a:pt x="59" y="45"/>
                  </a:cubicBezTo>
                  <a:cubicBezTo>
                    <a:pt x="57" y="47"/>
                    <a:pt x="56" y="46"/>
                    <a:pt x="55" y="45"/>
                  </a:cubicBezTo>
                  <a:cubicBezTo>
                    <a:pt x="51" y="39"/>
                    <a:pt x="47" y="35"/>
                    <a:pt x="42" y="31"/>
                  </a:cubicBezTo>
                  <a:cubicBezTo>
                    <a:pt x="41" y="30"/>
                    <a:pt x="40" y="28"/>
                    <a:pt x="42" y="26"/>
                  </a:cubicBezTo>
                  <a:cubicBezTo>
                    <a:pt x="43" y="25"/>
                    <a:pt x="45" y="25"/>
                    <a:pt x="47" y="26"/>
                  </a:cubicBezTo>
                  <a:close/>
                  <a:moveTo>
                    <a:pt x="51" y="5"/>
                  </a:moveTo>
                  <a:cubicBezTo>
                    <a:pt x="56" y="10"/>
                    <a:pt x="61" y="15"/>
                    <a:pt x="65" y="21"/>
                  </a:cubicBezTo>
                  <a:cubicBezTo>
                    <a:pt x="66" y="23"/>
                    <a:pt x="66" y="25"/>
                    <a:pt x="64" y="26"/>
                  </a:cubicBezTo>
                  <a:cubicBezTo>
                    <a:pt x="63" y="27"/>
                    <a:pt x="61" y="27"/>
                    <a:pt x="60" y="25"/>
                  </a:cubicBezTo>
                  <a:cubicBezTo>
                    <a:pt x="56" y="20"/>
                    <a:pt x="51" y="15"/>
                    <a:pt x="46" y="10"/>
                  </a:cubicBezTo>
                  <a:cubicBezTo>
                    <a:pt x="45" y="9"/>
                    <a:pt x="44" y="7"/>
                    <a:pt x="46" y="5"/>
                  </a:cubicBezTo>
                  <a:cubicBezTo>
                    <a:pt x="47" y="4"/>
                    <a:pt x="49" y="4"/>
                    <a:pt x="51" y="5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1" name="Freeform 11"/>
            <p:cNvSpPr>
              <a:spLocks noEditPoints="1"/>
            </p:cNvSpPr>
            <p:nvPr/>
          </p:nvSpPr>
          <p:spPr bwMode="auto">
            <a:xfrm>
              <a:off x="1644650" y="896938"/>
              <a:ext cx="144463" cy="134937"/>
            </a:xfrm>
            <a:custGeom>
              <a:avLst/>
              <a:gdLst>
                <a:gd name="T0" fmla="*/ 20 w 88"/>
                <a:gd name="T1" fmla="*/ 17 h 82"/>
                <a:gd name="T2" fmla="*/ 30 w 88"/>
                <a:gd name="T3" fmla="*/ 20 h 82"/>
                <a:gd name="T4" fmla="*/ 20 w 88"/>
                <a:gd name="T5" fmla="*/ 23 h 82"/>
                <a:gd name="T6" fmla="*/ 26 w 88"/>
                <a:gd name="T7" fmla="*/ 38 h 82"/>
                <a:gd name="T8" fmla="*/ 30 w 88"/>
                <a:gd name="T9" fmla="*/ 43 h 82"/>
                <a:gd name="T10" fmla="*/ 20 w 88"/>
                <a:gd name="T11" fmla="*/ 75 h 82"/>
                <a:gd name="T12" fmla="*/ 3 w 88"/>
                <a:gd name="T13" fmla="*/ 76 h 82"/>
                <a:gd name="T14" fmla="*/ 13 w 88"/>
                <a:gd name="T15" fmla="*/ 72 h 82"/>
                <a:gd name="T16" fmla="*/ 9 w 88"/>
                <a:gd name="T17" fmla="*/ 52 h 82"/>
                <a:gd name="T18" fmla="*/ 0 w 88"/>
                <a:gd name="T19" fmla="*/ 52 h 82"/>
                <a:gd name="T20" fmla="*/ 5 w 88"/>
                <a:gd name="T21" fmla="*/ 47 h 82"/>
                <a:gd name="T22" fmla="*/ 13 w 88"/>
                <a:gd name="T23" fmla="*/ 23 h 82"/>
                <a:gd name="T24" fmla="*/ 2 w 88"/>
                <a:gd name="T25" fmla="*/ 20 h 82"/>
                <a:gd name="T26" fmla="*/ 13 w 88"/>
                <a:gd name="T27" fmla="*/ 17 h 82"/>
                <a:gd name="T28" fmla="*/ 17 w 88"/>
                <a:gd name="T29" fmla="*/ 1 h 82"/>
                <a:gd name="T30" fmla="*/ 58 w 88"/>
                <a:gd name="T31" fmla="*/ 3 h 82"/>
                <a:gd name="T32" fmla="*/ 81 w 88"/>
                <a:gd name="T33" fmla="*/ 8 h 82"/>
                <a:gd name="T34" fmla="*/ 81 w 88"/>
                <a:gd name="T35" fmla="*/ 15 h 82"/>
                <a:gd name="T36" fmla="*/ 58 w 88"/>
                <a:gd name="T37" fmla="*/ 28 h 82"/>
                <a:gd name="T38" fmla="*/ 80 w 88"/>
                <a:gd name="T39" fmla="*/ 38 h 82"/>
                <a:gd name="T40" fmla="*/ 85 w 88"/>
                <a:gd name="T41" fmla="*/ 75 h 82"/>
                <a:gd name="T42" fmla="*/ 82 w 88"/>
                <a:gd name="T43" fmla="*/ 82 h 82"/>
                <a:gd name="T44" fmla="*/ 29 w 88"/>
                <a:gd name="T45" fmla="*/ 81 h 82"/>
                <a:gd name="T46" fmla="*/ 26 w 88"/>
                <a:gd name="T47" fmla="*/ 74 h 82"/>
                <a:gd name="T48" fmla="*/ 34 w 88"/>
                <a:gd name="T49" fmla="*/ 40 h 82"/>
                <a:gd name="T50" fmla="*/ 33 w 88"/>
                <a:gd name="T51" fmla="*/ 35 h 82"/>
                <a:gd name="T52" fmla="*/ 34 w 88"/>
                <a:gd name="T53" fmla="*/ 28 h 82"/>
                <a:gd name="T54" fmla="*/ 51 w 88"/>
                <a:gd name="T55" fmla="*/ 15 h 82"/>
                <a:gd name="T56" fmla="*/ 28 w 88"/>
                <a:gd name="T57" fmla="*/ 12 h 82"/>
                <a:gd name="T58" fmla="*/ 51 w 88"/>
                <a:gd name="T59" fmla="*/ 8 h 82"/>
                <a:gd name="T60" fmla="*/ 55 w 88"/>
                <a:gd name="T61" fmla="*/ 0 h 82"/>
                <a:gd name="T62" fmla="*/ 70 w 88"/>
                <a:gd name="T63" fmla="*/ 35 h 82"/>
                <a:gd name="T64" fmla="*/ 40 w 88"/>
                <a:gd name="T65" fmla="*/ 36 h 82"/>
                <a:gd name="T66" fmla="*/ 72 w 88"/>
                <a:gd name="T67" fmla="*/ 38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8" h="82">
                  <a:moveTo>
                    <a:pt x="20" y="4"/>
                  </a:moveTo>
                  <a:cubicBezTo>
                    <a:pt x="20" y="17"/>
                    <a:pt x="20" y="17"/>
                    <a:pt x="20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9" y="17"/>
                    <a:pt x="30" y="18"/>
                    <a:pt x="30" y="20"/>
                  </a:cubicBezTo>
                  <a:cubicBezTo>
                    <a:pt x="30" y="22"/>
                    <a:pt x="29" y="23"/>
                    <a:pt x="27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2" y="40"/>
                    <a:pt x="24" y="39"/>
                    <a:pt x="26" y="38"/>
                  </a:cubicBezTo>
                  <a:cubicBezTo>
                    <a:pt x="28" y="37"/>
                    <a:pt x="29" y="38"/>
                    <a:pt x="30" y="39"/>
                  </a:cubicBezTo>
                  <a:cubicBezTo>
                    <a:pt x="31" y="41"/>
                    <a:pt x="31" y="42"/>
                    <a:pt x="30" y="43"/>
                  </a:cubicBezTo>
                  <a:cubicBezTo>
                    <a:pt x="28" y="44"/>
                    <a:pt x="25" y="46"/>
                    <a:pt x="20" y="48"/>
                  </a:cubicBezTo>
                  <a:cubicBezTo>
                    <a:pt x="20" y="75"/>
                    <a:pt x="20" y="75"/>
                    <a:pt x="20" y="75"/>
                  </a:cubicBezTo>
                  <a:cubicBezTo>
                    <a:pt x="19" y="80"/>
                    <a:pt x="15" y="82"/>
                    <a:pt x="6" y="80"/>
                  </a:cubicBezTo>
                  <a:cubicBezTo>
                    <a:pt x="4" y="80"/>
                    <a:pt x="3" y="78"/>
                    <a:pt x="3" y="76"/>
                  </a:cubicBezTo>
                  <a:cubicBezTo>
                    <a:pt x="4" y="74"/>
                    <a:pt x="5" y="73"/>
                    <a:pt x="7" y="74"/>
                  </a:cubicBezTo>
                  <a:cubicBezTo>
                    <a:pt x="12" y="75"/>
                    <a:pt x="14" y="75"/>
                    <a:pt x="13" y="72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13" y="51"/>
                    <a:pt x="11" y="52"/>
                    <a:pt x="9" y="52"/>
                  </a:cubicBezTo>
                  <a:cubicBezTo>
                    <a:pt x="7" y="53"/>
                    <a:pt x="5" y="54"/>
                    <a:pt x="5" y="54"/>
                  </a:cubicBezTo>
                  <a:cubicBezTo>
                    <a:pt x="2" y="55"/>
                    <a:pt x="1" y="54"/>
                    <a:pt x="0" y="52"/>
                  </a:cubicBezTo>
                  <a:cubicBezTo>
                    <a:pt x="0" y="50"/>
                    <a:pt x="0" y="49"/>
                    <a:pt x="2" y="48"/>
                  </a:cubicBezTo>
                  <a:cubicBezTo>
                    <a:pt x="3" y="48"/>
                    <a:pt x="4" y="48"/>
                    <a:pt x="5" y="47"/>
                  </a:cubicBezTo>
                  <a:cubicBezTo>
                    <a:pt x="8" y="46"/>
                    <a:pt x="11" y="45"/>
                    <a:pt x="13" y="44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3" y="23"/>
                    <a:pt x="2" y="22"/>
                    <a:pt x="2" y="20"/>
                  </a:cubicBezTo>
                  <a:cubicBezTo>
                    <a:pt x="2" y="18"/>
                    <a:pt x="3" y="17"/>
                    <a:pt x="5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2"/>
                    <a:pt x="14" y="1"/>
                    <a:pt x="17" y="1"/>
                  </a:cubicBezTo>
                  <a:cubicBezTo>
                    <a:pt x="19" y="1"/>
                    <a:pt x="20" y="2"/>
                    <a:pt x="20" y="4"/>
                  </a:cubicBezTo>
                  <a:close/>
                  <a:moveTo>
                    <a:pt x="58" y="3"/>
                  </a:moveTo>
                  <a:cubicBezTo>
                    <a:pt x="58" y="8"/>
                    <a:pt x="58" y="8"/>
                    <a:pt x="58" y="8"/>
                  </a:cubicBezTo>
                  <a:cubicBezTo>
                    <a:pt x="81" y="8"/>
                    <a:pt x="81" y="8"/>
                    <a:pt x="81" y="8"/>
                  </a:cubicBezTo>
                  <a:cubicBezTo>
                    <a:pt x="83" y="9"/>
                    <a:pt x="84" y="10"/>
                    <a:pt x="85" y="12"/>
                  </a:cubicBezTo>
                  <a:cubicBezTo>
                    <a:pt x="84" y="14"/>
                    <a:pt x="83" y="15"/>
                    <a:pt x="81" y="15"/>
                  </a:cubicBezTo>
                  <a:cubicBezTo>
                    <a:pt x="58" y="15"/>
                    <a:pt x="58" y="15"/>
                    <a:pt x="58" y="15"/>
                  </a:cubicBezTo>
                  <a:cubicBezTo>
                    <a:pt x="58" y="28"/>
                    <a:pt x="58" y="28"/>
                    <a:pt x="58" y="28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80" y="29"/>
                    <a:pt x="82" y="32"/>
                    <a:pt x="80" y="38"/>
                  </a:cubicBezTo>
                  <a:cubicBezTo>
                    <a:pt x="76" y="48"/>
                    <a:pt x="70" y="56"/>
                    <a:pt x="62" y="63"/>
                  </a:cubicBezTo>
                  <a:cubicBezTo>
                    <a:pt x="69" y="68"/>
                    <a:pt x="77" y="72"/>
                    <a:pt x="85" y="75"/>
                  </a:cubicBezTo>
                  <a:cubicBezTo>
                    <a:pt x="87" y="76"/>
                    <a:pt x="88" y="77"/>
                    <a:pt x="87" y="80"/>
                  </a:cubicBezTo>
                  <a:cubicBezTo>
                    <a:pt x="86" y="82"/>
                    <a:pt x="84" y="82"/>
                    <a:pt x="82" y="82"/>
                  </a:cubicBezTo>
                  <a:cubicBezTo>
                    <a:pt x="74" y="78"/>
                    <a:pt x="65" y="74"/>
                    <a:pt x="56" y="68"/>
                  </a:cubicBezTo>
                  <a:cubicBezTo>
                    <a:pt x="48" y="73"/>
                    <a:pt x="39" y="77"/>
                    <a:pt x="29" y="81"/>
                  </a:cubicBezTo>
                  <a:cubicBezTo>
                    <a:pt x="26" y="81"/>
                    <a:pt x="25" y="81"/>
                    <a:pt x="24" y="78"/>
                  </a:cubicBezTo>
                  <a:cubicBezTo>
                    <a:pt x="23" y="76"/>
                    <a:pt x="24" y="75"/>
                    <a:pt x="26" y="74"/>
                  </a:cubicBezTo>
                  <a:cubicBezTo>
                    <a:pt x="36" y="71"/>
                    <a:pt x="44" y="68"/>
                    <a:pt x="50" y="63"/>
                  </a:cubicBezTo>
                  <a:cubicBezTo>
                    <a:pt x="45" y="59"/>
                    <a:pt x="40" y="51"/>
                    <a:pt x="34" y="40"/>
                  </a:cubicBezTo>
                  <a:cubicBezTo>
                    <a:pt x="33" y="38"/>
                    <a:pt x="33" y="37"/>
                    <a:pt x="35" y="35"/>
                  </a:cubicBezTo>
                  <a:cubicBezTo>
                    <a:pt x="33" y="35"/>
                    <a:pt x="33" y="35"/>
                    <a:pt x="33" y="35"/>
                  </a:cubicBezTo>
                  <a:cubicBezTo>
                    <a:pt x="32" y="35"/>
                    <a:pt x="31" y="34"/>
                    <a:pt x="30" y="32"/>
                  </a:cubicBezTo>
                  <a:cubicBezTo>
                    <a:pt x="31" y="29"/>
                    <a:pt x="32" y="28"/>
                    <a:pt x="34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15"/>
                    <a:pt x="51" y="15"/>
                    <a:pt x="5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29" y="15"/>
                    <a:pt x="28" y="14"/>
                    <a:pt x="28" y="12"/>
                  </a:cubicBezTo>
                  <a:cubicBezTo>
                    <a:pt x="28" y="10"/>
                    <a:pt x="29" y="9"/>
                    <a:pt x="31" y="8"/>
                  </a:cubicBezTo>
                  <a:cubicBezTo>
                    <a:pt x="51" y="8"/>
                    <a:pt x="51" y="8"/>
                    <a:pt x="51" y="8"/>
                  </a:cubicBezTo>
                  <a:cubicBezTo>
                    <a:pt x="51" y="3"/>
                    <a:pt x="51" y="3"/>
                    <a:pt x="51" y="3"/>
                  </a:cubicBezTo>
                  <a:cubicBezTo>
                    <a:pt x="51" y="1"/>
                    <a:pt x="52" y="0"/>
                    <a:pt x="55" y="0"/>
                  </a:cubicBezTo>
                  <a:cubicBezTo>
                    <a:pt x="57" y="0"/>
                    <a:pt x="58" y="1"/>
                    <a:pt x="58" y="3"/>
                  </a:cubicBezTo>
                  <a:close/>
                  <a:moveTo>
                    <a:pt x="70" y="35"/>
                  </a:moveTo>
                  <a:cubicBezTo>
                    <a:pt x="39" y="35"/>
                    <a:pt x="39" y="35"/>
                    <a:pt x="39" y="35"/>
                  </a:cubicBezTo>
                  <a:cubicBezTo>
                    <a:pt x="39" y="36"/>
                    <a:pt x="39" y="36"/>
                    <a:pt x="40" y="36"/>
                  </a:cubicBezTo>
                  <a:cubicBezTo>
                    <a:pt x="47" y="47"/>
                    <a:pt x="52" y="55"/>
                    <a:pt x="56" y="58"/>
                  </a:cubicBezTo>
                  <a:cubicBezTo>
                    <a:pt x="63" y="52"/>
                    <a:pt x="68" y="46"/>
                    <a:pt x="72" y="38"/>
                  </a:cubicBezTo>
                  <a:cubicBezTo>
                    <a:pt x="72" y="37"/>
                    <a:pt x="72" y="36"/>
                    <a:pt x="70" y="35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  <p:grpSp>
        <p:nvGrpSpPr>
          <p:cNvPr id="26" name="组合 25"/>
          <p:cNvGrpSpPr/>
          <p:nvPr userDrawn="1"/>
        </p:nvGrpSpPr>
        <p:grpSpPr>
          <a:xfrm>
            <a:off x="741424" y="4676044"/>
            <a:ext cx="5694681" cy="45719"/>
            <a:chOff x="777184" y="3817770"/>
            <a:chExt cx="5694681" cy="45719"/>
          </a:xfrm>
        </p:grpSpPr>
        <p:sp>
          <p:nvSpPr>
            <p:cNvPr id="27" name="矩形 26"/>
            <p:cNvSpPr/>
            <p:nvPr/>
          </p:nvSpPr>
          <p:spPr>
            <a:xfrm>
              <a:off x="777184" y="3817770"/>
              <a:ext cx="857551" cy="45719"/>
            </a:xfrm>
            <a:prstGeom prst="rect">
              <a:avLst/>
            </a:prstGeom>
            <a:solidFill>
              <a:srgbClr val="EA550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cxnSp>
          <p:nvCxnSpPr>
            <p:cNvPr id="28" name="直接连接符 27"/>
            <p:cNvCxnSpPr/>
            <p:nvPr/>
          </p:nvCxnSpPr>
          <p:spPr>
            <a:xfrm>
              <a:off x="1606260" y="3837412"/>
              <a:ext cx="4865605" cy="0"/>
            </a:xfrm>
            <a:prstGeom prst="line">
              <a:avLst/>
            </a:prstGeom>
            <a:ln w="22225">
              <a:gradFill flip="none" rotWithShape="1">
                <a:gsLst>
                  <a:gs pos="0">
                    <a:schemeClr val="accent1">
                      <a:lumMod val="5000"/>
                      <a:lumOff val="95000"/>
                      <a:alpha val="0"/>
                    </a:schemeClr>
                  </a:gs>
                  <a:gs pos="54000">
                    <a:schemeClr val="accent1">
                      <a:lumMod val="45000"/>
                      <a:lumOff val="55000"/>
                    </a:schemeClr>
                  </a:gs>
                  <a:gs pos="83000">
                    <a:srgbClr val="FB832D"/>
                  </a:gs>
                  <a:gs pos="100000">
                    <a:srgbClr val="EA5504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文本占位符 31"/>
          <p:cNvSpPr>
            <a:spLocks noGrp="1"/>
          </p:cNvSpPr>
          <p:nvPr>
            <p:ph type="body" sz="quarter" idx="10" hasCustomPrompt="1"/>
          </p:nvPr>
        </p:nvSpPr>
        <p:spPr>
          <a:xfrm>
            <a:off x="639824" y="1727200"/>
            <a:ext cx="7241433" cy="2802791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zh-CN" altLang="en-US" sz="5400" b="1" kern="2300" spc="240" dirty="0" smtClean="0">
                <a:ln w="15875">
                  <a:solidFill>
                    <a:schemeClr val="accent1"/>
                  </a:solidFill>
                </a:ln>
                <a:noFill/>
                <a:latin typeface="微软雅黑" panose="020B0503020204020204" charset="-122"/>
                <a:ea typeface="微软雅黑" panose="020B0503020204020204" charset="-122"/>
                <a:cs typeface="+mn-cs"/>
              </a:defRPr>
            </a:lvl1pPr>
            <a:lvl2pPr marL="457200" indent="0">
              <a:buNone/>
              <a:defRPr/>
            </a:lvl2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zh-CN" altLang="en-US"/>
              <a:t>平安集团</a:t>
            </a:r>
            <a:endParaRPr lang="en-US" altLang="zh-CN" dirty="0"/>
          </a:p>
        </p:txBody>
      </p:sp>
      <p:sp>
        <p:nvSpPr>
          <p:cNvPr id="31" name="文本占位符 2"/>
          <p:cNvSpPr>
            <a:spLocks noGrp="1"/>
          </p:cNvSpPr>
          <p:nvPr>
            <p:ph type="body" sz="quarter" idx="13" hasCustomPrompt="1"/>
          </p:nvPr>
        </p:nvSpPr>
        <p:spPr>
          <a:xfrm>
            <a:off x="628248" y="5553571"/>
            <a:ext cx="4612632" cy="24828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SzPct val="80000"/>
              <a:buFont typeface="+mj-ea"/>
              <a:buNone/>
              <a:defRPr lang="en-US" altLang="zh-CN" sz="14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defRPr>
            </a:lvl1pPr>
          </a:lstStyle>
          <a:p>
            <a:pPr marL="0" indent="0">
              <a:buNone/>
            </a:pPr>
            <a:r>
              <a:rPr lang="en-US" altLang="zh-CN" sz="1600" dirty="0">
                <a:latin typeface="微软雅黑" panose="020B0503020204020204" charset="-122"/>
                <a:ea typeface="微软雅黑" panose="020B0503020204020204" charset="-122"/>
              </a:rPr>
              <a:t>Speaker name and title</a:t>
            </a:r>
            <a:endParaRPr lang="en-US" altLang="zh-CN" sz="16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4" name="文本占位符 2"/>
          <p:cNvSpPr>
            <a:spLocks noGrp="1"/>
          </p:cNvSpPr>
          <p:nvPr>
            <p:ph type="body" sz="quarter" idx="14" hasCustomPrompt="1"/>
          </p:nvPr>
        </p:nvSpPr>
        <p:spPr>
          <a:xfrm>
            <a:off x="628248" y="5848201"/>
            <a:ext cx="4612632" cy="24828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SzPct val="80000"/>
              <a:buFont typeface="+mj-ea"/>
              <a:buNone/>
              <a:defRPr lang="en-US" altLang="zh-CN" sz="14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defRPr>
            </a:lvl1pPr>
          </a:lstStyle>
          <a:p>
            <a:pPr marL="0" indent="0">
              <a:buNone/>
            </a:pPr>
            <a:r>
              <a:rPr lang="en-US" altLang="en-US" sz="1600" dirty="0">
                <a:latin typeface="微软雅黑" panose="020B0503020204020204" charset="-122"/>
                <a:ea typeface="微软雅黑" panose="020B0503020204020204" charset="-122"/>
              </a:rPr>
              <a:t>D</a:t>
            </a:r>
            <a:r>
              <a:rPr lang="en-US" altLang="zh-CN" sz="1600" dirty="0">
                <a:latin typeface="微软雅黑" panose="020B0503020204020204" charset="-122"/>
                <a:ea typeface="微软雅黑" panose="020B0503020204020204" charset="-122"/>
              </a:rPr>
              <a:t>ate &amp; Time</a:t>
            </a:r>
            <a:endParaRPr lang="en-US" altLang="en-US" sz="16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D8AE3A-C62D-4AF0-9E0E-4E3C49938C44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79F964-9077-479C-84FE-FD00BAF75217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4-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8"/>
          <p:cNvSpPr>
            <a:spLocks noGrp="1"/>
          </p:cNvSpPr>
          <p:nvPr>
            <p:ph type="sldNum" sz="quarter" idx="10"/>
          </p:nvPr>
        </p:nvSpPr>
        <p:spPr>
          <a:xfrm>
            <a:off x="11287844" y="6289488"/>
            <a:ext cx="526143" cy="365125"/>
          </a:xfrm>
        </p:spPr>
        <p:txBody>
          <a:bodyPr/>
          <a:lstStyle/>
          <a:p>
            <a:fld id="{09321FF8-95CF-4FCD-B001-FA7673DD6BBC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5-章节隔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0" y="1"/>
            <a:ext cx="12185496" cy="6855118"/>
          </a:xfrm>
          <a:prstGeom prst="rect">
            <a:avLst/>
          </a:prstGeom>
          <a:gradFill flip="none" rotWithShape="1">
            <a:gsLst>
              <a:gs pos="6000">
                <a:srgbClr val="FEF6F4"/>
              </a:gs>
              <a:gs pos="23000">
                <a:srgbClr val="FFFCFB">
                  <a:alpha val="80000"/>
                </a:srgbClr>
              </a:gs>
              <a:gs pos="55000">
                <a:schemeClr val="bg1">
                  <a:alpha val="76000"/>
                </a:schemeClr>
              </a:gs>
              <a:gs pos="0">
                <a:srgbClr val="FDEEE9"/>
              </a:gs>
              <a:gs pos="87000">
                <a:schemeClr val="bg1">
                  <a:alpha val="76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1" name="文本占位符 29"/>
          <p:cNvSpPr>
            <a:spLocks noGrp="1"/>
          </p:cNvSpPr>
          <p:nvPr>
            <p:ph type="body" sz="quarter" idx="11" hasCustomPrompt="1"/>
          </p:nvPr>
        </p:nvSpPr>
        <p:spPr>
          <a:xfrm>
            <a:off x="1453621" y="2190334"/>
            <a:ext cx="3282643" cy="46166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buNone/>
              <a:defRPr lang="zh-CN" altLang="en-US" sz="2400" b="1" kern="1800" spc="110" dirty="0">
                <a:solidFill>
                  <a:schemeClr val="accent1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90204" pitchFamily="34" charset="0"/>
              </a:defRPr>
            </a:lvl1pPr>
          </a:lstStyle>
          <a:p>
            <a:pPr lvl="0"/>
            <a:r>
              <a:rPr lang="zh-CN" altLang="en-US" dirty="0"/>
              <a:t>章节标题</a:t>
            </a:r>
            <a:endParaRPr lang="zh-CN" altLang="en-US" dirty="0"/>
          </a:p>
        </p:txBody>
      </p:sp>
      <p:grpSp>
        <p:nvGrpSpPr>
          <p:cNvPr id="22" name="组合 21"/>
          <p:cNvGrpSpPr/>
          <p:nvPr/>
        </p:nvGrpSpPr>
        <p:grpSpPr>
          <a:xfrm>
            <a:off x="701506" y="2698605"/>
            <a:ext cx="2784066" cy="45719"/>
            <a:chOff x="777185" y="3817770"/>
            <a:chExt cx="2784066" cy="45719"/>
          </a:xfrm>
        </p:grpSpPr>
        <p:sp>
          <p:nvSpPr>
            <p:cNvPr id="25" name="矩形 24"/>
            <p:cNvSpPr/>
            <p:nvPr/>
          </p:nvSpPr>
          <p:spPr>
            <a:xfrm>
              <a:off x="777185" y="3817770"/>
              <a:ext cx="644526" cy="45719"/>
            </a:xfrm>
            <a:prstGeom prst="rect">
              <a:avLst/>
            </a:prstGeom>
            <a:solidFill>
              <a:srgbClr val="EA550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cxnSp>
          <p:nvCxnSpPr>
            <p:cNvPr id="26" name="直接连接符 25"/>
            <p:cNvCxnSpPr/>
            <p:nvPr/>
          </p:nvCxnSpPr>
          <p:spPr>
            <a:xfrm>
              <a:off x="1398615" y="3840629"/>
              <a:ext cx="2162636" cy="0"/>
            </a:xfrm>
            <a:prstGeom prst="line">
              <a:avLst/>
            </a:prstGeom>
            <a:ln w="22225">
              <a:gradFill flip="none" rotWithShape="1">
                <a:gsLst>
                  <a:gs pos="0">
                    <a:schemeClr val="accent1">
                      <a:lumMod val="5000"/>
                      <a:lumOff val="95000"/>
                      <a:alpha val="0"/>
                    </a:schemeClr>
                  </a:gs>
                  <a:gs pos="54000">
                    <a:srgbClr val="FFC000"/>
                  </a:gs>
                  <a:gs pos="83000">
                    <a:srgbClr val="FB832D"/>
                  </a:gs>
                  <a:gs pos="100000">
                    <a:srgbClr val="EA5504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任意多边形: 形状 7"/>
          <p:cNvSpPr/>
          <p:nvPr userDrawn="1"/>
        </p:nvSpPr>
        <p:spPr>
          <a:xfrm>
            <a:off x="5552100" y="0"/>
            <a:ext cx="6672969" cy="6855118"/>
          </a:xfrm>
          <a:custGeom>
            <a:avLst/>
            <a:gdLst>
              <a:gd name="connsiteX0" fmla="*/ 3417208 w 6672969"/>
              <a:gd name="connsiteY0" fmla="*/ 0 h 6855118"/>
              <a:gd name="connsiteX1" fmla="*/ 6672969 w 6672969"/>
              <a:gd name="connsiteY1" fmla="*/ 0 h 6855118"/>
              <a:gd name="connsiteX2" fmla="*/ 6672969 w 6672969"/>
              <a:gd name="connsiteY2" fmla="*/ 6855118 h 6855118"/>
              <a:gd name="connsiteX3" fmla="*/ 0 w 6672969"/>
              <a:gd name="connsiteY3" fmla="*/ 6855118 h 685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72969" h="6855118">
                <a:moveTo>
                  <a:pt x="3417208" y="0"/>
                </a:moveTo>
                <a:lnTo>
                  <a:pt x="6672969" y="0"/>
                </a:lnTo>
                <a:lnTo>
                  <a:pt x="6672969" y="6855118"/>
                </a:lnTo>
                <a:lnTo>
                  <a:pt x="0" y="685511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pic>
        <p:nvPicPr>
          <p:cNvPr id="9" name="图片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506720" y="1399720"/>
            <a:ext cx="6685280" cy="5458280"/>
          </a:xfrm>
          <a:custGeom>
            <a:avLst/>
            <a:gdLst>
              <a:gd name="connsiteX0" fmla="*/ 2932311 w 6685280"/>
              <a:gd name="connsiteY0" fmla="*/ 2241 h 5458280"/>
              <a:gd name="connsiteX1" fmla="*/ 3027680 w 6685280"/>
              <a:gd name="connsiteY1" fmla="*/ 2360 h 5458280"/>
              <a:gd name="connsiteX2" fmla="*/ 3769360 w 6685280"/>
              <a:gd name="connsiteY2" fmla="*/ 12520 h 5458280"/>
              <a:gd name="connsiteX3" fmla="*/ 4084320 w 6685280"/>
              <a:gd name="connsiteY3" fmla="*/ 286840 h 5458280"/>
              <a:gd name="connsiteX4" fmla="*/ 6685280 w 6685280"/>
              <a:gd name="connsiteY4" fmla="*/ 5458280 h 5458280"/>
              <a:gd name="connsiteX5" fmla="*/ 4201160 w 6685280"/>
              <a:gd name="connsiteY5" fmla="*/ 5458280 h 5458280"/>
              <a:gd name="connsiteX6" fmla="*/ 4201160 w 6685280"/>
              <a:gd name="connsiteY6" fmla="*/ 4110784 h 5458280"/>
              <a:gd name="connsiteX7" fmla="*/ 4072917 w 6685280"/>
              <a:gd name="connsiteY7" fmla="*/ 3982541 h 5458280"/>
              <a:gd name="connsiteX8" fmla="*/ 2637763 w 6685280"/>
              <a:gd name="connsiteY8" fmla="*/ 3982541 h 5458280"/>
              <a:gd name="connsiteX9" fmla="*/ 2509520 w 6685280"/>
              <a:gd name="connsiteY9" fmla="*/ 4110784 h 5458280"/>
              <a:gd name="connsiteX10" fmla="*/ 2509520 w 6685280"/>
              <a:gd name="connsiteY10" fmla="*/ 5458280 h 5458280"/>
              <a:gd name="connsiteX11" fmla="*/ 0 w 6685280"/>
              <a:gd name="connsiteY11" fmla="*/ 5458280 h 5458280"/>
              <a:gd name="connsiteX12" fmla="*/ 2604770 w 6685280"/>
              <a:gd name="connsiteY12" fmla="*/ 341450 h 5458280"/>
              <a:gd name="connsiteX13" fmla="*/ 2932311 w 6685280"/>
              <a:gd name="connsiteY13" fmla="*/ 2241 h 5458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685280" h="5458280">
                <a:moveTo>
                  <a:pt x="2932311" y="2241"/>
                </a:moveTo>
                <a:cubicBezTo>
                  <a:pt x="2960826" y="-716"/>
                  <a:pt x="2992437" y="-815"/>
                  <a:pt x="3027680" y="2360"/>
                </a:cubicBezTo>
                <a:lnTo>
                  <a:pt x="3769360" y="12520"/>
                </a:lnTo>
                <a:cubicBezTo>
                  <a:pt x="3889587" y="4900"/>
                  <a:pt x="3948853" y="31570"/>
                  <a:pt x="4084320" y="286840"/>
                </a:cubicBezTo>
                <a:lnTo>
                  <a:pt x="6685280" y="5458280"/>
                </a:lnTo>
                <a:lnTo>
                  <a:pt x="4201160" y="5458280"/>
                </a:lnTo>
                <a:lnTo>
                  <a:pt x="4201160" y="4110784"/>
                </a:lnTo>
                <a:cubicBezTo>
                  <a:pt x="4201160" y="4039957"/>
                  <a:pt x="4143744" y="3982541"/>
                  <a:pt x="4072917" y="3982541"/>
                </a:cubicBezTo>
                <a:lnTo>
                  <a:pt x="2637763" y="3982541"/>
                </a:lnTo>
                <a:cubicBezTo>
                  <a:pt x="2566936" y="3982541"/>
                  <a:pt x="2509520" y="4039957"/>
                  <a:pt x="2509520" y="4110784"/>
                </a:cubicBezTo>
                <a:lnTo>
                  <a:pt x="2509520" y="5458280"/>
                </a:lnTo>
                <a:lnTo>
                  <a:pt x="0" y="5458280"/>
                </a:lnTo>
                <a:lnTo>
                  <a:pt x="2604770" y="341450"/>
                </a:lnTo>
                <a:cubicBezTo>
                  <a:pt x="2684780" y="183653"/>
                  <a:pt x="2732703" y="22938"/>
                  <a:pt x="2932311" y="2241"/>
                </a:cubicBezTo>
                <a:close/>
              </a:path>
            </a:pathLst>
          </a:custGeom>
        </p:spPr>
      </p:pic>
      <p:grpSp>
        <p:nvGrpSpPr>
          <p:cNvPr id="10" name="组合 9"/>
          <p:cNvGrpSpPr/>
          <p:nvPr userDrawn="1"/>
        </p:nvGrpSpPr>
        <p:grpSpPr>
          <a:xfrm>
            <a:off x="9753600" y="566798"/>
            <a:ext cx="1765300" cy="294216"/>
            <a:chOff x="660400" y="492126"/>
            <a:chExt cx="3257550" cy="542924"/>
          </a:xfrm>
        </p:grpSpPr>
        <p:sp>
          <p:nvSpPr>
            <p:cNvPr id="11" name="Freeform 5"/>
            <p:cNvSpPr>
              <a:spLocks noEditPoints="1"/>
            </p:cNvSpPr>
            <p:nvPr/>
          </p:nvSpPr>
          <p:spPr bwMode="auto">
            <a:xfrm>
              <a:off x="660400" y="492126"/>
              <a:ext cx="3257550" cy="285750"/>
            </a:xfrm>
            <a:custGeom>
              <a:avLst/>
              <a:gdLst>
                <a:gd name="T0" fmla="*/ 1282 w 1998"/>
                <a:gd name="T1" fmla="*/ 16 h 174"/>
                <a:gd name="T2" fmla="*/ 1247 w 1998"/>
                <a:gd name="T3" fmla="*/ 166 h 174"/>
                <a:gd name="T4" fmla="*/ 1376 w 1998"/>
                <a:gd name="T5" fmla="*/ 167 h 174"/>
                <a:gd name="T6" fmla="*/ 1409 w 1998"/>
                <a:gd name="T7" fmla="*/ 17 h 174"/>
                <a:gd name="T8" fmla="*/ 1184 w 1998"/>
                <a:gd name="T9" fmla="*/ 166 h 174"/>
                <a:gd name="T10" fmla="*/ 1214 w 1998"/>
                <a:gd name="T11" fmla="*/ 13 h 174"/>
                <a:gd name="T12" fmla="*/ 1122 w 1998"/>
                <a:gd name="T13" fmla="*/ 41 h 174"/>
                <a:gd name="T14" fmla="*/ 1007 w 1998"/>
                <a:gd name="T15" fmla="*/ 17 h 174"/>
                <a:gd name="T16" fmla="*/ 1042 w 1998"/>
                <a:gd name="T17" fmla="*/ 122 h 174"/>
                <a:gd name="T18" fmla="*/ 1994 w 1998"/>
                <a:gd name="T19" fmla="*/ 13 h 174"/>
                <a:gd name="T20" fmla="*/ 1863 w 1998"/>
                <a:gd name="T21" fmla="*/ 13 h 174"/>
                <a:gd name="T22" fmla="*/ 1840 w 1998"/>
                <a:gd name="T23" fmla="*/ 170 h 174"/>
                <a:gd name="T24" fmla="*/ 1971 w 1998"/>
                <a:gd name="T25" fmla="*/ 170 h 174"/>
                <a:gd name="T26" fmla="*/ 1994 w 1998"/>
                <a:gd name="T27" fmla="*/ 13 h 174"/>
                <a:gd name="T28" fmla="*/ 1488 w 1998"/>
                <a:gd name="T29" fmla="*/ 172 h 174"/>
                <a:gd name="T30" fmla="*/ 1513 w 1998"/>
                <a:gd name="T31" fmla="*/ 104 h 174"/>
                <a:gd name="T32" fmla="*/ 1471 w 1998"/>
                <a:gd name="T33" fmla="*/ 142 h 174"/>
                <a:gd name="T34" fmla="*/ 1562 w 1998"/>
                <a:gd name="T35" fmla="*/ 44 h 174"/>
                <a:gd name="T36" fmla="*/ 1596 w 1998"/>
                <a:gd name="T37" fmla="*/ 58 h 174"/>
                <a:gd name="T38" fmla="*/ 767 w 1998"/>
                <a:gd name="T39" fmla="*/ 112 h 174"/>
                <a:gd name="T40" fmla="*/ 894 w 1998"/>
                <a:gd name="T41" fmla="*/ 65 h 174"/>
                <a:gd name="T42" fmla="*/ 832 w 1998"/>
                <a:gd name="T43" fmla="*/ 51 h 174"/>
                <a:gd name="T44" fmla="*/ 731 w 1998"/>
                <a:gd name="T45" fmla="*/ 48 h 174"/>
                <a:gd name="T46" fmla="*/ 692 w 1998"/>
                <a:gd name="T47" fmla="*/ 85 h 174"/>
                <a:gd name="T48" fmla="*/ 767 w 1998"/>
                <a:gd name="T49" fmla="*/ 138 h 174"/>
                <a:gd name="T50" fmla="*/ 700 w 1998"/>
                <a:gd name="T51" fmla="*/ 170 h 174"/>
                <a:gd name="T52" fmla="*/ 859 w 1998"/>
                <a:gd name="T53" fmla="*/ 170 h 174"/>
                <a:gd name="T54" fmla="*/ 859 w 1998"/>
                <a:gd name="T55" fmla="*/ 146 h 174"/>
                <a:gd name="T56" fmla="*/ 894 w 1998"/>
                <a:gd name="T57" fmla="*/ 89 h 174"/>
                <a:gd name="T58" fmla="*/ 1740 w 1998"/>
                <a:gd name="T59" fmla="*/ 13 h 174"/>
                <a:gd name="T60" fmla="*/ 1663 w 1998"/>
                <a:gd name="T61" fmla="*/ 170 h 174"/>
                <a:gd name="T62" fmla="*/ 1816 w 1998"/>
                <a:gd name="T63" fmla="*/ 170 h 174"/>
                <a:gd name="T64" fmla="*/ 597 w 1998"/>
                <a:gd name="T65" fmla="*/ 98 h 174"/>
                <a:gd name="T66" fmla="*/ 654 w 1998"/>
                <a:gd name="T67" fmla="*/ 46 h 174"/>
                <a:gd name="T68" fmla="*/ 416 w 1998"/>
                <a:gd name="T69" fmla="*/ 28 h 174"/>
                <a:gd name="T70" fmla="*/ 239 w 1998"/>
                <a:gd name="T71" fmla="*/ 148 h 174"/>
                <a:gd name="T72" fmla="*/ 423 w 1998"/>
                <a:gd name="T73" fmla="*/ 6 h 174"/>
                <a:gd name="T74" fmla="*/ 872 w 1998"/>
                <a:gd name="T75" fmla="*/ 34 h 174"/>
                <a:gd name="T76" fmla="*/ 897 w 1998"/>
                <a:gd name="T77" fmla="*/ 32 h 174"/>
                <a:gd name="T78" fmla="*/ 782 w 1998"/>
                <a:gd name="T79" fmla="*/ 0 h 174"/>
                <a:gd name="T80" fmla="*/ 693 w 1998"/>
                <a:gd name="T81" fmla="*/ 45 h 174"/>
                <a:gd name="T82" fmla="*/ 179 w 1998"/>
                <a:gd name="T83" fmla="*/ 49 h 174"/>
                <a:gd name="T84" fmla="*/ 88 w 1998"/>
                <a:gd name="T85" fmla="*/ 49 h 174"/>
                <a:gd name="T86" fmla="*/ 118 w 1998"/>
                <a:gd name="T87" fmla="*/ 1 h 174"/>
                <a:gd name="T88" fmla="*/ 0 w 1998"/>
                <a:gd name="T89" fmla="*/ 46 h 174"/>
                <a:gd name="T90" fmla="*/ 91 w 1998"/>
                <a:gd name="T91" fmla="*/ 174 h 174"/>
                <a:gd name="T92" fmla="*/ 210 w 1998"/>
                <a:gd name="T93" fmla="*/ 118 h 174"/>
                <a:gd name="T94" fmla="*/ 379 w 1998"/>
                <a:gd name="T95" fmla="*/ 112 h 174"/>
                <a:gd name="T96" fmla="*/ 357 w 1998"/>
                <a:gd name="T97" fmla="*/ 75 h 174"/>
                <a:gd name="T98" fmla="*/ 284 w 1998"/>
                <a:gd name="T99" fmla="*/ 61 h 174"/>
                <a:gd name="T100" fmla="*/ 328 w 1998"/>
                <a:gd name="T101" fmla="*/ 93 h 174"/>
                <a:gd name="T102" fmla="*/ 401 w 1998"/>
                <a:gd name="T103" fmla="*/ 104 h 174"/>
                <a:gd name="T104" fmla="*/ 512 w 1998"/>
                <a:gd name="T105" fmla="*/ 46 h 174"/>
                <a:gd name="T106" fmla="*/ 669 w 1998"/>
                <a:gd name="T107" fmla="*/ 115 h 174"/>
                <a:gd name="T108" fmla="*/ 666 w 1998"/>
                <a:gd name="T109" fmla="*/ 14 h 174"/>
                <a:gd name="T110" fmla="*/ 479 w 1998"/>
                <a:gd name="T111" fmla="*/ 33 h 174"/>
                <a:gd name="T112" fmla="*/ 469 w 1998"/>
                <a:gd name="T113" fmla="*/ 135 h 174"/>
                <a:gd name="T114" fmla="*/ 583 w 1998"/>
                <a:gd name="T115" fmla="*/ 174 h 174"/>
                <a:gd name="T116" fmla="*/ 673 w 1998"/>
                <a:gd name="T117" fmla="*/ 119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98" h="174">
                  <a:moveTo>
                    <a:pt x="1405" y="13"/>
                  </a:moveTo>
                  <a:cubicBezTo>
                    <a:pt x="1382" y="13"/>
                    <a:pt x="1382" y="13"/>
                    <a:pt x="1382" y="13"/>
                  </a:cubicBezTo>
                  <a:cubicBezTo>
                    <a:pt x="1379" y="13"/>
                    <a:pt x="1378" y="15"/>
                    <a:pt x="1378" y="17"/>
                  </a:cubicBezTo>
                  <a:cubicBezTo>
                    <a:pt x="1378" y="125"/>
                    <a:pt x="1378" y="125"/>
                    <a:pt x="1378" y="125"/>
                  </a:cubicBezTo>
                  <a:cubicBezTo>
                    <a:pt x="1365" y="111"/>
                    <a:pt x="1284" y="18"/>
                    <a:pt x="1282" y="16"/>
                  </a:cubicBezTo>
                  <a:cubicBezTo>
                    <a:pt x="1279" y="13"/>
                    <a:pt x="1276" y="13"/>
                    <a:pt x="1275" y="13"/>
                  </a:cubicBezTo>
                  <a:cubicBezTo>
                    <a:pt x="1275" y="13"/>
                    <a:pt x="1275" y="13"/>
                    <a:pt x="1275" y="13"/>
                  </a:cubicBezTo>
                  <a:cubicBezTo>
                    <a:pt x="1251" y="13"/>
                    <a:pt x="1251" y="13"/>
                    <a:pt x="1251" y="13"/>
                  </a:cubicBezTo>
                  <a:cubicBezTo>
                    <a:pt x="1249" y="13"/>
                    <a:pt x="1247" y="15"/>
                    <a:pt x="1247" y="17"/>
                  </a:cubicBezTo>
                  <a:cubicBezTo>
                    <a:pt x="1247" y="166"/>
                    <a:pt x="1247" y="166"/>
                    <a:pt x="1247" y="166"/>
                  </a:cubicBezTo>
                  <a:cubicBezTo>
                    <a:pt x="1247" y="168"/>
                    <a:pt x="1249" y="170"/>
                    <a:pt x="1251" y="170"/>
                  </a:cubicBezTo>
                  <a:cubicBezTo>
                    <a:pt x="1275" y="170"/>
                    <a:pt x="1275" y="170"/>
                    <a:pt x="1275" y="170"/>
                  </a:cubicBezTo>
                  <a:cubicBezTo>
                    <a:pt x="1277" y="170"/>
                    <a:pt x="1279" y="168"/>
                    <a:pt x="1279" y="166"/>
                  </a:cubicBezTo>
                  <a:cubicBezTo>
                    <a:pt x="1279" y="57"/>
                    <a:pt x="1279" y="57"/>
                    <a:pt x="1279" y="57"/>
                  </a:cubicBezTo>
                  <a:cubicBezTo>
                    <a:pt x="1287" y="67"/>
                    <a:pt x="1373" y="165"/>
                    <a:pt x="1376" y="167"/>
                  </a:cubicBezTo>
                  <a:cubicBezTo>
                    <a:pt x="1378" y="169"/>
                    <a:pt x="1381" y="170"/>
                    <a:pt x="1383" y="170"/>
                  </a:cubicBezTo>
                  <a:cubicBezTo>
                    <a:pt x="1383" y="170"/>
                    <a:pt x="1383" y="170"/>
                    <a:pt x="1383" y="170"/>
                  </a:cubicBezTo>
                  <a:cubicBezTo>
                    <a:pt x="1405" y="170"/>
                    <a:pt x="1405" y="170"/>
                    <a:pt x="1405" y="170"/>
                  </a:cubicBezTo>
                  <a:cubicBezTo>
                    <a:pt x="1407" y="170"/>
                    <a:pt x="1409" y="168"/>
                    <a:pt x="1409" y="166"/>
                  </a:cubicBezTo>
                  <a:cubicBezTo>
                    <a:pt x="1409" y="17"/>
                    <a:pt x="1409" y="17"/>
                    <a:pt x="1409" y="17"/>
                  </a:cubicBezTo>
                  <a:cubicBezTo>
                    <a:pt x="1409" y="15"/>
                    <a:pt x="1407" y="13"/>
                    <a:pt x="1405" y="13"/>
                  </a:cubicBezTo>
                  <a:moveTo>
                    <a:pt x="1214" y="13"/>
                  </a:moveTo>
                  <a:cubicBezTo>
                    <a:pt x="1188" y="13"/>
                    <a:pt x="1188" y="13"/>
                    <a:pt x="1188" y="13"/>
                  </a:cubicBezTo>
                  <a:cubicBezTo>
                    <a:pt x="1186" y="13"/>
                    <a:pt x="1184" y="15"/>
                    <a:pt x="1184" y="17"/>
                  </a:cubicBezTo>
                  <a:cubicBezTo>
                    <a:pt x="1184" y="166"/>
                    <a:pt x="1184" y="166"/>
                    <a:pt x="1184" y="166"/>
                  </a:cubicBezTo>
                  <a:cubicBezTo>
                    <a:pt x="1184" y="168"/>
                    <a:pt x="1186" y="170"/>
                    <a:pt x="1188" y="170"/>
                  </a:cubicBezTo>
                  <a:cubicBezTo>
                    <a:pt x="1214" y="170"/>
                    <a:pt x="1214" y="170"/>
                    <a:pt x="1214" y="170"/>
                  </a:cubicBezTo>
                  <a:cubicBezTo>
                    <a:pt x="1216" y="170"/>
                    <a:pt x="1218" y="168"/>
                    <a:pt x="1218" y="166"/>
                  </a:cubicBezTo>
                  <a:cubicBezTo>
                    <a:pt x="1218" y="17"/>
                    <a:pt x="1218" y="17"/>
                    <a:pt x="1218" y="17"/>
                  </a:cubicBezTo>
                  <a:cubicBezTo>
                    <a:pt x="1218" y="15"/>
                    <a:pt x="1216" y="13"/>
                    <a:pt x="1214" y="13"/>
                  </a:cubicBezTo>
                  <a:moveTo>
                    <a:pt x="1125" y="91"/>
                  </a:moveTo>
                  <a:cubicBezTo>
                    <a:pt x="1125" y="93"/>
                    <a:pt x="1124" y="94"/>
                    <a:pt x="1122" y="94"/>
                  </a:cubicBezTo>
                  <a:cubicBezTo>
                    <a:pt x="1042" y="94"/>
                    <a:pt x="1042" y="94"/>
                    <a:pt x="1042" y="94"/>
                  </a:cubicBezTo>
                  <a:cubicBezTo>
                    <a:pt x="1042" y="41"/>
                    <a:pt x="1042" y="41"/>
                    <a:pt x="1042" y="41"/>
                  </a:cubicBezTo>
                  <a:cubicBezTo>
                    <a:pt x="1122" y="41"/>
                    <a:pt x="1122" y="41"/>
                    <a:pt x="1122" y="41"/>
                  </a:cubicBezTo>
                  <a:cubicBezTo>
                    <a:pt x="1124" y="41"/>
                    <a:pt x="1125" y="42"/>
                    <a:pt x="1125" y="44"/>
                  </a:cubicBezTo>
                  <a:lnTo>
                    <a:pt x="1125" y="91"/>
                  </a:lnTo>
                  <a:close/>
                  <a:moveTo>
                    <a:pt x="1108" y="13"/>
                  </a:moveTo>
                  <a:cubicBezTo>
                    <a:pt x="1011" y="13"/>
                    <a:pt x="1011" y="13"/>
                    <a:pt x="1011" y="13"/>
                  </a:cubicBezTo>
                  <a:cubicBezTo>
                    <a:pt x="1009" y="13"/>
                    <a:pt x="1007" y="15"/>
                    <a:pt x="1007" y="17"/>
                  </a:cubicBezTo>
                  <a:cubicBezTo>
                    <a:pt x="1007" y="166"/>
                    <a:pt x="1007" y="166"/>
                    <a:pt x="1007" y="166"/>
                  </a:cubicBezTo>
                  <a:cubicBezTo>
                    <a:pt x="1007" y="168"/>
                    <a:pt x="1009" y="170"/>
                    <a:pt x="1011" y="170"/>
                  </a:cubicBezTo>
                  <a:cubicBezTo>
                    <a:pt x="1038" y="170"/>
                    <a:pt x="1038" y="170"/>
                    <a:pt x="1038" y="170"/>
                  </a:cubicBezTo>
                  <a:cubicBezTo>
                    <a:pt x="1040" y="170"/>
                    <a:pt x="1042" y="168"/>
                    <a:pt x="1042" y="166"/>
                  </a:cubicBezTo>
                  <a:cubicBezTo>
                    <a:pt x="1042" y="122"/>
                    <a:pt x="1042" y="122"/>
                    <a:pt x="1042" y="122"/>
                  </a:cubicBezTo>
                  <a:cubicBezTo>
                    <a:pt x="1108" y="122"/>
                    <a:pt x="1108" y="122"/>
                    <a:pt x="1108" y="122"/>
                  </a:cubicBezTo>
                  <a:cubicBezTo>
                    <a:pt x="1137" y="122"/>
                    <a:pt x="1161" y="104"/>
                    <a:pt x="1161" y="78"/>
                  </a:cubicBezTo>
                  <a:cubicBezTo>
                    <a:pt x="1161" y="61"/>
                    <a:pt x="1161" y="61"/>
                    <a:pt x="1161" y="61"/>
                  </a:cubicBezTo>
                  <a:cubicBezTo>
                    <a:pt x="1161" y="34"/>
                    <a:pt x="1137" y="13"/>
                    <a:pt x="1108" y="13"/>
                  </a:cubicBezTo>
                  <a:moveTo>
                    <a:pt x="1994" y="13"/>
                  </a:moveTo>
                  <a:cubicBezTo>
                    <a:pt x="1970" y="13"/>
                    <a:pt x="1970" y="13"/>
                    <a:pt x="1970" y="13"/>
                  </a:cubicBezTo>
                  <a:cubicBezTo>
                    <a:pt x="1968" y="13"/>
                    <a:pt x="1967" y="15"/>
                    <a:pt x="1967" y="17"/>
                  </a:cubicBezTo>
                  <a:cubicBezTo>
                    <a:pt x="1967" y="125"/>
                    <a:pt x="1967" y="125"/>
                    <a:pt x="1967" y="125"/>
                  </a:cubicBezTo>
                  <a:cubicBezTo>
                    <a:pt x="1954" y="111"/>
                    <a:pt x="1872" y="18"/>
                    <a:pt x="1870" y="16"/>
                  </a:cubicBezTo>
                  <a:cubicBezTo>
                    <a:pt x="1868" y="13"/>
                    <a:pt x="1865" y="13"/>
                    <a:pt x="1863" y="13"/>
                  </a:cubicBezTo>
                  <a:cubicBezTo>
                    <a:pt x="1863" y="13"/>
                    <a:pt x="1863" y="13"/>
                    <a:pt x="1863" y="13"/>
                  </a:cubicBezTo>
                  <a:cubicBezTo>
                    <a:pt x="1840" y="13"/>
                    <a:pt x="1840" y="13"/>
                    <a:pt x="1840" y="13"/>
                  </a:cubicBezTo>
                  <a:cubicBezTo>
                    <a:pt x="1838" y="13"/>
                    <a:pt x="1836" y="15"/>
                    <a:pt x="1836" y="17"/>
                  </a:cubicBezTo>
                  <a:cubicBezTo>
                    <a:pt x="1836" y="166"/>
                    <a:pt x="1836" y="166"/>
                    <a:pt x="1836" y="166"/>
                  </a:cubicBezTo>
                  <a:cubicBezTo>
                    <a:pt x="1836" y="168"/>
                    <a:pt x="1838" y="170"/>
                    <a:pt x="1840" y="170"/>
                  </a:cubicBezTo>
                  <a:cubicBezTo>
                    <a:pt x="1864" y="170"/>
                    <a:pt x="1864" y="170"/>
                    <a:pt x="1864" y="170"/>
                  </a:cubicBezTo>
                  <a:cubicBezTo>
                    <a:pt x="1866" y="170"/>
                    <a:pt x="1867" y="168"/>
                    <a:pt x="1867" y="166"/>
                  </a:cubicBezTo>
                  <a:cubicBezTo>
                    <a:pt x="1867" y="57"/>
                    <a:pt x="1867" y="57"/>
                    <a:pt x="1867" y="57"/>
                  </a:cubicBezTo>
                  <a:cubicBezTo>
                    <a:pt x="1876" y="67"/>
                    <a:pt x="1962" y="165"/>
                    <a:pt x="1964" y="167"/>
                  </a:cubicBezTo>
                  <a:cubicBezTo>
                    <a:pt x="1967" y="169"/>
                    <a:pt x="1969" y="170"/>
                    <a:pt x="1971" y="170"/>
                  </a:cubicBezTo>
                  <a:cubicBezTo>
                    <a:pt x="1971" y="170"/>
                    <a:pt x="1971" y="170"/>
                    <a:pt x="1971" y="170"/>
                  </a:cubicBezTo>
                  <a:cubicBezTo>
                    <a:pt x="1994" y="170"/>
                    <a:pt x="1994" y="170"/>
                    <a:pt x="1994" y="170"/>
                  </a:cubicBezTo>
                  <a:cubicBezTo>
                    <a:pt x="1996" y="170"/>
                    <a:pt x="1998" y="168"/>
                    <a:pt x="1998" y="166"/>
                  </a:cubicBezTo>
                  <a:cubicBezTo>
                    <a:pt x="1998" y="17"/>
                    <a:pt x="1998" y="17"/>
                    <a:pt x="1998" y="17"/>
                  </a:cubicBezTo>
                  <a:cubicBezTo>
                    <a:pt x="1998" y="15"/>
                    <a:pt x="1996" y="13"/>
                    <a:pt x="1994" y="13"/>
                  </a:cubicBezTo>
                  <a:moveTo>
                    <a:pt x="1542" y="11"/>
                  </a:moveTo>
                  <a:cubicBezTo>
                    <a:pt x="1488" y="11"/>
                    <a:pt x="1488" y="11"/>
                    <a:pt x="1488" y="11"/>
                  </a:cubicBezTo>
                  <a:cubicBezTo>
                    <a:pt x="1458" y="11"/>
                    <a:pt x="1434" y="32"/>
                    <a:pt x="1434" y="58"/>
                  </a:cubicBezTo>
                  <a:cubicBezTo>
                    <a:pt x="1434" y="124"/>
                    <a:pt x="1434" y="124"/>
                    <a:pt x="1434" y="124"/>
                  </a:cubicBezTo>
                  <a:cubicBezTo>
                    <a:pt x="1434" y="150"/>
                    <a:pt x="1458" y="172"/>
                    <a:pt x="1488" y="172"/>
                  </a:cubicBezTo>
                  <a:cubicBezTo>
                    <a:pt x="1542" y="172"/>
                    <a:pt x="1542" y="172"/>
                    <a:pt x="1542" y="172"/>
                  </a:cubicBezTo>
                  <a:cubicBezTo>
                    <a:pt x="1572" y="172"/>
                    <a:pt x="1596" y="150"/>
                    <a:pt x="1596" y="124"/>
                  </a:cubicBezTo>
                  <a:cubicBezTo>
                    <a:pt x="1596" y="82"/>
                    <a:pt x="1596" y="82"/>
                    <a:pt x="1596" y="82"/>
                  </a:cubicBezTo>
                  <a:cubicBezTo>
                    <a:pt x="1513" y="82"/>
                    <a:pt x="1513" y="82"/>
                    <a:pt x="1513" y="82"/>
                  </a:cubicBezTo>
                  <a:cubicBezTo>
                    <a:pt x="1513" y="104"/>
                    <a:pt x="1513" y="104"/>
                    <a:pt x="1513" y="104"/>
                  </a:cubicBezTo>
                  <a:cubicBezTo>
                    <a:pt x="1513" y="106"/>
                    <a:pt x="1515" y="108"/>
                    <a:pt x="1517" y="108"/>
                  </a:cubicBezTo>
                  <a:cubicBezTo>
                    <a:pt x="1562" y="108"/>
                    <a:pt x="1562" y="108"/>
                    <a:pt x="1562" y="108"/>
                  </a:cubicBezTo>
                  <a:cubicBezTo>
                    <a:pt x="1562" y="138"/>
                    <a:pt x="1562" y="138"/>
                    <a:pt x="1562" y="138"/>
                  </a:cubicBezTo>
                  <a:cubicBezTo>
                    <a:pt x="1562" y="140"/>
                    <a:pt x="1560" y="142"/>
                    <a:pt x="1558" y="142"/>
                  </a:cubicBezTo>
                  <a:cubicBezTo>
                    <a:pt x="1471" y="142"/>
                    <a:pt x="1471" y="142"/>
                    <a:pt x="1471" y="142"/>
                  </a:cubicBezTo>
                  <a:cubicBezTo>
                    <a:pt x="1469" y="142"/>
                    <a:pt x="1468" y="140"/>
                    <a:pt x="1468" y="138"/>
                  </a:cubicBezTo>
                  <a:cubicBezTo>
                    <a:pt x="1468" y="44"/>
                    <a:pt x="1468" y="44"/>
                    <a:pt x="1468" y="44"/>
                  </a:cubicBezTo>
                  <a:cubicBezTo>
                    <a:pt x="1468" y="42"/>
                    <a:pt x="1469" y="41"/>
                    <a:pt x="1471" y="41"/>
                  </a:cubicBezTo>
                  <a:cubicBezTo>
                    <a:pt x="1558" y="41"/>
                    <a:pt x="1558" y="41"/>
                    <a:pt x="1558" y="41"/>
                  </a:cubicBezTo>
                  <a:cubicBezTo>
                    <a:pt x="1560" y="41"/>
                    <a:pt x="1562" y="42"/>
                    <a:pt x="1562" y="44"/>
                  </a:cubicBezTo>
                  <a:cubicBezTo>
                    <a:pt x="1562" y="62"/>
                    <a:pt x="1562" y="62"/>
                    <a:pt x="1562" y="62"/>
                  </a:cubicBezTo>
                  <a:cubicBezTo>
                    <a:pt x="1562" y="64"/>
                    <a:pt x="1564" y="66"/>
                    <a:pt x="1566" y="66"/>
                  </a:cubicBezTo>
                  <a:cubicBezTo>
                    <a:pt x="1592" y="66"/>
                    <a:pt x="1592" y="66"/>
                    <a:pt x="1592" y="66"/>
                  </a:cubicBezTo>
                  <a:cubicBezTo>
                    <a:pt x="1594" y="66"/>
                    <a:pt x="1596" y="64"/>
                    <a:pt x="1596" y="62"/>
                  </a:cubicBezTo>
                  <a:cubicBezTo>
                    <a:pt x="1596" y="58"/>
                    <a:pt x="1596" y="58"/>
                    <a:pt x="1596" y="58"/>
                  </a:cubicBezTo>
                  <a:cubicBezTo>
                    <a:pt x="1596" y="32"/>
                    <a:pt x="1572" y="11"/>
                    <a:pt x="1542" y="11"/>
                  </a:cubicBezTo>
                  <a:moveTo>
                    <a:pt x="832" y="96"/>
                  </a:moveTo>
                  <a:cubicBezTo>
                    <a:pt x="832" y="103"/>
                    <a:pt x="831" y="108"/>
                    <a:pt x="823" y="112"/>
                  </a:cubicBezTo>
                  <a:cubicBezTo>
                    <a:pt x="816" y="115"/>
                    <a:pt x="805" y="121"/>
                    <a:pt x="795" y="125"/>
                  </a:cubicBezTo>
                  <a:cubicBezTo>
                    <a:pt x="785" y="121"/>
                    <a:pt x="774" y="115"/>
                    <a:pt x="767" y="112"/>
                  </a:cubicBezTo>
                  <a:cubicBezTo>
                    <a:pt x="758" y="108"/>
                    <a:pt x="757" y="103"/>
                    <a:pt x="757" y="96"/>
                  </a:cubicBezTo>
                  <a:cubicBezTo>
                    <a:pt x="757" y="89"/>
                    <a:pt x="757" y="89"/>
                    <a:pt x="757" y="89"/>
                  </a:cubicBezTo>
                  <a:cubicBezTo>
                    <a:pt x="832" y="89"/>
                    <a:pt x="832" y="89"/>
                    <a:pt x="832" y="89"/>
                  </a:cubicBezTo>
                  <a:lnTo>
                    <a:pt x="832" y="96"/>
                  </a:lnTo>
                  <a:close/>
                  <a:moveTo>
                    <a:pt x="894" y="65"/>
                  </a:moveTo>
                  <a:cubicBezTo>
                    <a:pt x="862" y="65"/>
                    <a:pt x="862" y="65"/>
                    <a:pt x="862" y="65"/>
                  </a:cubicBezTo>
                  <a:cubicBezTo>
                    <a:pt x="862" y="51"/>
                    <a:pt x="862" y="51"/>
                    <a:pt x="862" y="51"/>
                  </a:cubicBezTo>
                  <a:cubicBezTo>
                    <a:pt x="862" y="49"/>
                    <a:pt x="860" y="48"/>
                    <a:pt x="858" y="48"/>
                  </a:cubicBezTo>
                  <a:cubicBezTo>
                    <a:pt x="836" y="48"/>
                    <a:pt x="836" y="48"/>
                    <a:pt x="836" y="48"/>
                  </a:cubicBezTo>
                  <a:cubicBezTo>
                    <a:pt x="834" y="48"/>
                    <a:pt x="832" y="49"/>
                    <a:pt x="832" y="51"/>
                  </a:cubicBezTo>
                  <a:cubicBezTo>
                    <a:pt x="832" y="65"/>
                    <a:pt x="832" y="65"/>
                    <a:pt x="832" y="65"/>
                  </a:cubicBezTo>
                  <a:cubicBezTo>
                    <a:pt x="757" y="65"/>
                    <a:pt x="757" y="65"/>
                    <a:pt x="757" y="65"/>
                  </a:cubicBezTo>
                  <a:cubicBezTo>
                    <a:pt x="757" y="51"/>
                    <a:pt x="757" y="51"/>
                    <a:pt x="757" y="51"/>
                  </a:cubicBezTo>
                  <a:cubicBezTo>
                    <a:pt x="757" y="49"/>
                    <a:pt x="755" y="48"/>
                    <a:pt x="753" y="48"/>
                  </a:cubicBezTo>
                  <a:cubicBezTo>
                    <a:pt x="731" y="48"/>
                    <a:pt x="731" y="48"/>
                    <a:pt x="731" y="48"/>
                  </a:cubicBezTo>
                  <a:cubicBezTo>
                    <a:pt x="729" y="48"/>
                    <a:pt x="728" y="49"/>
                    <a:pt x="728" y="51"/>
                  </a:cubicBezTo>
                  <a:cubicBezTo>
                    <a:pt x="728" y="65"/>
                    <a:pt x="728" y="65"/>
                    <a:pt x="728" y="65"/>
                  </a:cubicBezTo>
                  <a:cubicBezTo>
                    <a:pt x="695" y="65"/>
                    <a:pt x="695" y="65"/>
                    <a:pt x="695" y="65"/>
                  </a:cubicBezTo>
                  <a:cubicBezTo>
                    <a:pt x="693" y="65"/>
                    <a:pt x="692" y="67"/>
                    <a:pt x="692" y="69"/>
                  </a:cubicBezTo>
                  <a:cubicBezTo>
                    <a:pt x="692" y="85"/>
                    <a:pt x="692" y="85"/>
                    <a:pt x="692" y="85"/>
                  </a:cubicBezTo>
                  <a:cubicBezTo>
                    <a:pt x="692" y="87"/>
                    <a:pt x="693" y="89"/>
                    <a:pt x="695" y="89"/>
                  </a:cubicBezTo>
                  <a:cubicBezTo>
                    <a:pt x="727" y="89"/>
                    <a:pt x="727" y="89"/>
                    <a:pt x="727" y="89"/>
                  </a:cubicBezTo>
                  <a:cubicBezTo>
                    <a:pt x="727" y="99"/>
                    <a:pt x="727" y="99"/>
                    <a:pt x="727" y="99"/>
                  </a:cubicBezTo>
                  <a:cubicBezTo>
                    <a:pt x="727" y="111"/>
                    <a:pt x="733" y="122"/>
                    <a:pt x="747" y="129"/>
                  </a:cubicBezTo>
                  <a:cubicBezTo>
                    <a:pt x="753" y="132"/>
                    <a:pt x="760" y="135"/>
                    <a:pt x="767" y="138"/>
                  </a:cubicBezTo>
                  <a:cubicBezTo>
                    <a:pt x="754" y="143"/>
                    <a:pt x="743" y="146"/>
                    <a:pt x="731" y="146"/>
                  </a:cubicBezTo>
                  <a:cubicBezTo>
                    <a:pt x="700" y="146"/>
                    <a:pt x="700" y="146"/>
                    <a:pt x="700" y="146"/>
                  </a:cubicBezTo>
                  <a:cubicBezTo>
                    <a:pt x="698" y="146"/>
                    <a:pt x="696" y="148"/>
                    <a:pt x="696" y="150"/>
                  </a:cubicBezTo>
                  <a:cubicBezTo>
                    <a:pt x="696" y="166"/>
                    <a:pt x="696" y="166"/>
                    <a:pt x="696" y="166"/>
                  </a:cubicBezTo>
                  <a:cubicBezTo>
                    <a:pt x="696" y="168"/>
                    <a:pt x="698" y="170"/>
                    <a:pt x="700" y="170"/>
                  </a:cubicBezTo>
                  <a:cubicBezTo>
                    <a:pt x="730" y="170"/>
                    <a:pt x="730" y="170"/>
                    <a:pt x="730" y="170"/>
                  </a:cubicBezTo>
                  <a:cubicBezTo>
                    <a:pt x="742" y="170"/>
                    <a:pt x="757" y="167"/>
                    <a:pt x="769" y="162"/>
                  </a:cubicBezTo>
                  <a:cubicBezTo>
                    <a:pt x="774" y="161"/>
                    <a:pt x="784" y="156"/>
                    <a:pt x="795" y="151"/>
                  </a:cubicBezTo>
                  <a:cubicBezTo>
                    <a:pt x="806" y="156"/>
                    <a:pt x="815" y="161"/>
                    <a:pt x="820" y="162"/>
                  </a:cubicBezTo>
                  <a:cubicBezTo>
                    <a:pt x="833" y="167"/>
                    <a:pt x="847" y="170"/>
                    <a:pt x="859" y="170"/>
                  </a:cubicBezTo>
                  <a:cubicBezTo>
                    <a:pt x="889" y="170"/>
                    <a:pt x="889" y="170"/>
                    <a:pt x="889" y="170"/>
                  </a:cubicBezTo>
                  <a:cubicBezTo>
                    <a:pt x="891" y="170"/>
                    <a:pt x="893" y="168"/>
                    <a:pt x="893" y="166"/>
                  </a:cubicBezTo>
                  <a:cubicBezTo>
                    <a:pt x="893" y="150"/>
                    <a:pt x="893" y="150"/>
                    <a:pt x="893" y="150"/>
                  </a:cubicBezTo>
                  <a:cubicBezTo>
                    <a:pt x="893" y="148"/>
                    <a:pt x="891" y="146"/>
                    <a:pt x="889" y="146"/>
                  </a:cubicBezTo>
                  <a:cubicBezTo>
                    <a:pt x="859" y="146"/>
                    <a:pt x="859" y="146"/>
                    <a:pt x="859" y="146"/>
                  </a:cubicBezTo>
                  <a:cubicBezTo>
                    <a:pt x="847" y="146"/>
                    <a:pt x="835" y="143"/>
                    <a:pt x="823" y="138"/>
                  </a:cubicBezTo>
                  <a:cubicBezTo>
                    <a:pt x="830" y="135"/>
                    <a:pt x="837" y="132"/>
                    <a:pt x="842" y="129"/>
                  </a:cubicBezTo>
                  <a:cubicBezTo>
                    <a:pt x="857" y="122"/>
                    <a:pt x="862" y="111"/>
                    <a:pt x="862" y="99"/>
                  </a:cubicBezTo>
                  <a:cubicBezTo>
                    <a:pt x="862" y="89"/>
                    <a:pt x="862" y="89"/>
                    <a:pt x="862" y="89"/>
                  </a:cubicBezTo>
                  <a:cubicBezTo>
                    <a:pt x="894" y="89"/>
                    <a:pt x="894" y="89"/>
                    <a:pt x="894" y="89"/>
                  </a:cubicBezTo>
                  <a:cubicBezTo>
                    <a:pt x="896" y="89"/>
                    <a:pt x="898" y="87"/>
                    <a:pt x="898" y="85"/>
                  </a:cubicBezTo>
                  <a:cubicBezTo>
                    <a:pt x="898" y="69"/>
                    <a:pt x="898" y="69"/>
                    <a:pt x="898" y="69"/>
                  </a:cubicBezTo>
                  <a:cubicBezTo>
                    <a:pt x="898" y="67"/>
                    <a:pt x="896" y="65"/>
                    <a:pt x="894" y="65"/>
                  </a:cubicBezTo>
                  <a:moveTo>
                    <a:pt x="1747" y="17"/>
                  </a:moveTo>
                  <a:cubicBezTo>
                    <a:pt x="1745" y="14"/>
                    <a:pt x="1743" y="13"/>
                    <a:pt x="1740" y="13"/>
                  </a:cubicBezTo>
                  <a:cubicBezTo>
                    <a:pt x="1716" y="13"/>
                    <a:pt x="1716" y="13"/>
                    <a:pt x="1716" y="13"/>
                  </a:cubicBezTo>
                  <a:cubicBezTo>
                    <a:pt x="1713" y="13"/>
                    <a:pt x="1711" y="14"/>
                    <a:pt x="1710" y="17"/>
                  </a:cubicBezTo>
                  <a:cubicBezTo>
                    <a:pt x="1636" y="162"/>
                    <a:pt x="1636" y="162"/>
                    <a:pt x="1636" y="162"/>
                  </a:cubicBezTo>
                  <a:cubicBezTo>
                    <a:pt x="1634" y="167"/>
                    <a:pt x="1636" y="170"/>
                    <a:pt x="1640" y="170"/>
                  </a:cubicBezTo>
                  <a:cubicBezTo>
                    <a:pt x="1663" y="170"/>
                    <a:pt x="1663" y="170"/>
                    <a:pt x="1663" y="170"/>
                  </a:cubicBezTo>
                  <a:cubicBezTo>
                    <a:pt x="1667" y="170"/>
                    <a:pt x="1668" y="169"/>
                    <a:pt x="1670" y="165"/>
                  </a:cubicBezTo>
                  <a:cubicBezTo>
                    <a:pt x="1728" y="49"/>
                    <a:pt x="1728" y="49"/>
                    <a:pt x="1728" y="49"/>
                  </a:cubicBezTo>
                  <a:cubicBezTo>
                    <a:pt x="1786" y="165"/>
                    <a:pt x="1786" y="165"/>
                    <a:pt x="1786" y="165"/>
                  </a:cubicBezTo>
                  <a:cubicBezTo>
                    <a:pt x="1788" y="169"/>
                    <a:pt x="1789" y="170"/>
                    <a:pt x="1793" y="170"/>
                  </a:cubicBezTo>
                  <a:cubicBezTo>
                    <a:pt x="1816" y="170"/>
                    <a:pt x="1816" y="170"/>
                    <a:pt x="1816" y="170"/>
                  </a:cubicBezTo>
                  <a:cubicBezTo>
                    <a:pt x="1820" y="170"/>
                    <a:pt x="1823" y="167"/>
                    <a:pt x="1820" y="162"/>
                  </a:cubicBezTo>
                  <a:lnTo>
                    <a:pt x="1747" y="17"/>
                  </a:lnTo>
                  <a:close/>
                  <a:moveTo>
                    <a:pt x="629" y="46"/>
                  </a:moveTo>
                  <a:cubicBezTo>
                    <a:pt x="626" y="46"/>
                    <a:pt x="623" y="48"/>
                    <a:pt x="622" y="49"/>
                  </a:cubicBezTo>
                  <a:cubicBezTo>
                    <a:pt x="597" y="98"/>
                    <a:pt x="597" y="98"/>
                    <a:pt x="597" y="98"/>
                  </a:cubicBezTo>
                  <a:cubicBezTo>
                    <a:pt x="596" y="100"/>
                    <a:pt x="597" y="102"/>
                    <a:pt x="599" y="102"/>
                  </a:cubicBezTo>
                  <a:cubicBezTo>
                    <a:pt x="625" y="102"/>
                    <a:pt x="625" y="102"/>
                    <a:pt x="625" y="102"/>
                  </a:cubicBezTo>
                  <a:cubicBezTo>
                    <a:pt x="628" y="102"/>
                    <a:pt x="630" y="100"/>
                    <a:pt x="631" y="98"/>
                  </a:cubicBezTo>
                  <a:cubicBezTo>
                    <a:pt x="656" y="49"/>
                    <a:pt x="656" y="49"/>
                    <a:pt x="656" y="49"/>
                  </a:cubicBezTo>
                  <a:cubicBezTo>
                    <a:pt x="657" y="48"/>
                    <a:pt x="656" y="46"/>
                    <a:pt x="654" y="46"/>
                  </a:cubicBezTo>
                  <a:lnTo>
                    <a:pt x="629" y="46"/>
                  </a:lnTo>
                  <a:close/>
                  <a:moveTo>
                    <a:pt x="416" y="146"/>
                  </a:moveTo>
                  <a:cubicBezTo>
                    <a:pt x="269" y="146"/>
                    <a:pt x="269" y="146"/>
                    <a:pt x="269" y="146"/>
                  </a:cubicBezTo>
                  <a:cubicBezTo>
                    <a:pt x="269" y="28"/>
                    <a:pt x="269" y="28"/>
                    <a:pt x="269" y="28"/>
                  </a:cubicBezTo>
                  <a:cubicBezTo>
                    <a:pt x="416" y="28"/>
                    <a:pt x="416" y="28"/>
                    <a:pt x="416" y="28"/>
                  </a:cubicBezTo>
                  <a:lnTo>
                    <a:pt x="416" y="146"/>
                  </a:lnTo>
                  <a:close/>
                  <a:moveTo>
                    <a:pt x="423" y="6"/>
                  </a:moveTo>
                  <a:cubicBezTo>
                    <a:pt x="261" y="6"/>
                    <a:pt x="261" y="6"/>
                    <a:pt x="261" y="6"/>
                  </a:cubicBezTo>
                  <a:cubicBezTo>
                    <a:pt x="249" y="6"/>
                    <a:pt x="239" y="16"/>
                    <a:pt x="239" y="28"/>
                  </a:cubicBezTo>
                  <a:cubicBezTo>
                    <a:pt x="239" y="148"/>
                    <a:pt x="239" y="148"/>
                    <a:pt x="239" y="148"/>
                  </a:cubicBezTo>
                  <a:cubicBezTo>
                    <a:pt x="239" y="160"/>
                    <a:pt x="249" y="169"/>
                    <a:pt x="261" y="169"/>
                  </a:cubicBezTo>
                  <a:cubicBezTo>
                    <a:pt x="423" y="169"/>
                    <a:pt x="423" y="169"/>
                    <a:pt x="423" y="169"/>
                  </a:cubicBezTo>
                  <a:cubicBezTo>
                    <a:pt x="435" y="169"/>
                    <a:pt x="445" y="160"/>
                    <a:pt x="445" y="148"/>
                  </a:cubicBezTo>
                  <a:cubicBezTo>
                    <a:pt x="445" y="28"/>
                    <a:pt x="445" y="28"/>
                    <a:pt x="445" y="28"/>
                  </a:cubicBezTo>
                  <a:cubicBezTo>
                    <a:pt x="445" y="16"/>
                    <a:pt x="435" y="6"/>
                    <a:pt x="423" y="6"/>
                  </a:cubicBezTo>
                  <a:moveTo>
                    <a:pt x="697" y="49"/>
                  </a:moveTo>
                  <a:cubicBezTo>
                    <a:pt x="714" y="49"/>
                    <a:pt x="714" y="49"/>
                    <a:pt x="714" y="49"/>
                  </a:cubicBezTo>
                  <a:cubicBezTo>
                    <a:pt x="716" y="49"/>
                    <a:pt x="718" y="47"/>
                    <a:pt x="718" y="45"/>
                  </a:cubicBezTo>
                  <a:cubicBezTo>
                    <a:pt x="718" y="34"/>
                    <a:pt x="718" y="34"/>
                    <a:pt x="718" y="34"/>
                  </a:cubicBezTo>
                  <a:cubicBezTo>
                    <a:pt x="872" y="34"/>
                    <a:pt x="872" y="34"/>
                    <a:pt x="872" y="34"/>
                  </a:cubicBezTo>
                  <a:cubicBezTo>
                    <a:pt x="872" y="45"/>
                    <a:pt x="872" y="45"/>
                    <a:pt x="872" y="45"/>
                  </a:cubicBezTo>
                  <a:cubicBezTo>
                    <a:pt x="872" y="47"/>
                    <a:pt x="873" y="49"/>
                    <a:pt x="875" y="49"/>
                  </a:cubicBezTo>
                  <a:cubicBezTo>
                    <a:pt x="893" y="49"/>
                    <a:pt x="893" y="49"/>
                    <a:pt x="893" y="49"/>
                  </a:cubicBezTo>
                  <a:cubicBezTo>
                    <a:pt x="895" y="49"/>
                    <a:pt x="897" y="47"/>
                    <a:pt x="897" y="45"/>
                  </a:cubicBezTo>
                  <a:cubicBezTo>
                    <a:pt x="897" y="32"/>
                    <a:pt x="897" y="32"/>
                    <a:pt x="897" y="32"/>
                  </a:cubicBezTo>
                  <a:cubicBezTo>
                    <a:pt x="897" y="22"/>
                    <a:pt x="888" y="13"/>
                    <a:pt x="877" y="13"/>
                  </a:cubicBezTo>
                  <a:cubicBezTo>
                    <a:pt x="811" y="13"/>
                    <a:pt x="811" y="13"/>
                    <a:pt x="811" y="13"/>
                  </a:cubicBezTo>
                  <a:cubicBezTo>
                    <a:pt x="811" y="4"/>
                    <a:pt x="811" y="4"/>
                    <a:pt x="811" y="4"/>
                  </a:cubicBezTo>
                  <a:cubicBezTo>
                    <a:pt x="811" y="2"/>
                    <a:pt x="809" y="0"/>
                    <a:pt x="807" y="0"/>
                  </a:cubicBezTo>
                  <a:cubicBezTo>
                    <a:pt x="782" y="0"/>
                    <a:pt x="782" y="0"/>
                    <a:pt x="782" y="0"/>
                  </a:cubicBezTo>
                  <a:cubicBezTo>
                    <a:pt x="780" y="0"/>
                    <a:pt x="778" y="2"/>
                    <a:pt x="778" y="4"/>
                  </a:cubicBezTo>
                  <a:cubicBezTo>
                    <a:pt x="778" y="13"/>
                    <a:pt x="778" y="13"/>
                    <a:pt x="778" y="13"/>
                  </a:cubicBezTo>
                  <a:cubicBezTo>
                    <a:pt x="712" y="13"/>
                    <a:pt x="712" y="13"/>
                    <a:pt x="712" y="13"/>
                  </a:cubicBezTo>
                  <a:cubicBezTo>
                    <a:pt x="702" y="13"/>
                    <a:pt x="693" y="22"/>
                    <a:pt x="693" y="32"/>
                  </a:cubicBezTo>
                  <a:cubicBezTo>
                    <a:pt x="693" y="45"/>
                    <a:pt x="693" y="45"/>
                    <a:pt x="693" y="45"/>
                  </a:cubicBezTo>
                  <a:cubicBezTo>
                    <a:pt x="693" y="47"/>
                    <a:pt x="695" y="49"/>
                    <a:pt x="697" y="49"/>
                  </a:cubicBezTo>
                  <a:moveTo>
                    <a:pt x="179" y="115"/>
                  </a:moveTo>
                  <a:cubicBezTo>
                    <a:pt x="122" y="115"/>
                    <a:pt x="122" y="115"/>
                    <a:pt x="122" y="115"/>
                  </a:cubicBezTo>
                  <a:cubicBezTo>
                    <a:pt x="122" y="49"/>
                    <a:pt x="122" y="49"/>
                    <a:pt x="122" y="49"/>
                  </a:cubicBezTo>
                  <a:cubicBezTo>
                    <a:pt x="179" y="49"/>
                    <a:pt x="179" y="49"/>
                    <a:pt x="179" y="49"/>
                  </a:cubicBezTo>
                  <a:lnTo>
                    <a:pt x="179" y="115"/>
                  </a:lnTo>
                  <a:close/>
                  <a:moveTo>
                    <a:pt x="88" y="115"/>
                  </a:moveTo>
                  <a:cubicBezTo>
                    <a:pt x="31" y="115"/>
                    <a:pt x="31" y="115"/>
                    <a:pt x="31" y="115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88" y="49"/>
                    <a:pt x="88" y="49"/>
                    <a:pt x="88" y="49"/>
                  </a:cubicBezTo>
                  <a:lnTo>
                    <a:pt x="88" y="115"/>
                  </a:lnTo>
                  <a:close/>
                  <a:moveTo>
                    <a:pt x="188" y="2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22" y="5"/>
                    <a:pt x="122" y="5"/>
                    <a:pt x="122" y="5"/>
                  </a:cubicBezTo>
                  <a:cubicBezTo>
                    <a:pt x="122" y="3"/>
                    <a:pt x="120" y="1"/>
                    <a:pt x="118" y="1"/>
                  </a:cubicBezTo>
                  <a:cubicBezTo>
                    <a:pt x="91" y="1"/>
                    <a:pt x="91" y="1"/>
                    <a:pt x="91" y="1"/>
                  </a:cubicBezTo>
                  <a:cubicBezTo>
                    <a:pt x="89" y="1"/>
                    <a:pt x="88" y="3"/>
                    <a:pt x="88" y="5"/>
                  </a:cubicBezTo>
                  <a:cubicBezTo>
                    <a:pt x="88" y="24"/>
                    <a:pt x="88" y="24"/>
                    <a:pt x="88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10" y="24"/>
                    <a:pt x="0" y="34"/>
                    <a:pt x="0" y="46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130"/>
                    <a:pt x="10" y="140"/>
                    <a:pt x="22" y="140"/>
                  </a:cubicBezTo>
                  <a:cubicBezTo>
                    <a:pt x="88" y="140"/>
                    <a:pt x="88" y="140"/>
                    <a:pt x="88" y="140"/>
                  </a:cubicBezTo>
                  <a:cubicBezTo>
                    <a:pt x="88" y="171"/>
                    <a:pt x="88" y="171"/>
                    <a:pt x="88" y="171"/>
                  </a:cubicBezTo>
                  <a:cubicBezTo>
                    <a:pt x="88" y="173"/>
                    <a:pt x="89" y="174"/>
                    <a:pt x="91" y="174"/>
                  </a:cubicBezTo>
                  <a:cubicBezTo>
                    <a:pt x="118" y="174"/>
                    <a:pt x="118" y="174"/>
                    <a:pt x="118" y="174"/>
                  </a:cubicBezTo>
                  <a:cubicBezTo>
                    <a:pt x="120" y="174"/>
                    <a:pt x="122" y="173"/>
                    <a:pt x="122" y="171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88" y="140"/>
                    <a:pt x="188" y="140"/>
                    <a:pt x="188" y="140"/>
                  </a:cubicBezTo>
                  <a:cubicBezTo>
                    <a:pt x="200" y="140"/>
                    <a:pt x="210" y="130"/>
                    <a:pt x="210" y="118"/>
                  </a:cubicBezTo>
                  <a:cubicBezTo>
                    <a:pt x="210" y="46"/>
                    <a:pt x="210" y="46"/>
                    <a:pt x="210" y="46"/>
                  </a:cubicBezTo>
                  <a:cubicBezTo>
                    <a:pt x="210" y="34"/>
                    <a:pt x="200" y="24"/>
                    <a:pt x="188" y="24"/>
                  </a:cubicBezTo>
                  <a:moveTo>
                    <a:pt x="401" y="104"/>
                  </a:moveTo>
                  <a:cubicBezTo>
                    <a:pt x="379" y="104"/>
                    <a:pt x="379" y="104"/>
                    <a:pt x="379" y="104"/>
                  </a:cubicBezTo>
                  <a:cubicBezTo>
                    <a:pt x="379" y="112"/>
                    <a:pt x="379" y="112"/>
                    <a:pt x="379" y="112"/>
                  </a:cubicBezTo>
                  <a:cubicBezTo>
                    <a:pt x="357" y="112"/>
                    <a:pt x="357" y="112"/>
                    <a:pt x="357" y="112"/>
                  </a:cubicBezTo>
                  <a:cubicBezTo>
                    <a:pt x="357" y="93"/>
                    <a:pt x="357" y="93"/>
                    <a:pt x="357" y="93"/>
                  </a:cubicBezTo>
                  <a:cubicBezTo>
                    <a:pt x="395" y="93"/>
                    <a:pt x="395" y="93"/>
                    <a:pt x="395" y="93"/>
                  </a:cubicBezTo>
                  <a:cubicBezTo>
                    <a:pt x="395" y="75"/>
                    <a:pt x="395" y="75"/>
                    <a:pt x="395" y="75"/>
                  </a:cubicBezTo>
                  <a:cubicBezTo>
                    <a:pt x="357" y="75"/>
                    <a:pt x="357" y="75"/>
                    <a:pt x="357" y="75"/>
                  </a:cubicBezTo>
                  <a:cubicBezTo>
                    <a:pt x="357" y="61"/>
                    <a:pt x="357" y="61"/>
                    <a:pt x="357" y="61"/>
                  </a:cubicBezTo>
                  <a:cubicBezTo>
                    <a:pt x="401" y="61"/>
                    <a:pt x="401" y="61"/>
                    <a:pt x="401" y="61"/>
                  </a:cubicBezTo>
                  <a:cubicBezTo>
                    <a:pt x="401" y="41"/>
                    <a:pt x="401" y="41"/>
                    <a:pt x="401" y="41"/>
                  </a:cubicBezTo>
                  <a:cubicBezTo>
                    <a:pt x="284" y="41"/>
                    <a:pt x="284" y="41"/>
                    <a:pt x="284" y="41"/>
                  </a:cubicBezTo>
                  <a:cubicBezTo>
                    <a:pt x="284" y="61"/>
                    <a:pt x="284" y="61"/>
                    <a:pt x="284" y="61"/>
                  </a:cubicBezTo>
                  <a:cubicBezTo>
                    <a:pt x="328" y="61"/>
                    <a:pt x="328" y="61"/>
                    <a:pt x="328" y="61"/>
                  </a:cubicBezTo>
                  <a:cubicBezTo>
                    <a:pt x="328" y="75"/>
                    <a:pt x="328" y="75"/>
                    <a:pt x="328" y="75"/>
                  </a:cubicBezTo>
                  <a:cubicBezTo>
                    <a:pt x="290" y="75"/>
                    <a:pt x="290" y="75"/>
                    <a:pt x="290" y="75"/>
                  </a:cubicBezTo>
                  <a:cubicBezTo>
                    <a:pt x="290" y="93"/>
                    <a:pt x="290" y="93"/>
                    <a:pt x="290" y="93"/>
                  </a:cubicBezTo>
                  <a:cubicBezTo>
                    <a:pt x="328" y="93"/>
                    <a:pt x="328" y="93"/>
                    <a:pt x="328" y="93"/>
                  </a:cubicBezTo>
                  <a:cubicBezTo>
                    <a:pt x="328" y="112"/>
                    <a:pt x="328" y="112"/>
                    <a:pt x="328" y="112"/>
                  </a:cubicBezTo>
                  <a:cubicBezTo>
                    <a:pt x="284" y="112"/>
                    <a:pt x="284" y="112"/>
                    <a:pt x="284" y="112"/>
                  </a:cubicBezTo>
                  <a:cubicBezTo>
                    <a:pt x="284" y="132"/>
                    <a:pt x="284" y="132"/>
                    <a:pt x="284" y="132"/>
                  </a:cubicBezTo>
                  <a:cubicBezTo>
                    <a:pt x="401" y="132"/>
                    <a:pt x="401" y="132"/>
                    <a:pt x="401" y="132"/>
                  </a:cubicBezTo>
                  <a:lnTo>
                    <a:pt x="401" y="104"/>
                  </a:lnTo>
                  <a:close/>
                  <a:moveTo>
                    <a:pt x="516" y="102"/>
                  </a:moveTo>
                  <a:cubicBezTo>
                    <a:pt x="542" y="102"/>
                    <a:pt x="542" y="102"/>
                    <a:pt x="542" y="102"/>
                  </a:cubicBezTo>
                  <a:cubicBezTo>
                    <a:pt x="544" y="102"/>
                    <a:pt x="545" y="100"/>
                    <a:pt x="544" y="98"/>
                  </a:cubicBezTo>
                  <a:cubicBezTo>
                    <a:pt x="519" y="49"/>
                    <a:pt x="519" y="49"/>
                    <a:pt x="519" y="49"/>
                  </a:cubicBezTo>
                  <a:cubicBezTo>
                    <a:pt x="518" y="48"/>
                    <a:pt x="515" y="46"/>
                    <a:pt x="512" y="46"/>
                  </a:cubicBezTo>
                  <a:cubicBezTo>
                    <a:pt x="487" y="46"/>
                    <a:pt x="487" y="46"/>
                    <a:pt x="487" y="46"/>
                  </a:cubicBezTo>
                  <a:cubicBezTo>
                    <a:pt x="485" y="46"/>
                    <a:pt x="484" y="48"/>
                    <a:pt x="485" y="49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511" y="100"/>
                    <a:pt x="513" y="102"/>
                    <a:pt x="516" y="102"/>
                  </a:cubicBezTo>
                  <a:moveTo>
                    <a:pt x="669" y="115"/>
                  </a:moveTo>
                  <a:cubicBezTo>
                    <a:pt x="587" y="115"/>
                    <a:pt x="587" y="115"/>
                    <a:pt x="587" y="115"/>
                  </a:cubicBezTo>
                  <a:cubicBezTo>
                    <a:pt x="587" y="33"/>
                    <a:pt x="587" y="33"/>
                    <a:pt x="587" y="33"/>
                  </a:cubicBezTo>
                  <a:cubicBezTo>
                    <a:pt x="662" y="33"/>
                    <a:pt x="662" y="33"/>
                    <a:pt x="662" y="33"/>
                  </a:cubicBezTo>
                  <a:cubicBezTo>
                    <a:pt x="664" y="33"/>
                    <a:pt x="666" y="31"/>
                    <a:pt x="666" y="29"/>
                  </a:cubicBezTo>
                  <a:cubicBezTo>
                    <a:pt x="666" y="14"/>
                    <a:pt x="666" y="14"/>
                    <a:pt x="666" y="14"/>
                  </a:cubicBezTo>
                  <a:cubicBezTo>
                    <a:pt x="666" y="11"/>
                    <a:pt x="664" y="10"/>
                    <a:pt x="662" y="10"/>
                  </a:cubicBezTo>
                  <a:cubicBezTo>
                    <a:pt x="479" y="10"/>
                    <a:pt x="479" y="10"/>
                    <a:pt x="479" y="10"/>
                  </a:cubicBezTo>
                  <a:cubicBezTo>
                    <a:pt x="477" y="10"/>
                    <a:pt x="475" y="11"/>
                    <a:pt x="475" y="14"/>
                  </a:cubicBezTo>
                  <a:cubicBezTo>
                    <a:pt x="475" y="29"/>
                    <a:pt x="475" y="29"/>
                    <a:pt x="475" y="29"/>
                  </a:cubicBezTo>
                  <a:cubicBezTo>
                    <a:pt x="475" y="31"/>
                    <a:pt x="477" y="33"/>
                    <a:pt x="479" y="33"/>
                  </a:cubicBezTo>
                  <a:cubicBezTo>
                    <a:pt x="554" y="33"/>
                    <a:pt x="554" y="33"/>
                    <a:pt x="554" y="33"/>
                  </a:cubicBezTo>
                  <a:cubicBezTo>
                    <a:pt x="554" y="115"/>
                    <a:pt x="554" y="115"/>
                    <a:pt x="554" y="115"/>
                  </a:cubicBezTo>
                  <a:cubicBezTo>
                    <a:pt x="472" y="115"/>
                    <a:pt x="472" y="115"/>
                    <a:pt x="472" y="115"/>
                  </a:cubicBezTo>
                  <a:cubicBezTo>
                    <a:pt x="470" y="115"/>
                    <a:pt x="469" y="117"/>
                    <a:pt x="469" y="119"/>
                  </a:cubicBezTo>
                  <a:cubicBezTo>
                    <a:pt x="469" y="135"/>
                    <a:pt x="469" y="135"/>
                    <a:pt x="469" y="135"/>
                  </a:cubicBezTo>
                  <a:cubicBezTo>
                    <a:pt x="469" y="137"/>
                    <a:pt x="470" y="139"/>
                    <a:pt x="472" y="139"/>
                  </a:cubicBezTo>
                  <a:cubicBezTo>
                    <a:pt x="554" y="139"/>
                    <a:pt x="554" y="139"/>
                    <a:pt x="554" y="139"/>
                  </a:cubicBezTo>
                  <a:cubicBezTo>
                    <a:pt x="554" y="171"/>
                    <a:pt x="554" y="171"/>
                    <a:pt x="554" y="171"/>
                  </a:cubicBezTo>
                  <a:cubicBezTo>
                    <a:pt x="554" y="173"/>
                    <a:pt x="556" y="174"/>
                    <a:pt x="558" y="174"/>
                  </a:cubicBezTo>
                  <a:cubicBezTo>
                    <a:pt x="583" y="174"/>
                    <a:pt x="583" y="174"/>
                    <a:pt x="583" y="174"/>
                  </a:cubicBezTo>
                  <a:cubicBezTo>
                    <a:pt x="585" y="174"/>
                    <a:pt x="587" y="173"/>
                    <a:pt x="587" y="171"/>
                  </a:cubicBezTo>
                  <a:cubicBezTo>
                    <a:pt x="587" y="139"/>
                    <a:pt x="587" y="139"/>
                    <a:pt x="587" y="139"/>
                  </a:cubicBezTo>
                  <a:cubicBezTo>
                    <a:pt x="669" y="139"/>
                    <a:pt x="669" y="139"/>
                    <a:pt x="669" y="139"/>
                  </a:cubicBezTo>
                  <a:cubicBezTo>
                    <a:pt x="671" y="139"/>
                    <a:pt x="673" y="137"/>
                    <a:pt x="673" y="135"/>
                  </a:cubicBezTo>
                  <a:cubicBezTo>
                    <a:pt x="673" y="119"/>
                    <a:pt x="673" y="119"/>
                    <a:pt x="673" y="119"/>
                  </a:cubicBezTo>
                  <a:cubicBezTo>
                    <a:pt x="673" y="117"/>
                    <a:pt x="671" y="115"/>
                    <a:pt x="669" y="115"/>
                  </a:cubicBezTo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2" name="Freeform 6"/>
            <p:cNvSpPr/>
            <p:nvPr/>
          </p:nvSpPr>
          <p:spPr bwMode="auto">
            <a:xfrm>
              <a:off x="3438525" y="693738"/>
              <a:ext cx="77788" cy="76200"/>
            </a:xfrm>
            <a:custGeom>
              <a:avLst/>
              <a:gdLst>
                <a:gd name="T0" fmla="*/ 44 w 48"/>
                <a:gd name="T1" fmla="*/ 0 h 46"/>
                <a:gd name="T2" fmla="*/ 4 w 48"/>
                <a:gd name="T3" fmla="*/ 0 h 46"/>
                <a:gd name="T4" fmla="*/ 0 w 48"/>
                <a:gd name="T5" fmla="*/ 3 h 46"/>
                <a:gd name="T6" fmla="*/ 0 w 48"/>
                <a:gd name="T7" fmla="*/ 43 h 46"/>
                <a:gd name="T8" fmla="*/ 4 w 48"/>
                <a:gd name="T9" fmla="*/ 46 h 46"/>
                <a:gd name="T10" fmla="*/ 44 w 48"/>
                <a:gd name="T11" fmla="*/ 46 h 46"/>
                <a:gd name="T12" fmla="*/ 48 w 48"/>
                <a:gd name="T13" fmla="*/ 43 h 46"/>
                <a:gd name="T14" fmla="*/ 48 w 48"/>
                <a:gd name="T15" fmla="*/ 3 h 46"/>
                <a:gd name="T16" fmla="*/ 44 w 48"/>
                <a:gd name="T17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46">
                  <a:moveTo>
                    <a:pt x="4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5"/>
                    <a:pt x="2" y="46"/>
                    <a:pt x="4" y="46"/>
                  </a:cubicBezTo>
                  <a:cubicBezTo>
                    <a:pt x="44" y="46"/>
                    <a:pt x="44" y="46"/>
                    <a:pt x="44" y="46"/>
                  </a:cubicBezTo>
                  <a:cubicBezTo>
                    <a:pt x="46" y="46"/>
                    <a:pt x="48" y="45"/>
                    <a:pt x="48" y="43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1"/>
                    <a:pt x="46" y="0"/>
                    <a:pt x="44" y="0"/>
                  </a:cubicBezTo>
                </a:path>
              </a:pathLst>
            </a:custGeom>
            <a:solidFill>
              <a:srgbClr val="005E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3" name="Oval 7"/>
            <p:cNvSpPr>
              <a:spLocks noChangeArrowheads="1"/>
            </p:cNvSpPr>
            <p:nvPr/>
          </p:nvSpPr>
          <p:spPr bwMode="auto">
            <a:xfrm>
              <a:off x="1385888" y="952500"/>
              <a:ext cx="17463" cy="20637"/>
            </a:xfrm>
            <a:prstGeom prst="ellipse">
              <a:avLst/>
            </a:pr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/>
          </p:nvSpPr>
          <p:spPr bwMode="auto">
            <a:xfrm>
              <a:off x="1001713" y="893763"/>
              <a:ext cx="142875" cy="133350"/>
            </a:xfrm>
            <a:custGeom>
              <a:avLst/>
              <a:gdLst>
                <a:gd name="T0" fmla="*/ 43 w 88"/>
                <a:gd name="T1" fmla="*/ 0 h 81"/>
                <a:gd name="T2" fmla="*/ 51 w 88"/>
                <a:gd name="T3" fmla="*/ 4 h 81"/>
                <a:gd name="T4" fmla="*/ 84 w 88"/>
                <a:gd name="T5" fmla="*/ 22 h 81"/>
                <a:gd name="T6" fmla="*/ 87 w 88"/>
                <a:gd name="T7" fmla="*/ 28 h 81"/>
                <a:gd name="T8" fmla="*/ 82 w 88"/>
                <a:gd name="T9" fmla="*/ 29 h 81"/>
                <a:gd name="T10" fmla="*/ 49 w 88"/>
                <a:gd name="T11" fmla="*/ 12 h 81"/>
                <a:gd name="T12" fmla="*/ 43 w 88"/>
                <a:gd name="T13" fmla="*/ 8 h 81"/>
                <a:gd name="T14" fmla="*/ 38 w 88"/>
                <a:gd name="T15" fmla="*/ 11 h 81"/>
                <a:gd name="T16" fmla="*/ 6 w 88"/>
                <a:gd name="T17" fmla="*/ 30 h 81"/>
                <a:gd name="T18" fmla="*/ 1 w 88"/>
                <a:gd name="T19" fmla="*/ 28 h 81"/>
                <a:gd name="T20" fmla="*/ 3 w 88"/>
                <a:gd name="T21" fmla="*/ 23 h 81"/>
                <a:gd name="T22" fmla="*/ 35 w 88"/>
                <a:gd name="T23" fmla="*/ 5 h 81"/>
                <a:gd name="T24" fmla="*/ 43 w 88"/>
                <a:gd name="T25" fmla="*/ 0 h 81"/>
                <a:gd name="T26" fmla="*/ 21 w 88"/>
                <a:gd name="T27" fmla="*/ 25 h 81"/>
                <a:gd name="T28" fmla="*/ 68 w 88"/>
                <a:gd name="T29" fmla="*/ 25 h 81"/>
                <a:gd name="T30" fmla="*/ 71 w 88"/>
                <a:gd name="T31" fmla="*/ 28 h 81"/>
                <a:gd name="T32" fmla="*/ 68 w 88"/>
                <a:gd name="T33" fmla="*/ 31 h 81"/>
                <a:gd name="T34" fmla="*/ 48 w 88"/>
                <a:gd name="T35" fmla="*/ 31 h 81"/>
                <a:gd name="T36" fmla="*/ 48 w 88"/>
                <a:gd name="T37" fmla="*/ 42 h 81"/>
                <a:gd name="T38" fmla="*/ 80 w 88"/>
                <a:gd name="T39" fmla="*/ 42 h 81"/>
                <a:gd name="T40" fmla="*/ 83 w 88"/>
                <a:gd name="T41" fmla="*/ 46 h 81"/>
                <a:gd name="T42" fmla="*/ 80 w 88"/>
                <a:gd name="T43" fmla="*/ 49 h 81"/>
                <a:gd name="T44" fmla="*/ 48 w 88"/>
                <a:gd name="T45" fmla="*/ 49 h 81"/>
                <a:gd name="T46" fmla="*/ 48 w 88"/>
                <a:gd name="T47" fmla="*/ 74 h 81"/>
                <a:gd name="T48" fmla="*/ 61 w 88"/>
                <a:gd name="T49" fmla="*/ 74 h 81"/>
                <a:gd name="T50" fmla="*/ 60 w 88"/>
                <a:gd name="T51" fmla="*/ 70 h 81"/>
                <a:gd name="T52" fmla="*/ 70 w 88"/>
                <a:gd name="T53" fmla="*/ 53 h 81"/>
                <a:gd name="T54" fmla="*/ 75 w 88"/>
                <a:gd name="T55" fmla="*/ 51 h 81"/>
                <a:gd name="T56" fmla="*/ 76 w 88"/>
                <a:gd name="T57" fmla="*/ 56 h 81"/>
                <a:gd name="T58" fmla="*/ 66 w 88"/>
                <a:gd name="T59" fmla="*/ 73 h 81"/>
                <a:gd name="T60" fmla="*/ 64 w 88"/>
                <a:gd name="T61" fmla="*/ 74 h 81"/>
                <a:gd name="T62" fmla="*/ 84 w 88"/>
                <a:gd name="T63" fmla="*/ 74 h 81"/>
                <a:gd name="T64" fmla="*/ 87 w 88"/>
                <a:gd name="T65" fmla="*/ 77 h 81"/>
                <a:gd name="T66" fmla="*/ 84 w 88"/>
                <a:gd name="T67" fmla="*/ 81 h 81"/>
                <a:gd name="T68" fmla="*/ 6 w 88"/>
                <a:gd name="T69" fmla="*/ 81 h 81"/>
                <a:gd name="T70" fmla="*/ 2 w 88"/>
                <a:gd name="T71" fmla="*/ 77 h 81"/>
                <a:gd name="T72" fmla="*/ 6 w 88"/>
                <a:gd name="T73" fmla="*/ 74 h 81"/>
                <a:gd name="T74" fmla="*/ 40 w 88"/>
                <a:gd name="T75" fmla="*/ 74 h 81"/>
                <a:gd name="T76" fmla="*/ 40 w 88"/>
                <a:gd name="T77" fmla="*/ 49 h 81"/>
                <a:gd name="T78" fmla="*/ 9 w 88"/>
                <a:gd name="T79" fmla="*/ 49 h 81"/>
                <a:gd name="T80" fmla="*/ 6 w 88"/>
                <a:gd name="T81" fmla="*/ 46 h 81"/>
                <a:gd name="T82" fmla="*/ 9 w 88"/>
                <a:gd name="T83" fmla="*/ 42 h 81"/>
                <a:gd name="T84" fmla="*/ 40 w 88"/>
                <a:gd name="T85" fmla="*/ 42 h 81"/>
                <a:gd name="T86" fmla="*/ 40 w 88"/>
                <a:gd name="T87" fmla="*/ 31 h 81"/>
                <a:gd name="T88" fmla="*/ 21 w 88"/>
                <a:gd name="T89" fmla="*/ 31 h 81"/>
                <a:gd name="T90" fmla="*/ 18 w 88"/>
                <a:gd name="T91" fmla="*/ 28 h 81"/>
                <a:gd name="T92" fmla="*/ 21 w 88"/>
                <a:gd name="T93" fmla="*/ 25 h 81"/>
                <a:gd name="T94" fmla="*/ 20 w 88"/>
                <a:gd name="T95" fmla="*/ 54 h 81"/>
                <a:gd name="T96" fmla="*/ 27 w 88"/>
                <a:gd name="T97" fmla="*/ 67 h 81"/>
                <a:gd name="T98" fmla="*/ 26 w 88"/>
                <a:gd name="T99" fmla="*/ 72 h 81"/>
                <a:gd name="T100" fmla="*/ 21 w 88"/>
                <a:gd name="T101" fmla="*/ 71 h 81"/>
                <a:gd name="T102" fmla="*/ 14 w 88"/>
                <a:gd name="T103" fmla="*/ 57 h 81"/>
                <a:gd name="T104" fmla="*/ 14 w 88"/>
                <a:gd name="T105" fmla="*/ 53 h 81"/>
                <a:gd name="T106" fmla="*/ 20 w 88"/>
                <a:gd name="T107" fmla="*/ 54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8" h="81">
                  <a:moveTo>
                    <a:pt x="43" y="0"/>
                  </a:moveTo>
                  <a:cubicBezTo>
                    <a:pt x="44" y="0"/>
                    <a:pt x="47" y="1"/>
                    <a:pt x="51" y="4"/>
                  </a:cubicBezTo>
                  <a:cubicBezTo>
                    <a:pt x="61" y="12"/>
                    <a:pt x="72" y="18"/>
                    <a:pt x="84" y="22"/>
                  </a:cubicBezTo>
                  <a:cubicBezTo>
                    <a:pt x="87" y="23"/>
                    <a:pt x="88" y="25"/>
                    <a:pt x="87" y="28"/>
                  </a:cubicBezTo>
                  <a:cubicBezTo>
                    <a:pt x="86" y="30"/>
                    <a:pt x="85" y="30"/>
                    <a:pt x="82" y="29"/>
                  </a:cubicBezTo>
                  <a:cubicBezTo>
                    <a:pt x="70" y="25"/>
                    <a:pt x="59" y="19"/>
                    <a:pt x="49" y="12"/>
                  </a:cubicBezTo>
                  <a:cubicBezTo>
                    <a:pt x="46" y="10"/>
                    <a:pt x="44" y="8"/>
                    <a:pt x="43" y="8"/>
                  </a:cubicBezTo>
                  <a:cubicBezTo>
                    <a:pt x="43" y="8"/>
                    <a:pt x="41" y="9"/>
                    <a:pt x="38" y="11"/>
                  </a:cubicBezTo>
                  <a:cubicBezTo>
                    <a:pt x="28" y="19"/>
                    <a:pt x="18" y="25"/>
                    <a:pt x="6" y="30"/>
                  </a:cubicBezTo>
                  <a:cubicBezTo>
                    <a:pt x="4" y="31"/>
                    <a:pt x="2" y="30"/>
                    <a:pt x="1" y="28"/>
                  </a:cubicBezTo>
                  <a:cubicBezTo>
                    <a:pt x="0" y="26"/>
                    <a:pt x="1" y="24"/>
                    <a:pt x="3" y="23"/>
                  </a:cubicBezTo>
                  <a:cubicBezTo>
                    <a:pt x="15" y="19"/>
                    <a:pt x="26" y="13"/>
                    <a:pt x="35" y="5"/>
                  </a:cubicBezTo>
                  <a:cubicBezTo>
                    <a:pt x="39" y="2"/>
                    <a:pt x="42" y="0"/>
                    <a:pt x="43" y="0"/>
                  </a:cubicBezTo>
                  <a:close/>
                  <a:moveTo>
                    <a:pt x="21" y="25"/>
                  </a:moveTo>
                  <a:cubicBezTo>
                    <a:pt x="68" y="25"/>
                    <a:pt x="68" y="25"/>
                    <a:pt x="68" y="25"/>
                  </a:cubicBezTo>
                  <a:cubicBezTo>
                    <a:pt x="70" y="25"/>
                    <a:pt x="71" y="26"/>
                    <a:pt x="71" y="28"/>
                  </a:cubicBezTo>
                  <a:cubicBezTo>
                    <a:pt x="71" y="30"/>
                    <a:pt x="70" y="31"/>
                    <a:pt x="6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80" y="42"/>
                    <a:pt x="80" y="42"/>
                    <a:pt x="80" y="42"/>
                  </a:cubicBezTo>
                  <a:cubicBezTo>
                    <a:pt x="82" y="42"/>
                    <a:pt x="83" y="43"/>
                    <a:pt x="83" y="46"/>
                  </a:cubicBezTo>
                  <a:cubicBezTo>
                    <a:pt x="83" y="48"/>
                    <a:pt x="82" y="49"/>
                    <a:pt x="80" y="49"/>
                  </a:cubicBezTo>
                  <a:cubicBezTo>
                    <a:pt x="48" y="49"/>
                    <a:pt x="48" y="49"/>
                    <a:pt x="48" y="49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59" y="73"/>
                    <a:pt x="59" y="72"/>
                    <a:pt x="60" y="70"/>
                  </a:cubicBezTo>
                  <a:cubicBezTo>
                    <a:pt x="64" y="64"/>
                    <a:pt x="67" y="59"/>
                    <a:pt x="70" y="53"/>
                  </a:cubicBezTo>
                  <a:cubicBezTo>
                    <a:pt x="71" y="51"/>
                    <a:pt x="73" y="50"/>
                    <a:pt x="75" y="51"/>
                  </a:cubicBezTo>
                  <a:cubicBezTo>
                    <a:pt x="76" y="52"/>
                    <a:pt x="77" y="54"/>
                    <a:pt x="76" y="56"/>
                  </a:cubicBezTo>
                  <a:cubicBezTo>
                    <a:pt x="72" y="65"/>
                    <a:pt x="69" y="70"/>
                    <a:pt x="66" y="73"/>
                  </a:cubicBezTo>
                  <a:cubicBezTo>
                    <a:pt x="65" y="74"/>
                    <a:pt x="65" y="74"/>
                    <a:pt x="64" y="74"/>
                  </a:cubicBezTo>
                  <a:cubicBezTo>
                    <a:pt x="84" y="74"/>
                    <a:pt x="84" y="74"/>
                    <a:pt x="84" y="74"/>
                  </a:cubicBezTo>
                  <a:cubicBezTo>
                    <a:pt x="86" y="74"/>
                    <a:pt x="87" y="75"/>
                    <a:pt x="87" y="77"/>
                  </a:cubicBezTo>
                  <a:cubicBezTo>
                    <a:pt x="87" y="79"/>
                    <a:pt x="86" y="81"/>
                    <a:pt x="84" y="81"/>
                  </a:cubicBezTo>
                  <a:cubicBezTo>
                    <a:pt x="6" y="81"/>
                    <a:pt x="6" y="81"/>
                    <a:pt x="6" y="81"/>
                  </a:cubicBezTo>
                  <a:cubicBezTo>
                    <a:pt x="3" y="81"/>
                    <a:pt x="2" y="79"/>
                    <a:pt x="2" y="77"/>
                  </a:cubicBezTo>
                  <a:cubicBezTo>
                    <a:pt x="2" y="75"/>
                    <a:pt x="3" y="74"/>
                    <a:pt x="6" y="74"/>
                  </a:cubicBezTo>
                  <a:cubicBezTo>
                    <a:pt x="40" y="74"/>
                    <a:pt x="40" y="74"/>
                    <a:pt x="40" y="74"/>
                  </a:cubicBezTo>
                  <a:cubicBezTo>
                    <a:pt x="40" y="49"/>
                    <a:pt x="40" y="49"/>
                    <a:pt x="40" y="49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7" y="49"/>
                    <a:pt x="6" y="48"/>
                    <a:pt x="6" y="46"/>
                  </a:cubicBezTo>
                  <a:cubicBezTo>
                    <a:pt x="6" y="43"/>
                    <a:pt x="7" y="42"/>
                    <a:pt x="9" y="42"/>
                  </a:cubicBezTo>
                  <a:cubicBezTo>
                    <a:pt x="40" y="42"/>
                    <a:pt x="40" y="42"/>
                    <a:pt x="40" y="42"/>
                  </a:cubicBezTo>
                  <a:cubicBezTo>
                    <a:pt x="40" y="31"/>
                    <a:pt x="40" y="31"/>
                    <a:pt x="40" y="31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19" y="31"/>
                    <a:pt x="18" y="30"/>
                    <a:pt x="18" y="28"/>
                  </a:cubicBezTo>
                  <a:cubicBezTo>
                    <a:pt x="18" y="26"/>
                    <a:pt x="19" y="25"/>
                    <a:pt x="21" y="25"/>
                  </a:cubicBezTo>
                  <a:close/>
                  <a:moveTo>
                    <a:pt x="20" y="54"/>
                  </a:moveTo>
                  <a:cubicBezTo>
                    <a:pt x="23" y="58"/>
                    <a:pt x="25" y="63"/>
                    <a:pt x="27" y="67"/>
                  </a:cubicBezTo>
                  <a:cubicBezTo>
                    <a:pt x="28" y="69"/>
                    <a:pt x="28" y="71"/>
                    <a:pt x="26" y="72"/>
                  </a:cubicBezTo>
                  <a:cubicBezTo>
                    <a:pt x="24" y="73"/>
                    <a:pt x="23" y="73"/>
                    <a:pt x="21" y="71"/>
                  </a:cubicBezTo>
                  <a:cubicBezTo>
                    <a:pt x="19" y="67"/>
                    <a:pt x="17" y="62"/>
                    <a:pt x="14" y="57"/>
                  </a:cubicBezTo>
                  <a:cubicBezTo>
                    <a:pt x="12" y="55"/>
                    <a:pt x="13" y="54"/>
                    <a:pt x="14" y="53"/>
                  </a:cubicBezTo>
                  <a:cubicBezTo>
                    <a:pt x="16" y="52"/>
                    <a:pt x="18" y="52"/>
                    <a:pt x="20" y="54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5" name="Freeform 9"/>
            <p:cNvSpPr>
              <a:spLocks noEditPoints="1"/>
            </p:cNvSpPr>
            <p:nvPr/>
          </p:nvSpPr>
          <p:spPr bwMode="auto">
            <a:xfrm>
              <a:off x="1168400" y="895350"/>
              <a:ext cx="136525" cy="139700"/>
            </a:xfrm>
            <a:custGeom>
              <a:avLst/>
              <a:gdLst>
                <a:gd name="T0" fmla="*/ 39 w 83"/>
                <a:gd name="T1" fmla="*/ 1 h 85"/>
                <a:gd name="T2" fmla="*/ 39 w 83"/>
                <a:gd name="T3" fmla="*/ 7 h 85"/>
                <a:gd name="T4" fmla="*/ 0 w 83"/>
                <a:gd name="T5" fmla="*/ 4 h 85"/>
                <a:gd name="T6" fmla="*/ 6 w 83"/>
                <a:gd name="T7" fmla="*/ 35 h 85"/>
                <a:gd name="T8" fmla="*/ 42 w 83"/>
                <a:gd name="T9" fmla="*/ 41 h 85"/>
                <a:gd name="T10" fmla="*/ 28 w 83"/>
                <a:gd name="T11" fmla="*/ 80 h 85"/>
                <a:gd name="T12" fmla="*/ 30 w 83"/>
                <a:gd name="T13" fmla="*/ 74 h 85"/>
                <a:gd name="T14" fmla="*/ 36 w 83"/>
                <a:gd name="T15" fmla="*/ 42 h 85"/>
                <a:gd name="T16" fmla="*/ 8 w 83"/>
                <a:gd name="T17" fmla="*/ 40 h 85"/>
                <a:gd name="T18" fmla="*/ 6 w 83"/>
                <a:gd name="T19" fmla="*/ 79 h 85"/>
                <a:gd name="T20" fmla="*/ 0 w 83"/>
                <a:gd name="T21" fmla="*/ 79 h 85"/>
                <a:gd name="T22" fmla="*/ 6 w 83"/>
                <a:gd name="T23" fmla="*/ 35 h 85"/>
                <a:gd name="T24" fmla="*/ 32 w 83"/>
                <a:gd name="T25" fmla="*/ 11 h 85"/>
                <a:gd name="T26" fmla="*/ 37 w 83"/>
                <a:gd name="T27" fmla="*/ 23 h 85"/>
                <a:gd name="T28" fmla="*/ 9 w 83"/>
                <a:gd name="T29" fmla="*/ 29 h 85"/>
                <a:gd name="T30" fmla="*/ 4 w 83"/>
                <a:gd name="T31" fmla="*/ 17 h 85"/>
                <a:gd name="T32" fmla="*/ 10 w 83"/>
                <a:gd name="T33" fmla="*/ 56 h 85"/>
                <a:gd name="T34" fmla="*/ 23 w 83"/>
                <a:gd name="T35" fmla="*/ 53 h 85"/>
                <a:gd name="T36" fmla="*/ 31 w 83"/>
                <a:gd name="T37" fmla="*/ 41 h 85"/>
                <a:gd name="T38" fmla="*/ 31 w 83"/>
                <a:gd name="T39" fmla="*/ 48 h 85"/>
                <a:gd name="T40" fmla="*/ 32 w 83"/>
                <a:gd name="T41" fmla="*/ 56 h 85"/>
                <a:gd name="T42" fmla="*/ 32 w 83"/>
                <a:gd name="T43" fmla="*/ 61 h 85"/>
                <a:gd name="T44" fmla="*/ 24 w 83"/>
                <a:gd name="T45" fmla="*/ 76 h 85"/>
                <a:gd name="T46" fmla="*/ 18 w 83"/>
                <a:gd name="T47" fmla="*/ 76 h 85"/>
                <a:gd name="T48" fmla="*/ 10 w 83"/>
                <a:gd name="T49" fmla="*/ 61 h 85"/>
                <a:gd name="T50" fmla="*/ 10 w 83"/>
                <a:gd name="T51" fmla="*/ 56 h 85"/>
                <a:gd name="T52" fmla="*/ 17 w 83"/>
                <a:gd name="T53" fmla="*/ 46 h 85"/>
                <a:gd name="T54" fmla="*/ 17 w 83"/>
                <a:gd name="T55" fmla="*/ 55 h 85"/>
                <a:gd name="T56" fmla="*/ 11 w 83"/>
                <a:gd name="T57" fmla="*/ 50 h 85"/>
                <a:gd name="T58" fmla="*/ 11 w 83"/>
                <a:gd name="T59" fmla="*/ 42 h 85"/>
                <a:gd name="T60" fmla="*/ 30 w 83"/>
                <a:gd name="T61" fmla="*/ 17 h 85"/>
                <a:gd name="T62" fmla="*/ 10 w 83"/>
                <a:gd name="T63" fmla="*/ 19 h 85"/>
                <a:gd name="T64" fmla="*/ 12 w 83"/>
                <a:gd name="T65" fmla="*/ 23 h 85"/>
                <a:gd name="T66" fmla="*/ 31 w 83"/>
                <a:gd name="T67" fmla="*/ 21 h 85"/>
                <a:gd name="T68" fmla="*/ 30 w 83"/>
                <a:gd name="T69" fmla="*/ 17 h 85"/>
                <a:gd name="T70" fmla="*/ 66 w 83"/>
                <a:gd name="T71" fmla="*/ 11 h 85"/>
                <a:gd name="T72" fmla="*/ 79 w 83"/>
                <a:gd name="T73" fmla="*/ 16 h 85"/>
                <a:gd name="T74" fmla="*/ 75 w 83"/>
                <a:gd name="T75" fmla="*/ 54 h 85"/>
                <a:gd name="T76" fmla="*/ 66 w 83"/>
                <a:gd name="T77" fmla="*/ 73 h 85"/>
                <a:gd name="T78" fmla="*/ 71 w 83"/>
                <a:gd name="T79" fmla="*/ 63 h 85"/>
                <a:gd name="T80" fmla="*/ 77 w 83"/>
                <a:gd name="T81" fmla="*/ 61 h 85"/>
                <a:gd name="T82" fmla="*/ 81 w 83"/>
                <a:gd name="T83" fmla="*/ 84 h 85"/>
                <a:gd name="T84" fmla="*/ 75 w 83"/>
                <a:gd name="T85" fmla="*/ 77 h 85"/>
                <a:gd name="T86" fmla="*/ 44 w 83"/>
                <a:gd name="T87" fmla="*/ 78 h 85"/>
                <a:gd name="T88" fmla="*/ 59 w 83"/>
                <a:gd name="T89" fmla="*/ 73 h 85"/>
                <a:gd name="T90" fmla="*/ 52 w 83"/>
                <a:gd name="T91" fmla="*/ 54 h 85"/>
                <a:gd name="T92" fmla="*/ 46 w 83"/>
                <a:gd name="T93" fmla="*/ 16 h 85"/>
                <a:gd name="T94" fmla="*/ 59 w 83"/>
                <a:gd name="T95" fmla="*/ 11 h 85"/>
                <a:gd name="T96" fmla="*/ 62 w 83"/>
                <a:gd name="T97" fmla="*/ 0 h 85"/>
                <a:gd name="T98" fmla="*/ 55 w 83"/>
                <a:gd name="T99" fmla="*/ 17 h 85"/>
                <a:gd name="T100" fmla="*/ 52 w 83"/>
                <a:gd name="T101" fmla="*/ 46 h 85"/>
                <a:gd name="T102" fmla="*/ 59 w 83"/>
                <a:gd name="T103" fmla="*/ 47 h 85"/>
                <a:gd name="T104" fmla="*/ 55 w 83"/>
                <a:gd name="T105" fmla="*/ 17 h 85"/>
                <a:gd name="T106" fmla="*/ 66 w 83"/>
                <a:gd name="T107" fmla="*/ 17 h 85"/>
                <a:gd name="T108" fmla="*/ 71 w 83"/>
                <a:gd name="T109" fmla="*/ 47 h 85"/>
                <a:gd name="T110" fmla="*/ 73 w 83"/>
                <a:gd name="T111" fmla="*/ 2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3" h="85">
                  <a:moveTo>
                    <a:pt x="4" y="1"/>
                  </a:moveTo>
                  <a:cubicBezTo>
                    <a:pt x="39" y="1"/>
                    <a:pt x="39" y="1"/>
                    <a:pt x="39" y="1"/>
                  </a:cubicBezTo>
                  <a:cubicBezTo>
                    <a:pt x="41" y="1"/>
                    <a:pt x="42" y="2"/>
                    <a:pt x="42" y="4"/>
                  </a:cubicBezTo>
                  <a:cubicBezTo>
                    <a:pt x="42" y="6"/>
                    <a:pt x="41" y="7"/>
                    <a:pt x="39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1" y="7"/>
                    <a:pt x="0" y="6"/>
                    <a:pt x="0" y="4"/>
                  </a:cubicBezTo>
                  <a:cubicBezTo>
                    <a:pt x="0" y="2"/>
                    <a:pt x="1" y="1"/>
                    <a:pt x="4" y="1"/>
                  </a:cubicBezTo>
                  <a:close/>
                  <a:moveTo>
                    <a:pt x="6" y="35"/>
                  </a:moveTo>
                  <a:cubicBezTo>
                    <a:pt x="35" y="35"/>
                    <a:pt x="35" y="35"/>
                    <a:pt x="35" y="35"/>
                  </a:cubicBezTo>
                  <a:cubicBezTo>
                    <a:pt x="40" y="35"/>
                    <a:pt x="43" y="37"/>
                    <a:pt x="42" y="41"/>
                  </a:cubicBezTo>
                  <a:cubicBezTo>
                    <a:pt x="42" y="74"/>
                    <a:pt x="42" y="74"/>
                    <a:pt x="42" y="74"/>
                  </a:cubicBezTo>
                  <a:cubicBezTo>
                    <a:pt x="42" y="81"/>
                    <a:pt x="37" y="82"/>
                    <a:pt x="28" y="80"/>
                  </a:cubicBezTo>
                  <a:cubicBezTo>
                    <a:pt x="26" y="79"/>
                    <a:pt x="26" y="78"/>
                    <a:pt x="26" y="76"/>
                  </a:cubicBezTo>
                  <a:cubicBezTo>
                    <a:pt x="27" y="74"/>
                    <a:pt x="28" y="74"/>
                    <a:pt x="30" y="74"/>
                  </a:cubicBezTo>
                  <a:cubicBezTo>
                    <a:pt x="34" y="76"/>
                    <a:pt x="36" y="76"/>
                    <a:pt x="36" y="73"/>
                  </a:cubicBezTo>
                  <a:cubicBezTo>
                    <a:pt x="36" y="42"/>
                    <a:pt x="36" y="42"/>
                    <a:pt x="36" y="42"/>
                  </a:cubicBezTo>
                  <a:cubicBezTo>
                    <a:pt x="36" y="41"/>
                    <a:pt x="36" y="40"/>
                    <a:pt x="35" y="40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6" y="40"/>
                    <a:pt x="5" y="41"/>
                    <a:pt x="6" y="43"/>
                  </a:cubicBezTo>
                  <a:cubicBezTo>
                    <a:pt x="6" y="79"/>
                    <a:pt x="6" y="79"/>
                    <a:pt x="6" y="79"/>
                  </a:cubicBezTo>
                  <a:cubicBezTo>
                    <a:pt x="5" y="81"/>
                    <a:pt x="4" y="82"/>
                    <a:pt x="3" y="82"/>
                  </a:cubicBezTo>
                  <a:cubicBezTo>
                    <a:pt x="1" y="82"/>
                    <a:pt x="0" y="81"/>
                    <a:pt x="0" y="79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37"/>
                    <a:pt x="2" y="35"/>
                    <a:pt x="6" y="35"/>
                  </a:cubicBezTo>
                  <a:close/>
                  <a:moveTo>
                    <a:pt x="9" y="11"/>
                  </a:moveTo>
                  <a:cubicBezTo>
                    <a:pt x="32" y="11"/>
                    <a:pt x="32" y="11"/>
                    <a:pt x="32" y="11"/>
                  </a:cubicBezTo>
                  <a:cubicBezTo>
                    <a:pt x="36" y="11"/>
                    <a:pt x="38" y="13"/>
                    <a:pt x="37" y="17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8" y="28"/>
                    <a:pt x="36" y="30"/>
                    <a:pt x="32" y="29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5" y="29"/>
                    <a:pt x="4" y="27"/>
                    <a:pt x="4" y="23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3" y="13"/>
                    <a:pt x="5" y="11"/>
                    <a:pt x="9" y="11"/>
                  </a:cubicBezTo>
                  <a:close/>
                  <a:moveTo>
                    <a:pt x="10" y="56"/>
                  </a:moveTo>
                  <a:cubicBezTo>
                    <a:pt x="22" y="56"/>
                    <a:pt x="22" y="56"/>
                    <a:pt x="22" y="56"/>
                  </a:cubicBezTo>
                  <a:cubicBezTo>
                    <a:pt x="22" y="55"/>
                    <a:pt x="22" y="54"/>
                    <a:pt x="23" y="53"/>
                  </a:cubicBezTo>
                  <a:cubicBezTo>
                    <a:pt x="24" y="50"/>
                    <a:pt x="26" y="46"/>
                    <a:pt x="27" y="43"/>
                  </a:cubicBezTo>
                  <a:cubicBezTo>
                    <a:pt x="28" y="41"/>
                    <a:pt x="29" y="41"/>
                    <a:pt x="31" y="41"/>
                  </a:cubicBezTo>
                  <a:cubicBezTo>
                    <a:pt x="33" y="42"/>
                    <a:pt x="33" y="44"/>
                    <a:pt x="33" y="46"/>
                  </a:cubicBezTo>
                  <a:cubicBezTo>
                    <a:pt x="32" y="47"/>
                    <a:pt x="32" y="47"/>
                    <a:pt x="31" y="48"/>
                  </a:cubicBezTo>
                  <a:cubicBezTo>
                    <a:pt x="30" y="52"/>
                    <a:pt x="29" y="54"/>
                    <a:pt x="28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3" y="56"/>
                    <a:pt x="34" y="57"/>
                    <a:pt x="34" y="59"/>
                  </a:cubicBezTo>
                  <a:cubicBezTo>
                    <a:pt x="34" y="61"/>
                    <a:pt x="33" y="61"/>
                    <a:pt x="32" y="61"/>
                  </a:cubicBezTo>
                  <a:cubicBezTo>
                    <a:pt x="24" y="61"/>
                    <a:pt x="24" y="61"/>
                    <a:pt x="24" y="61"/>
                  </a:cubicBezTo>
                  <a:cubicBezTo>
                    <a:pt x="24" y="76"/>
                    <a:pt x="24" y="76"/>
                    <a:pt x="24" y="76"/>
                  </a:cubicBezTo>
                  <a:cubicBezTo>
                    <a:pt x="23" y="77"/>
                    <a:pt x="22" y="78"/>
                    <a:pt x="20" y="78"/>
                  </a:cubicBezTo>
                  <a:cubicBezTo>
                    <a:pt x="19" y="78"/>
                    <a:pt x="18" y="77"/>
                    <a:pt x="18" y="76"/>
                  </a:cubicBezTo>
                  <a:cubicBezTo>
                    <a:pt x="18" y="61"/>
                    <a:pt x="18" y="61"/>
                    <a:pt x="18" y="61"/>
                  </a:cubicBezTo>
                  <a:cubicBezTo>
                    <a:pt x="10" y="61"/>
                    <a:pt x="10" y="61"/>
                    <a:pt x="10" y="61"/>
                  </a:cubicBezTo>
                  <a:cubicBezTo>
                    <a:pt x="8" y="61"/>
                    <a:pt x="7" y="61"/>
                    <a:pt x="7" y="59"/>
                  </a:cubicBezTo>
                  <a:cubicBezTo>
                    <a:pt x="7" y="57"/>
                    <a:pt x="8" y="56"/>
                    <a:pt x="10" y="56"/>
                  </a:cubicBezTo>
                  <a:close/>
                  <a:moveTo>
                    <a:pt x="15" y="43"/>
                  </a:moveTo>
                  <a:cubicBezTo>
                    <a:pt x="15" y="44"/>
                    <a:pt x="16" y="45"/>
                    <a:pt x="17" y="46"/>
                  </a:cubicBezTo>
                  <a:cubicBezTo>
                    <a:pt x="17" y="48"/>
                    <a:pt x="18" y="49"/>
                    <a:pt x="19" y="51"/>
                  </a:cubicBezTo>
                  <a:cubicBezTo>
                    <a:pt x="19" y="53"/>
                    <a:pt x="19" y="54"/>
                    <a:pt x="17" y="55"/>
                  </a:cubicBezTo>
                  <a:cubicBezTo>
                    <a:pt x="15" y="56"/>
                    <a:pt x="13" y="55"/>
                    <a:pt x="13" y="53"/>
                  </a:cubicBezTo>
                  <a:cubicBezTo>
                    <a:pt x="12" y="52"/>
                    <a:pt x="12" y="51"/>
                    <a:pt x="11" y="50"/>
                  </a:cubicBezTo>
                  <a:cubicBezTo>
                    <a:pt x="11" y="48"/>
                    <a:pt x="10" y="47"/>
                    <a:pt x="10" y="46"/>
                  </a:cubicBezTo>
                  <a:cubicBezTo>
                    <a:pt x="9" y="44"/>
                    <a:pt x="9" y="43"/>
                    <a:pt x="11" y="42"/>
                  </a:cubicBezTo>
                  <a:cubicBezTo>
                    <a:pt x="13" y="41"/>
                    <a:pt x="14" y="41"/>
                    <a:pt x="15" y="43"/>
                  </a:cubicBezTo>
                  <a:close/>
                  <a:moveTo>
                    <a:pt x="30" y="17"/>
                  </a:moveTo>
                  <a:cubicBezTo>
                    <a:pt x="11" y="17"/>
                    <a:pt x="11" y="17"/>
                    <a:pt x="11" y="17"/>
                  </a:cubicBezTo>
                  <a:cubicBezTo>
                    <a:pt x="10" y="17"/>
                    <a:pt x="9" y="18"/>
                    <a:pt x="10" y="19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10" y="23"/>
                    <a:pt x="10" y="23"/>
                    <a:pt x="12" y="23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31" y="23"/>
                    <a:pt x="31" y="23"/>
                    <a:pt x="31" y="21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1" y="18"/>
                    <a:pt x="31" y="17"/>
                    <a:pt x="30" y="17"/>
                  </a:cubicBezTo>
                  <a:close/>
                  <a:moveTo>
                    <a:pt x="66" y="3"/>
                  </a:moveTo>
                  <a:cubicBezTo>
                    <a:pt x="66" y="11"/>
                    <a:pt x="66" y="11"/>
                    <a:pt x="66" y="11"/>
                  </a:cubicBezTo>
                  <a:cubicBezTo>
                    <a:pt x="74" y="11"/>
                    <a:pt x="74" y="11"/>
                    <a:pt x="74" y="11"/>
                  </a:cubicBezTo>
                  <a:cubicBezTo>
                    <a:pt x="78" y="11"/>
                    <a:pt x="79" y="12"/>
                    <a:pt x="79" y="16"/>
                  </a:cubicBezTo>
                  <a:cubicBezTo>
                    <a:pt x="79" y="48"/>
                    <a:pt x="79" y="48"/>
                    <a:pt x="79" y="48"/>
                  </a:cubicBezTo>
                  <a:cubicBezTo>
                    <a:pt x="79" y="52"/>
                    <a:pt x="78" y="54"/>
                    <a:pt x="75" y="54"/>
                  </a:cubicBezTo>
                  <a:cubicBezTo>
                    <a:pt x="66" y="54"/>
                    <a:pt x="66" y="54"/>
                    <a:pt x="66" y="54"/>
                  </a:cubicBezTo>
                  <a:cubicBezTo>
                    <a:pt x="66" y="73"/>
                    <a:pt x="66" y="73"/>
                    <a:pt x="66" y="73"/>
                  </a:cubicBezTo>
                  <a:cubicBezTo>
                    <a:pt x="74" y="72"/>
                    <a:pt x="74" y="72"/>
                    <a:pt x="74" y="72"/>
                  </a:cubicBezTo>
                  <a:cubicBezTo>
                    <a:pt x="72" y="67"/>
                    <a:pt x="71" y="64"/>
                    <a:pt x="71" y="63"/>
                  </a:cubicBezTo>
                  <a:cubicBezTo>
                    <a:pt x="70" y="61"/>
                    <a:pt x="71" y="60"/>
                    <a:pt x="73" y="59"/>
                  </a:cubicBezTo>
                  <a:cubicBezTo>
                    <a:pt x="75" y="59"/>
                    <a:pt x="76" y="59"/>
                    <a:pt x="77" y="61"/>
                  </a:cubicBezTo>
                  <a:cubicBezTo>
                    <a:pt x="80" y="69"/>
                    <a:pt x="82" y="76"/>
                    <a:pt x="83" y="81"/>
                  </a:cubicBezTo>
                  <a:cubicBezTo>
                    <a:pt x="83" y="83"/>
                    <a:pt x="83" y="84"/>
                    <a:pt x="81" y="84"/>
                  </a:cubicBezTo>
                  <a:cubicBezTo>
                    <a:pt x="79" y="85"/>
                    <a:pt x="77" y="84"/>
                    <a:pt x="77" y="82"/>
                  </a:cubicBezTo>
                  <a:cubicBezTo>
                    <a:pt x="77" y="82"/>
                    <a:pt x="76" y="80"/>
                    <a:pt x="75" y="77"/>
                  </a:cubicBezTo>
                  <a:cubicBezTo>
                    <a:pt x="58" y="79"/>
                    <a:pt x="48" y="81"/>
                    <a:pt x="48" y="81"/>
                  </a:cubicBezTo>
                  <a:cubicBezTo>
                    <a:pt x="46" y="81"/>
                    <a:pt x="44" y="80"/>
                    <a:pt x="44" y="78"/>
                  </a:cubicBezTo>
                  <a:cubicBezTo>
                    <a:pt x="44" y="76"/>
                    <a:pt x="45" y="75"/>
                    <a:pt x="47" y="74"/>
                  </a:cubicBezTo>
                  <a:cubicBezTo>
                    <a:pt x="48" y="74"/>
                    <a:pt x="52" y="74"/>
                    <a:pt x="59" y="73"/>
                  </a:cubicBezTo>
                  <a:cubicBezTo>
                    <a:pt x="59" y="54"/>
                    <a:pt x="59" y="54"/>
                    <a:pt x="59" y="54"/>
                  </a:cubicBezTo>
                  <a:cubicBezTo>
                    <a:pt x="52" y="54"/>
                    <a:pt x="52" y="54"/>
                    <a:pt x="52" y="54"/>
                  </a:cubicBezTo>
                  <a:cubicBezTo>
                    <a:pt x="48" y="54"/>
                    <a:pt x="45" y="52"/>
                    <a:pt x="46" y="49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6" y="12"/>
                    <a:pt x="48" y="11"/>
                    <a:pt x="52" y="11"/>
                  </a:cubicBezTo>
                  <a:cubicBezTo>
                    <a:pt x="59" y="11"/>
                    <a:pt x="59" y="11"/>
                    <a:pt x="59" y="11"/>
                  </a:cubicBezTo>
                  <a:cubicBezTo>
                    <a:pt x="59" y="3"/>
                    <a:pt x="59" y="3"/>
                    <a:pt x="59" y="3"/>
                  </a:cubicBezTo>
                  <a:cubicBezTo>
                    <a:pt x="59" y="1"/>
                    <a:pt x="60" y="0"/>
                    <a:pt x="62" y="0"/>
                  </a:cubicBezTo>
                  <a:cubicBezTo>
                    <a:pt x="65" y="0"/>
                    <a:pt x="66" y="1"/>
                    <a:pt x="66" y="3"/>
                  </a:cubicBezTo>
                  <a:close/>
                  <a:moveTo>
                    <a:pt x="55" y="17"/>
                  </a:moveTo>
                  <a:cubicBezTo>
                    <a:pt x="53" y="17"/>
                    <a:pt x="52" y="18"/>
                    <a:pt x="52" y="20"/>
                  </a:cubicBezTo>
                  <a:cubicBezTo>
                    <a:pt x="52" y="46"/>
                    <a:pt x="52" y="46"/>
                    <a:pt x="52" y="46"/>
                  </a:cubicBezTo>
                  <a:cubicBezTo>
                    <a:pt x="52" y="47"/>
                    <a:pt x="53" y="48"/>
                    <a:pt x="54" y="47"/>
                  </a:cubicBezTo>
                  <a:cubicBezTo>
                    <a:pt x="59" y="47"/>
                    <a:pt x="59" y="47"/>
                    <a:pt x="59" y="47"/>
                  </a:cubicBezTo>
                  <a:cubicBezTo>
                    <a:pt x="59" y="17"/>
                    <a:pt x="59" y="17"/>
                    <a:pt x="59" y="17"/>
                  </a:cubicBezTo>
                  <a:lnTo>
                    <a:pt x="55" y="17"/>
                  </a:lnTo>
                  <a:close/>
                  <a:moveTo>
                    <a:pt x="71" y="17"/>
                  </a:moveTo>
                  <a:cubicBezTo>
                    <a:pt x="66" y="17"/>
                    <a:pt x="66" y="17"/>
                    <a:pt x="66" y="17"/>
                  </a:cubicBezTo>
                  <a:cubicBezTo>
                    <a:pt x="66" y="47"/>
                    <a:pt x="66" y="47"/>
                    <a:pt x="66" y="47"/>
                  </a:cubicBezTo>
                  <a:cubicBezTo>
                    <a:pt x="71" y="47"/>
                    <a:pt x="71" y="47"/>
                    <a:pt x="71" y="47"/>
                  </a:cubicBezTo>
                  <a:cubicBezTo>
                    <a:pt x="72" y="48"/>
                    <a:pt x="73" y="47"/>
                    <a:pt x="73" y="46"/>
                  </a:cubicBezTo>
                  <a:cubicBezTo>
                    <a:pt x="73" y="20"/>
                    <a:pt x="73" y="20"/>
                    <a:pt x="73" y="20"/>
                  </a:cubicBezTo>
                  <a:cubicBezTo>
                    <a:pt x="73" y="18"/>
                    <a:pt x="72" y="17"/>
                    <a:pt x="71" y="17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6" name="Freeform 10"/>
            <p:cNvSpPr>
              <a:spLocks noEditPoints="1"/>
            </p:cNvSpPr>
            <p:nvPr/>
          </p:nvSpPr>
          <p:spPr bwMode="auto">
            <a:xfrm>
              <a:off x="1476375" y="896938"/>
              <a:ext cx="144463" cy="136525"/>
            </a:xfrm>
            <a:custGeom>
              <a:avLst/>
              <a:gdLst>
                <a:gd name="T0" fmla="*/ 34 w 88"/>
                <a:gd name="T1" fmla="*/ 0 h 83"/>
                <a:gd name="T2" fmla="*/ 38 w 88"/>
                <a:gd name="T3" fmla="*/ 2 h 83"/>
                <a:gd name="T4" fmla="*/ 36 w 88"/>
                <a:gd name="T5" fmla="*/ 6 h 83"/>
                <a:gd name="T6" fmla="*/ 25 w 88"/>
                <a:gd name="T7" fmla="*/ 8 h 83"/>
                <a:gd name="T8" fmla="*/ 25 w 88"/>
                <a:gd name="T9" fmla="*/ 23 h 83"/>
                <a:gd name="T10" fmla="*/ 37 w 88"/>
                <a:gd name="T11" fmla="*/ 23 h 83"/>
                <a:gd name="T12" fmla="*/ 37 w 88"/>
                <a:gd name="T13" fmla="*/ 30 h 83"/>
                <a:gd name="T14" fmla="*/ 25 w 88"/>
                <a:gd name="T15" fmla="*/ 30 h 83"/>
                <a:gd name="T16" fmla="*/ 25 w 88"/>
                <a:gd name="T17" fmla="*/ 32 h 83"/>
                <a:gd name="T18" fmla="*/ 39 w 88"/>
                <a:gd name="T19" fmla="*/ 49 h 83"/>
                <a:gd name="T20" fmla="*/ 38 w 88"/>
                <a:gd name="T21" fmla="*/ 54 h 83"/>
                <a:gd name="T22" fmla="*/ 34 w 88"/>
                <a:gd name="T23" fmla="*/ 53 h 83"/>
                <a:gd name="T24" fmla="*/ 25 w 88"/>
                <a:gd name="T25" fmla="*/ 41 h 83"/>
                <a:gd name="T26" fmla="*/ 25 w 88"/>
                <a:gd name="T27" fmla="*/ 79 h 83"/>
                <a:gd name="T28" fmla="*/ 22 w 88"/>
                <a:gd name="T29" fmla="*/ 82 h 83"/>
                <a:gd name="T30" fmla="*/ 19 w 88"/>
                <a:gd name="T31" fmla="*/ 79 h 83"/>
                <a:gd name="T32" fmla="*/ 19 w 88"/>
                <a:gd name="T33" fmla="*/ 42 h 83"/>
                <a:gd name="T34" fmla="*/ 7 w 88"/>
                <a:gd name="T35" fmla="*/ 59 h 83"/>
                <a:gd name="T36" fmla="*/ 1 w 88"/>
                <a:gd name="T37" fmla="*/ 59 h 83"/>
                <a:gd name="T38" fmla="*/ 2 w 88"/>
                <a:gd name="T39" fmla="*/ 54 h 83"/>
                <a:gd name="T40" fmla="*/ 18 w 88"/>
                <a:gd name="T41" fmla="*/ 30 h 83"/>
                <a:gd name="T42" fmla="*/ 5 w 88"/>
                <a:gd name="T43" fmla="*/ 30 h 83"/>
                <a:gd name="T44" fmla="*/ 5 w 88"/>
                <a:gd name="T45" fmla="*/ 23 h 83"/>
                <a:gd name="T46" fmla="*/ 19 w 88"/>
                <a:gd name="T47" fmla="*/ 23 h 83"/>
                <a:gd name="T48" fmla="*/ 19 w 88"/>
                <a:gd name="T49" fmla="*/ 9 h 83"/>
                <a:gd name="T50" fmla="*/ 7 w 88"/>
                <a:gd name="T51" fmla="*/ 10 h 83"/>
                <a:gd name="T52" fmla="*/ 6 w 88"/>
                <a:gd name="T53" fmla="*/ 3 h 83"/>
                <a:gd name="T54" fmla="*/ 34 w 88"/>
                <a:gd name="T55" fmla="*/ 0 h 83"/>
                <a:gd name="T56" fmla="*/ 76 w 88"/>
                <a:gd name="T57" fmla="*/ 4 h 83"/>
                <a:gd name="T58" fmla="*/ 76 w 88"/>
                <a:gd name="T59" fmla="*/ 52 h 83"/>
                <a:gd name="T60" fmla="*/ 81 w 88"/>
                <a:gd name="T61" fmla="*/ 51 h 83"/>
                <a:gd name="T62" fmla="*/ 84 w 88"/>
                <a:gd name="T63" fmla="*/ 50 h 83"/>
                <a:gd name="T64" fmla="*/ 85 w 88"/>
                <a:gd name="T65" fmla="*/ 58 h 83"/>
                <a:gd name="T66" fmla="*/ 76 w 88"/>
                <a:gd name="T67" fmla="*/ 59 h 83"/>
                <a:gd name="T68" fmla="*/ 76 w 88"/>
                <a:gd name="T69" fmla="*/ 80 h 83"/>
                <a:gd name="T70" fmla="*/ 72 w 88"/>
                <a:gd name="T71" fmla="*/ 83 h 83"/>
                <a:gd name="T72" fmla="*/ 69 w 88"/>
                <a:gd name="T73" fmla="*/ 80 h 83"/>
                <a:gd name="T74" fmla="*/ 69 w 88"/>
                <a:gd name="T75" fmla="*/ 60 h 83"/>
                <a:gd name="T76" fmla="*/ 37 w 88"/>
                <a:gd name="T77" fmla="*/ 65 h 83"/>
                <a:gd name="T78" fmla="*/ 33 w 88"/>
                <a:gd name="T79" fmla="*/ 62 h 83"/>
                <a:gd name="T80" fmla="*/ 36 w 88"/>
                <a:gd name="T81" fmla="*/ 58 h 83"/>
                <a:gd name="T82" fmla="*/ 42 w 88"/>
                <a:gd name="T83" fmla="*/ 57 h 83"/>
                <a:gd name="T84" fmla="*/ 69 w 88"/>
                <a:gd name="T85" fmla="*/ 53 h 83"/>
                <a:gd name="T86" fmla="*/ 69 w 88"/>
                <a:gd name="T87" fmla="*/ 5 h 83"/>
                <a:gd name="T88" fmla="*/ 72 w 88"/>
                <a:gd name="T89" fmla="*/ 2 h 83"/>
                <a:gd name="T90" fmla="*/ 76 w 88"/>
                <a:gd name="T91" fmla="*/ 4 h 83"/>
                <a:gd name="T92" fmla="*/ 47 w 88"/>
                <a:gd name="T93" fmla="*/ 26 h 83"/>
                <a:gd name="T94" fmla="*/ 60 w 88"/>
                <a:gd name="T95" fmla="*/ 40 h 83"/>
                <a:gd name="T96" fmla="*/ 59 w 88"/>
                <a:gd name="T97" fmla="*/ 45 h 83"/>
                <a:gd name="T98" fmla="*/ 55 w 88"/>
                <a:gd name="T99" fmla="*/ 45 h 83"/>
                <a:gd name="T100" fmla="*/ 42 w 88"/>
                <a:gd name="T101" fmla="*/ 31 h 83"/>
                <a:gd name="T102" fmla="*/ 42 w 88"/>
                <a:gd name="T103" fmla="*/ 26 h 83"/>
                <a:gd name="T104" fmla="*/ 47 w 88"/>
                <a:gd name="T105" fmla="*/ 26 h 83"/>
                <a:gd name="T106" fmla="*/ 51 w 88"/>
                <a:gd name="T107" fmla="*/ 5 h 83"/>
                <a:gd name="T108" fmla="*/ 65 w 88"/>
                <a:gd name="T109" fmla="*/ 21 h 83"/>
                <a:gd name="T110" fmla="*/ 64 w 88"/>
                <a:gd name="T111" fmla="*/ 26 h 83"/>
                <a:gd name="T112" fmla="*/ 60 w 88"/>
                <a:gd name="T113" fmla="*/ 25 h 83"/>
                <a:gd name="T114" fmla="*/ 46 w 88"/>
                <a:gd name="T115" fmla="*/ 10 h 83"/>
                <a:gd name="T116" fmla="*/ 46 w 88"/>
                <a:gd name="T117" fmla="*/ 5 h 83"/>
                <a:gd name="T118" fmla="*/ 51 w 88"/>
                <a:gd name="T119" fmla="*/ 5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8" h="83">
                  <a:moveTo>
                    <a:pt x="34" y="0"/>
                  </a:moveTo>
                  <a:cubicBezTo>
                    <a:pt x="36" y="0"/>
                    <a:pt x="38" y="0"/>
                    <a:pt x="38" y="2"/>
                  </a:cubicBezTo>
                  <a:cubicBezTo>
                    <a:pt x="39" y="4"/>
                    <a:pt x="38" y="6"/>
                    <a:pt x="36" y="6"/>
                  </a:cubicBezTo>
                  <a:cubicBezTo>
                    <a:pt x="33" y="7"/>
                    <a:pt x="29" y="8"/>
                    <a:pt x="25" y="8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41" y="26"/>
                    <a:pt x="41" y="28"/>
                    <a:pt x="37" y="30"/>
                  </a:cubicBezTo>
                  <a:cubicBezTo>
                    <a:pt x="25" y="30"/>
                    <a:pt x="25" y="30"/>
                    <a:pt x="25" y="30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31" y="38"/>
                    <a:pt x="36" y="43"/>
                    <a:pt x="39" y="49"/>
                  </a:cubicBezTo>
                  <a:cubicBezTo>
                    <a:pt x="40" y="51"/>
                    <a:pt x="40" y="53"/>
                    <a:pt x="38" y="54"/>
                  </a:cubicBezTo>
                  <a:cubicBezTo>
                    <a:pt x="36" y="56"/>
                    <a:pt x="35" y="55"/>
                    <a:pt x="34" y="53"/>
                  </a:cubicBezTo>
                  <a:cubicBezTo>
                    <a:pt x="32" y="50"/>
                    <a:pt x="29" y="46"/>
                    <a:pt x="25" y="41"/>
                  </a:cubicBezTo>
                  <a:cubicBezTo>
                    <a:pt x="25" y="79"/>
                    <a:pt x="25" y="79"/>
                    <a:pt x="25" y="79"/>
                  </a:cubicBezTo>
                  <a:cubicBezTo>
                    <a:pt x="25" y="80"/>
                    <a:pt x="24" y="81"/>
                    <a:pt x="22" y="82"/>
                  </a:cubicBezTo>
                  <a:cubicBezTo>
                    <a:pt x="20" y="81"/>
                    <a:pt x="19" y="80"/>
                    <a:pt x="19" y="79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5" y="49"/>
                    <a:pt x="11" y="54"/>
                    <a:pt x="7" y="59"/>
                  </a:cubicBezTo>
                  <a:cubicBezTo>
                    <a:pt x="5" y="61"/>
                    <a:pt x="3" y="61"/>
                    <a:pt x="1" y="59"/>
                  </a:cubicBezTo>
                  <a:cubicBezTo>
                    <a:pt x="0" y="58"/>
                    <a:pt x="0" y="56"/>
                    <a:pt x="2" y="54"/>
                  </a:cubicBezTo>
                  <a:cubicBezTo>
                    <a:pt x="9" y="48"/>
                    <a:pt x="14" y="40"/>
                    <a:pt x="18" y="30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1" y="28"/>
                    <a:pt x="1" y="25"/>
                    <a:pt x="5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5" y="10"/>
                    <a:pt x="11" y="10"/>
                    <a:pt x="7" y="10"/>
                  </a:cubicBezTo>
                  <a:cubicBezTo>
                    <a:pt x="3" y="9"/>
                    <a:pt x="3" y="6"/>
                    <a:pt x="6" y="3"/>
                  </a:cubicBezTo>
                  <a:cubicBezTo>
                    <a:pt x="15" y="3"/>
                    <a:pt x="25" y="2"/>
                    <a:pt x="34" y="0"/>
                  </a:cubicBezTo>
                  <a:close/>
                  <a:moveTo>
                    <a:pt x="76" y="4"/>
                  </a:moveTo>
                  <a:cubicBezTo>
                    <a:pt x="76" y="52"/>
                    <a:pt x="76" y="52"/>
                    <a:pt x="76" y="52"/>
                  </a:cubicBezTo>
                  <a:cubicBezTo>
                    <a:pt x="77" y="51"/>
                    <a:pt x="79" y="51"/>
                    <a:pt x="81" y="51"/>
                  </a:cubicBezTo>
                  <a:cubicBezTo>
                    <a:pt x="83" y="51"/>
                    <a:pt x="84" y="50"/>
                    <a:pt x="84" y="50"/>
                  </a:cubicBezTo>
                  <a:cubicBezTo>
                    <a:pt x="88" y="53"/>
                    <a:pt x="88" y="55"/>
                    <a:pt x="85" y="58"/>
                  </a:cubicBezTo>
                  <a:cubicBezTo>
                    <a:pt x="80" y="58"/>
                    <a:pt x="77" y="59"/>
                    <a:pt x="76" y="59"/>
                  </a:cubicBezTo>
                  <a:cubicBezTo>
                    <a:pt x="76" y="80"/>
                    <a:pt x="76" y="80"/>
                    <a:pt x="76" y="80"/>
                  </a:cubicBezTo>
                  <a:cubicBezTo>
                    <a:pt x="75" y="82"/>
                    <a:pt x="74" y="83"/>
                    <a:pt x="72" y="83"/>
                  </a:cubicBezTo>
                  <a:cubicBezTo>
                    <a:pt x="70" y="83"/>
                    <a:pt x="69" y="82"/>
                    <a:pt x="69" y="80"/>
                  </a:cubicBezTo>
                  <a:cubicBezTo>
                    <a:pt x="69" y="60"/>
                    <a:pt x="69" y="60"/>
                    <a:pt x="69" y="60"/>
                  </a:cubicBezTo>
                  <a:cubicBezTo>
                    <a:pt x="54" y="63"/>
                    <a:pt x="43" y="64"/>
                    <a:pt x="37" y="65"/>
                  </a:cubicBezTo>
                  <a:cubicBezTo>
                    <a:pt x="35" y="65"/>
                    <a:pt x="34" y="64"/>
                    <a:pt x="33" y="62"/>
                  </a:cubicBezTo>
                  <a:cubicBezTo>
                    <a:pt x="33" y="60"/>
                    <a:pt x="34" y="58"/>
                    <a:pt x="36" y="58"/>
                  </a:cubicBezTo>
                  <a:cubicBezTo>
                    <a:pt x="37" y="58"/>
                    <a:pt x="39" y="57"/>
                    <a:pt x="42" y="57"/>
                  </a:cubicBezTo>
                  <a:cubicBezTo>
                    <a:pt x="53" y="55"/>
                    <a:pt x="62" y="54"/>
                    <a:pt x="69" y="53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69" y="3"/>
                    <a:pt x="70" y="2"/>
                    <a:pt x="72" y="2"/>
                  </a:cubicBezTo>
                  <a:cubicBezTo>
                    <a:pt x="74" y="2"/>
                    <a:pt x="75" y="3"/>
                    <a:pt x="76" y="4"/>
                  </a:cubicBezTo>
                  <a:close/>
                  <a:moveTo>
                    <a:pt x="47" y="26"/>
                  </a:moveTo>
                  <a:cubicBezTo>
                    <a:pt x="52" y="30"/>
                    <a:pt x="56" y="34"/>
                    <a:pt x="60" y="40"/>
                  </a:cubicBezTo>
                  <a:cubicBezTo>
                    <a:pt x="61" y="42"/>
                    <a:pt x="61" y="44"/>
                    <a:pt x="59" y="45"/>
                  </a:cubicBezTo>
                  <a:cubicBezTo>
                    <a:pt x="57" y="47"/>
                    <a:pt x="56" y="46"/>
                    <a:pt x="55" y="45"/>
                  </a:cubicBezTo>
                  <a:cubicBezTo>
                    <a:pt x="51" y="39"/>
                    <a:pt x="47" y="35"/>
                    <a:pt x="42" y="31"/>
                  </a:cubicBezTo>
                  <a:cubicBezTo>
                    <a:pt x="41" y="30"/>
                    <a:pt x="40" y="28"/>
                    <a:pt x="42" y="26"/>
                  </a:cubicBezTo>
                  <a:cubicBezTo>
                    <a:pt x="43" y="25"/>
                    <a:pt x="45" y="25"/>
                    <a:pt x="47" y="26"/>
                  </a:cubicBezTo>
                  <a:close/>
                  <a:moveTo>
                    <a:pt x="51" y="5"/>
                  </a:moveTo>
                  <a:cubicBezTo>
                    <a:pt x="56" y="10"/>
                    <a:pt x="61" y="15"/>
                    <a:pt x="65" y="21"/>
                  </a:cubicBezTo>
                  <a:cubicBezTo>
                    <a:pt x="66" y="23"/>
                    <a:pt x="66" y="25"/>
                    <a:pt x="64" y="26"/>
                  </a:cubicBezTo>
                  <a:cubicBezTo>
                    <a:pt x="63" y="27"/>
                    <a:pt x="61" y="27"/>
                    <a:pt x="60" y="25"/>
                  </a:cubicBezTo>
                  <a:cubicBezTo>
                    <a:pt x="56" y="20"/>
                    <a:pt x="51" y="15"/>
                    <a:pt x="46" y="10"/>
                  </a:cubicBezTo>
                  <a:cubicBezTo>
                    <a:pt x="45" y="9"/>
                    <a:pt x="44" y="7"/>
                    <a:pt x="46" y="5"/>
                  </a:cubicBezTo>
                  <a:cubicBezTo>
                    <a:pt x="47" y="4"/>
                    <a:pt x="49" y="4"/>
                    <a:pt x="51" y="5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1644650" y="896938"/>
              <a:ext cx="144463" cy="134937"/>
            </a:xfrm>
            <a:custGeom>
              <a:avLst/>
              <a:gdLst>
                <a:gd name="T0" fmla="*/ 20 w 88"/>
                <a:gd name="T1" fmla="*/ 17 h 82"/>
                <a:gd name="T2" fmla="*/ 30 w 88"/>
                <a:gd name="T3" fmla="*/ 20 h 82"/>
                <a:gd name="T4" fmla="*/ 20 w 88"/>
                <a:gd name="T5" fmla="*/ 23 h 82"/>
                <a:gd name="T6" fmla="*/ 26 w 88"/>
                <a:gd name="T7" fmla="*/ 38 h 82"/>
                <a:gd name="T8" fmla="*/ 30 w 88"/>
                <a:gd name="T9" fmla="*/ 43 h 82"/>
                <a:gd name="T10" fmla="*/ 20 w 88"/>
                <a:gd name="T11" fmla="*/ 75 h 82"/>
                <a:gd name="T12" fmla="*/ 3 w 88"/>
                <a:gd name="T13" fmla="*/ 76 h 82"/>
                <a:gd name="T14" fmla="*/ 13 w 88"/>
                <a:gd name="T15" fmla="*/ 72 h 82"/>
                <a:gd name="T16" fmla="*/ 9 w 88"/>
                <a:gd name="T17" fmla="*/ 52 h 82"/>
                <a:gd name="T18" fmla="*/ 0 w 88"/>
                <a:gd name="T19" fmla="*/ 52 h 82"/>
                <a:gd name="T20" fmla="*/ 5 w 88"/>
                <a:gd name="T21" fmla="*/ 47 h 82"/>
                <a:gd name="T22" fmla="*/ 13 w 88"/>
                <a:gd name="T23" fmla="*/ 23 h 82"/>
                <a:gd name="T24" fmla="*/ 2 w 88"/>
                <a:gd name="T25" fmla="*/ 20 h 82"/>
                <a:gd name="T26" fmla="*/ 13 w 88"/>
                <a:gd name="T27" fmla="*/ 17 h 82"/>
                <a:gd name="T28" fmla="*/ 17 w 88"/>
                <a:gd name="T29" fmla="*/ 1 h 82"/>
                <a:gd name="T30" fmla="*/ 58 w 88"/>
                <a:gd name="T31" fmla="*/ 3 h 82"/>
                <a:gd name="T32" fmla="*/ 81 w 88"/>
                <a:gd name="T33" fmla="*/ 8 h 82"/>
                <a:gd name="T34" fmla="*/ 81 w 88"/>
                <a:gd name="T35" fmla="*/ 15 h 82"/>
                <a:gd name="T36" fmla="*/ 58 w 88"/>
                <a:gd name="T37" fmla="*/ 28 h 82"/>
                <a:gd name="T38" fmla="*/ 80 w 88"/>
                <a:gd name="T39" fmla="*/ 38 h 82"/>
                <a:gd name="T40" fmla="*/ 85 w 88"/>
                <a:gd name="T41" fmla="*/ 75 h 82"/>
                <a:gd name="T42" fmla="*/ 82 w 88"/>
                <a:gd name="T43" fmla="*/ 82 h 82"/>
                <a:gd name="T44" fmla="*/ 29 w 88"/>
                <a:gd name="T45" fmla="*/ 81 h 82"/>
                <a:gd name="T46" fmla="*/ 26 w 88"/>
                <a:gd name="T47" fmla="*/ 74 h 82"/>
                <a:gd name="T48" fmla="*/ 34 w 88"/>
                <a:gd name="T49" fmla="*/ 40 h 82"/>
                <a:gd name="T50" fmla="*/ 33 w 88"/>
                <a:gd name="T51" fmla="*/ 35 h 82"/>
                <a:gd name="T52" fmla="*/ 34 w 88"/>
                <a:gd name="T53" fmla="*/ 28 h 82"/>
                <a:gd name="T54" fmla="*/ 51 w 88"/>
                <a:gd name="T55" fmla="*/ 15 h 82"/>
                <a:gd name="T56" fmla="*/ 28 w 88"/>
                <a:gd name="T57" fmla="*/ 12 h 82"/>
                <a:gd name="T58" fmla="*/ 51 w 88"/>
                <a:gd name="T59" fmla="*/ 8 h 82"/>
                <a:gd name="T60" fmla="*/ 55 w 88"/>
                <a:gd name="T61" fmla="*/ 0 h 82"/>
                <a:gd name="T62" fmla="*/ 70 w 88"/>
                <a:gd name="T63" fmla="*/ 35 h 82"/>
                <a:gd name="T64" fmla="*/ 40 w 88"/>
                <a:gd name="T65" fmla="*/ 36 h 82"/>
                <a:gd name="T66" fmla="*/ 72 w 88"/>
                <a:gd name="T67" fmla="*/ 38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8" h="82">
                  <a:moveTo>
                    <a:pt x="20" y="4"/>
                  </a:moveTo>
                  <a:cubicBezTo>
                    <a:pt x="20" y="17"/>
                    <a:pt x="20" y="17"/>
                    <a:pt x="20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9" y="17"/>
                    <a:pt x="30" y="18"/>
                    <a:pt x="30" y="20"/>
                  </a:cubicBezTo>
                  <a:cubicBezTo>
                    <a:pt x="30" y="22"/>
                    <a:pt x="29" y="23"/>
                    <a:pt x="27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2" y="40"/>
                    <a:pt x="24" y="39"/>
                    <a:pt x="26" y="38"/>
                  </a:cubicBezTo>
                  <a:cubicBezTo>
                    <a:pt x="28" y="37"/>
                    <a:pt x="29" y="38"/>
                    <a:pt x="30" y="39"/>
                  </a:cubicBezTo>
                  <a:cubicBezTo>
                    <a:pt x="31" y="41"/>
                    <a:pt x="31" y="42"/>
                    <a:pt x="30" y="43"/>
                  </a:cubicBezTo>
                  <a:cubicBezTo>
                    <a:pt x="28" y="44"/>
                    <a:pt x="25" y="46"/>
                    <a:pt x="20" y="48"/>
                  </a:cubicBezTo>
                  <a:cubicBezTo>
                    <a:pt x="20" y="75"/>
                    <a:pt x="20" y="75"/>
                    <a:pt x="20" y="75"/>
                  </a:cubicBezTo>
                  <a:cubicBezTo>
                    <a:pt x="19" y="80"/>
                    <a:pt x="15" y="82"/>
                    <a:pt x="6" y="80"/>
                  </a:cubicBezTo>
                  <a:cubicBezTo>
                    <a:pt x="4" y="80"/>
                    <a:pt x="3" y="78"/>
                    <a:pt x="3" y="76"/>
                  </a:cubicBezTo>
                  <a:cubicBezTo>
                    <a:pt x="4" y="74"/>
                    <a:pt x="5" y="73"/>
                    <a:pt x="7" y="74"/>
                  </a:cubicBezTo>
                  <a:cubicBezTo>
                    <a:pt x="12" y="75"/>
                    <a:pt x="14" y="75"/>
                    <a:pt x="13" y="72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13" y="51"/>
                    <a:pt x="11" y="52"/>
                    <a:pt x="9" y="52"/>
                  </a:cubicBezTo>
                  <a:cubicBezTo>
                    <a:pt x="7" y="53"/>
                    <a:pt x="5" y="54"/>
                    <a:pt x="5" y="54"/>
                  </a:cubicBezTo>
                  <a:cubicBezTo>
                    <a:pt x="2" y="55"/>
                    <a:pt x="1" y="54"/>
                    <a:pt x="0" y="52"/>
                  </a:cubicBezTo>
                  <a:cubicBezTo>
                    <a:pt x="0" y="50"/>
                    <a:pt x="0" y="49"/>
                    <a:pt x="2" y="48"/>
                  </a:cubicBezTo>
                  <a:cubicBezTo>
                    <a:pt x="3" y="48"/>
                    <a:pt x="4" y="48"/>
                    <a:pt x="5" y="47"/>
                  </a:cubicBezTo>
                  <a:cubicBezTo>
                    <a:pt x="8" y="46"/>
                    <a:pt x="11" y="45"/>
                    <a:pt x="13" y="44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3" y="23"/>
                    <a:pt x="2" y="22"/>
                    <a:pt x="2" y="20"/>
                  </a:cubicBezTo>
                  <a:cubicBezTo>
                    <a:pt x="2" y="18"/>
                    <a:pt x="3" y="17"/>
                    <a:pt x="5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2"/>
                    <a:pt x="14" y="1"/>
                    <a:pt x="17" y="1"/>
                  </a:cubicBezTo>
                  <a:cubicBezTo>
                    <a:pt x="19" y="1"/>
                    <a:pt x="20" y="2"/>
                    <a:pt x="20" y="4"/>
                  </a:cubicBezTo>
                  <a:close/>
                  <a:moveTo>
                    <a:pt x="58" y="3"/>
                  </a:moveTo>
                  <a:cubicBezTo>
                    <a:pt x="58" y="8"/>
                    <a:pt x="58" y="8"/>
                    <a:pt x="58" y="8"/>
                  </a:cubicBezTo>
                  <a:cubicBezTo>
                    <a:pt x="81" y="8"/>
                    <a:pt x="81" y="8"/>
                    <a:pt x="81" y="8"/>
                  </a:cubicBezTo>
                  <a:cubicBezTo>
                    <a:pt x="83" y="9"/>
                    <a:pt x="84" y="10"/>
                    <a:pt x="85" y="12"/>
                  </a:cubicBezTo>
                  <a:cubicBezTo>
                    <a:pt x="84" y="14"/>
                    <a:pt x="83" y="15"/>
                    <a:pt x="81" y="15"/>
                  </a:cubicBezTo>
                  <a:cubicBezTo>
                    <a:pt x="58" y="15"/>
                    <a:pt x="58" y="15"/>
                    <a:pt x="58" y="15"/>
                  </a:cubicBezTo>
                  <a:cubicBezTo>
                    <a:pt x="58" y="28"/>
                    <a:pt x="58" y="28"/>
                    <a:pt x="58" y="28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80" y="29"/>
                    <a:pt x="82" y="32"/>
                    <a:pt x="80" y="38"/>
                  </a:cubicBezTo>
                  <a:cubicBezTo>
                    <a:pt x="76" y="48"/>
                    <a:pt x="70" y="56"/>
                    <a:pt x="62" y="63"/>
                  </a:cubicBezTo>
                  <a:cubicBezTo>
                    <a:pt x="69" y="68"/>
                    <a:pt x="77" y="72"/>
                    <a:pt x="85" y="75"/>
                  </a:cubicBezTo>
                  <a:cubicBezTo>
                    <a:pt x="87" y="76"/>
                    <a:pt x="88" y="77"/>
                    <a:pt x="87" y="80"/>
                  </a:cubicBezTo>
                  <a:cubicBezTo>
                    <a:pt x="86" y="82"/>
                    <a:pt x="84" y="82"/>
                    <a:pt x="82" y="82"/>
                  </a:cubicBezTo>
                  <a:cubicBezTo>
                    <a:pt x="74" y="78"/>
                    <a:pt x="65" y="74"/>
                    <a:pt x="56" y="68"/>
                  </a:cubicBezTo>
                  <a:cubicBezTo>
                    <a:pt x="48" y="73"/>
                    <a:pt x="39" y="77"/>
                    <a:pt x="29" y="81"/>
                  </a:cubicBezTo>
                  <a:cubicBezTo>
                    <a:pt x="26" y="81"/>
                    <a:pt x="25" y="81"/>
                    <a:pt x="24" y="78"/>
                  </a:cubicBezTo>
                  <a:cubicBezTo>
                    <a:pt x="23" y="76"/>
                    <a:pt x="24" y="75"/>
                    <a:pt x="26" y="74"/>
                  </a:cubicBezTo>
                  <a:cubicBezTo>
                    <a:pt x="36" y="71"/>
                    <a:pt x="44" y="68"/>
                    <a:pt x="50" y="63"/>
                  </a:cubicBezTo>
                  <a:cubicBezTo>
                    <a:pt x="45" y="59"/>
                    <a:pt x="40" y="51"/>
                    <a:pt x="34" y="40"/>
                  </a:cubicBezTo>
                  <a:cubicBezTo>
                    <a:pt x="33" y="38"/>
                    <a:pt x="33" y="37"/>
                    <a:pt x="35" y="35"/>
                  </a:cubicBezTo>
                  <a:cubicBezTo>
                    <a:pt x="33" y="35"/>
                    <a:pt x="33" y="35"/>
                    <a:pt x="33" y="35"/>
                  </a:cubicBezTo>
                  <a:cubicBezTo>
                    <a:pt x="32" y="35"/>
                    <a:pt x="31" y="34"/>
                    <a:pt x="30" y="32"/>
                  </a:cubicBezTo>
                  <a:cubicBezTo>
                    <a:pt x="31" y="29"/>
                    <a:pt x="32" y="28"/>
                    <a:pt x="34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15"/>
                    <a:pt x="51" y="15"/>
                    <a:pt x="5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29" y="15"/>
                    <a:pt x="28" y="14"/>
                    <a:pt x="28" y="12"/>
                  </a:cubicBezTo>
                  <a:cubicBezTo>
                    <a:pt x="28" y="10"/>
                    <a:pt x="29" y="9"/>
                    <a:pt x="31" y="8"/>
                  </a:cubicBezTo>
                  <a:cubicBezTo>
                    <a:pt x="51" y="8"/>
                    <a:pt x="51" y="8"/>
                    <a:pt x="51" y="8"/>
                  </a:cubicBezTo>
                  <a:cubicBezTo>
                    <a:pt x="51" y="3"/>
                    <a:pt x="51" y="3"/>
                    <a:pt x="51" y="3"/>
                  </a:cubicBezTo>
                  <a:cubicBezTo>
                    <a:pt x="51" y="1"/>
                    <a:pt x="52" y="0"/>
                    <a:pt x="55" y="0"/>
                  </a:cubicBezTo>
                  <a:cubicBezTo>
                    <a:pt x="57" y="0"/>
                    <a:pt x="58" y="1"/>
                    <a:pt x="58" y="3"/>
                  </a:cubicBezTo>
                  <a:close/>
                  <a:moveTo>
                    <a:pt x="70" y="35"/>
                  </a:moveTo>
                  <a:cubicBezTo>
                    <a:pt x="39" y="35"/>
                    <a:pt x="39" y="35"/>
                    <a:pt x="39" y="35"/>
                  </a:cubicBezTo>
                  <a:cubicBezTo>
                    <a:pt x="39" y="36"/>
                    <a:pt x="39" y="36"/>
                    <a:pt x="40" y="36"/>
                  </a:cubicBezTo>
                  <a:cubicBezTo>
                    <a:pt x="47" y="47"/>
                    <a:pt x="52" y="55"/>
                    <a:pt x="56" y="58"/>
                  </a:cubicBezTo>
                  <a:cubicBezTo>
                    <a:pt x="63" y="52"/>
                    <a:pt x="68" y="46"/>
                    <a:pt x="72" y="38"/>
                  </a:cubicBezTo>
                  <a:cubicBezTo>
                    <a:pt x="72" y="37"/>
                    <a:pt x="72" y="36"/>
                    <a:pt x="70" y="35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  <p:sp>
        <p:nvSpPr>
          <p:cNvPr id="18" name="任意多边形: 形状 17"/>
          <p:cNvSpPr/>
          <p:nvPr userDrawn="1"/>
        </p:nvSpPr>
        <p:spPr>
          <a:xfrm>
            <a:off x="0" y="0"/>
            <a:ext cx="690654" cy="745871"/>
          </a:xfrm>
          <a:custGeom>
            <a:avLst/>
            <a:gdLst>
              <a:gd name="connsiteX0" fmla="*/ 590479 w 631437"/>
              <a:gd name="connsiteY0" fmla="*/ 600003 h 681919"/>
              <a:gd name="connsiteX1" fmla="*/ 631437 w 631437"/>
              <a:gd name="connsiteY1" fmla="*/ 640961 h 681919"/>
              <a:gd name="connsiteX2" fmla="*/ 590479 w 631437"/>
              <a:gd name="connsiteY2" fmla="*/ 681919 h 681919"/>
              <a:gd name="connsiteX3" fmla="*/ 549521 w 631437"/>
              <a:gd name="connsiteY3" fmla="*/ 640961 h 681919"/>
              <a:gd name="connsiteX4" fmla="*/ 590479 w 631437"/>
              <a:gd name="connsiteY4" fmla="*/ 600003 h 681919"/>
              <a:gd name="connsiteX5" fmla="*/ 448555 w 631437"/>
              <a:gd name="connsiteY5" fmla="*/ 600003 h 681919"/>
              <a:gd name="connsiteX6" fmla="*/ 489513 w 631437"/>
              <a:gd name="connsiteY6" fmla="*/ 640961 h 681919"/>
              <a:gd name="connsiteX7" fmla="*/ 448555 w 631437"/>
              <a:gd name="connsiteY7" fmla="*/ 681919 h 681919"/>
              <a:gd name="connsiteX8" fmla="*/ 407597 w 631437"/>
              <a:gd name="connsiteY8" fmla="*/ 640961 h 681919"/>
              <a:gd name="connsiteX9" fmla="*/ 448555 w 631437"/>
              <a:gd name="connsiteY9" fmla="*/ 600003 h 681919"/>
              <a:gd name="connsiteX10" fmla="*/ 306633 w 631437"/>
              <a:gd name="connsiteY10" fmla="*/ 600003 h 681919"/>
              <a:gd name="connsiteX11" fmla="*/ 347591 w 631437"/>
              <a:gd name="connsiteY11" fmla="*/ 640961 h 681919"/>
              <a:gd name="connsiteX12" fmla="*/ 306633 w 631437"/>
              <a:gd name="connsiteY12" fmla="*/ 681919 h 681919"/>
              <a:gd name="connsiteX13" fmla="*/ 265675 w 631437"/>
              <a:gd name="connsiteY13" fmla="*/ 640961 h 681919"/>
              <a:gd name="connsiteX14" fmla="*/ 306633 w 631437"/>
              <a:gd name="connsiteY14" fmla="*/ 600003 h 681919"/>
              <a:gd name="connsiteX15" fmla="*/ 164711 w 631437"/>
              <a:gd name="connsiteY15" fmla="*/ 600003 h 681919"/>
              <a:gd name="connsiteX16" fmla="*/ 205669 w 631437"/>
              <a:gd name="connsiteY16" fmla="*/ 640961 h 681919"/>
              <a:gd name="connsiteX17" fmla="*/ 164711 w 631437"/>
              <a:gd name="connsiteY17" fmla="*/ 681919 h 681919"/>
              <a:gd name="connsiteX18" fmla="*/ 123753 w 631437"/>
              <a:gd name="connsiteY18" fmla="*/ 640961 h 681919"/>
              <a:gd name="connsiteX19" fmla="*/ 164711 w 631437"/>
              <a:gd name="connsiteY19" fmla="*/ 600003 h 681919"/>
              <a:gd name="connsiteX20" fmla="*/ 22789 w 631437"/>
              <a:gd name="connsiteY20" fmla="*/ 600003 h 681919"/>
              <a:gd name="connsiteX21" fmla="*/ 63747 w 631437"/>
              <a:gd name="connsiteY21" fmla="*/ 640961 h 681919"/>
              <a:gd name="connsiteX22" fmla="*/ 22789 w 631437"/>
              <a:gd name="connsiteY22" fmla="*/ 681919 h 681919"/>
              <a:gd name="connsiteX23" fmla="*/ 0 w 631437"/>
              <a:gd name="connsiteY23" fmla="*/ 672479 h 681919"/>
              <a:gd name="connsiteX24" fmla="*/ 0 w 631437"/>
              <a:gd name="connsiteY24" fmla="*/ 609443 h 681919"/>
              <a:gd name="connsiteX25" fmla="*/ 590479 w 631437"/>
              <a:gd name="connsiteY25" fmla="*/ 441888 h 681919"/>
              <a:gd name="connsiteX26" fmla="*/ 631437 w 631437"/>
              <a:gd name="connsiteY26" fmla="*/ 482846 h 681919"/>
              <a:gd name="connsiteX27" fmla="*/ 590479 w 631437"/>
              <a:gd name="connsiteY27" fmla="*/ 523804 h 681919"/>
              <a:gd name="connsiteX28" fmla="*/ 549521 w 631437"/>
              <a:gd name="connsiteY28" fmla="*/ 482846 h 681919"/>
              <a:gd name="connsiteX29" fmla="*/ 590479 w 631437"/>
              <a:gd name="connsiteY29" fmla="*/ 441888 h 681919"/>
              <a:gd name="connsiteX30" fmla="*/ 448555 w 631437"/>
              <a:gd name="connsiteY30" fmla="*/ 441888 h 681919"/>
              <a:gd name="connsiteX31" fmla="*/ 489513 w 631437"/>
              <a:gd name="connsiteY31" fmla="*/ 482846 h 681919"/>
              <a:gd name="connsiteX32" fmla="*/ 448555 w 631437"/>
              <a:gd name="connsiteY32" fmla="*/ 523804 h 681919"/>
              <a:gd name="connsiteX33" fmla="*/ 407597 w 631437"/>
              <a:gd name="connsiteY33" fmla="*/ 482846 h 681919"/>
              <a:gd name="connsiteX34" fmla="*/ 448555 w 631437"/>
              <a:gd name="connsiteY34" fmla="*/ 441888 h 681919"/>
              <a:gd name="connsiteX35" fmla="*/ 306633 w 631437"/>
              <a:gd name="connsiteY35" fmla="*/ 441888 h 681919"/>
              <a:gd name="connsiteX36" fmla="*/ 347591 w 631437"/>
              <a:gd name="connsiteY36" fmla="*/ 482846 h 681919"/>
              <a:gd name="connsiteX37" fmla="*/ 306633 w 631437"/>
              <a:gd name="connsiteY37" fmla="*/ 523804 h 681919"/>
              <a:gd name="connsiteX38" fmla="*/ 265675 w 631437"/>
              <a:gd name="connsiteY38" fmla="*/ 482846 h 681919"/>
              <a:gd name="connsiteX39" fmla="*/ 306633 w 631437"/>
              <a:gd name="connsiteY39" fmla="*/ 441888 h 681919"/>
              <a:gd name="connsiteX40" fmla="*/ 164711 w 631437"/>
              <a:gd name="connsiteY40" fmla="*/ 441888 h 681919"/>
              <a:gd name="connsiteX41" fmla="*/ 205669 w 631437"/>
              <a:gd name="connsiteY41" fmla="*/ 482846 h 681919"/>
              <a:gd name="connsiteX42" fmla="*/ 164711 w 631437"/>
              <a:gd name="connsiteY42" fmla="*/ 523804 h 681919"/>
              <a:gd name="connsiteX43" fmla="*/ 123753 w 631437"/>
              <a:gd name="connsiteY43" fmla="*/ 482846 h 681919"/>
              <a:gd name="connsiteX44" fmla="*/ 164711 w 631437"/>
              <a:gd name="connsiteY44" fmla="*/ 441888 h 681919"/>
              <a:gd name="connsiteX45" fmla="*/ 22789 w 631437"/>
              <a:gd name="connsiteY45" fmla="*/ 441888 h 681919"/>
              <a:gd name="connsiteX46" fmla="*/ 63747 w 631437"/>
              <a:gd name="connsiteY46" fmla="*/ 482846 h 681919"/>
              <a:gd name="connsiteX47" fmla="*/ 22789 w 631437"/>
              <a:gd name="connsiteY47" fmla="*/ 523804 h 681919"/>
              <a:gd name="connsiteX48" fmla="*/ 0 w 631437"/>
              <a:gd name="connsiteY48" fmla="*/ 514364 h 681919"/>
              <a:gd name="connsiteX49" fmla="*/ 0 w 631437"/>
              <a:gd name="connsiteY49" fmla="*/ 451328 h 681919"/>
              <a:gd name="connsiteX50" fmla="*/ 590479 w 631437"/>
              <a:gd name="connsiteY50" fmla="*/ 283773 h 681919"/>
              <a:gd name="connsiteX51" fmla="*/ 631437 w 631437"/>
              <a:gd name="connsiteY51" fmla="*/ 324731 h 681919"/>
              <a:gd name="connsiteX52" fmla="*/ 590479 w 631437"/>
              <a:gd name="connsiteY52" fmla="*/ 365689 h 681919"/>
              <a:gd name="connsiteX53" fmla="*/ 549521 w 631437"/>
              <a:gd name="connsiteY53" fmla="*/ 324731 h 681919"/>
              <a:gd name="connsiteX54" fmla="*/ 590479 w 631437"/>
              <a:gd name="connsiteY54" fmla="*/ 283773 h 681919"/>
              <a:gd name="connsiteX55" fmla="*/ 448555 w 631437"/>
              <a:gd name="connsiteY55" fmla="*/ 283773 h 681919"/>
              <a:gd name="connsiteX56" fmla="*/ 489513 w 631437"/>
              <a:gd name="connsiteY56" fmla="*/ 324731 h 681919"/>
              <a:gd name="connsiteX57" fmla="*/ 448555 w 631437"/>
              <a:gd name="connsiteY57" fmla="*/ 365689 h 681919"/>
              <a:gd name="connsiteX58" fmla="*/ 407597 w 631437"/>
              <a:gd name="connsiteY58" fmla="*/ 324731 h 681919"/>
              <a:gd name="connsiteX59" fmla="*/ 448555 w 631437"/>
              <a:gd name="connsiteY59" fmla="*/ 283773 h 681919"/>
              <a:gd name="connsiteX60" fmla="*/ 306633 w 631437"/>
              <a:gd name="connsiteY60" fmla="*/ 283773 h 681919"/>
              <a:gd name="connsiteX61" fmla="*/ 347591 w 631437"/>
              <a:gd name="connsiteY61" fmla="*/ 324731 h 681919"/>
              <a:gd name="connsiteX62" fmla="*/ 306633 w 631437"/>
              <a:gd name="connsiteY62" fmla="*/ 365689 h 681919"/>
              <a:gd name="connsiteX63" fmla="*/ 265675 w 631437"/>
              <a:gd name="connsiteY63" fmla="*/ 324731 h 681919"/>
              <a:gd name="connsiteX64" fmla="*/ 306633 w 631437"/>
              <a:gd name="connsiteY64" fmla="*/ 283773 h 681919"/>
              <a:gd name="connsiteX65" fmla="*/ 164711 w 631437"/>
              <a:gd name="connsiteY65" fmla="*/ 283773 h 681919"/>
              <a:gd name="connsiteX66" fmla="*/ 205669 w 631437"/>
              <a:gd name="connsiteY66" fmla="*/ 324731 h 681919"/>
              <a:gd name="connsiteX67" fmla="*/ 164711 w 631437"/>
              <a:gd name="connsiteY67" fmla="*/ 365689 h 681919"/>
              <a:gd name="connsiteX68" fmla="*/ 123753 w 631437"/>
              <a:gd name="connsiteY68" fmla="*/ 324731 h 681919"/>
              <a:gd name="connsiteX69" fmla="*/ 164711 w 631437"/>
              <a:gd name="connsiteY69" fmla="*/ 283773 h 681919"/>
              <a:gd name="connsiteX70" fmla="*/ 22789 w 631437"/>
              <a:gd name="connsiteY70" fmla="*/ 283773 h 681919"/>
              <a:gd name="connsiteX71" fmla="*/ 63747 w 631437"/>
              <a:gd name="connsiteY71" fmla="*/ 324731 h 681919"/>
              <a:gd name="connsiteX72" fmla="*/ 22789 w 631437"/>
              <a:gd name="connsiteY72" fmla="*/ 365689 h 681919"/>
              <a:gd name="connsiteX73" fmla="*/ 0 w 631437"/>
              <a:gd name="connsiteY73" fmla="*/ 356249 h 681919"/>
              <a:gd name="connsiteX74" fmla="*/ 0 w 631437"/>
              <a:gd name="connsiteY74" fmla="*/ 293213 h 681919"/>
              <a:gd name="connsiteX75" fmla="*/ 448555 w 631437"/>
              <a:gd name="connsiteY75" fmla="*/ 125658 h 681919"/>
              <a:gd name="connsiteX76" fmla="*/ 489513 w 631437"/>
              <a:gd name="connsiteY76" fmla="*/ 166616 h 681919"/>
              <a:gd name="connsiteX77" fmla="*/ 448555 w 631437"/>
              <a:gd name="connsiteY77" fmla="*/ 207574 h 681919"/>
              <a:gd name="connsiteX78" fmla="*/ 407597 w 631437"/>
              <a:gd name="connsiteY78" fmla="*/ 166616 h 681919"/>
              <a:gd name="connsiteX79" fmla="*/ 448555 w 631437"/>
              <a:gd name="connsiteY79" fmla="*/ 125658 h 681919"/>
              <a:gd name="connsiteX80" fmla="*/ 306633 w 631437"/>
              <a:gd name="connsiteY80" fmla="*/ 125658 h 681919"/>
              <a:gd name="connsiteX81" fmla="*/ 347591 w 631437"/>
              <a:gd name="connsiteY81" fmla="*/ 166616 h 681919"/>
              <a:gd name="connsiteX82" fmla="*/ 306633 w 631437"/>
              <a:gd name="connsiteY82" fmla="*/ 207574 h 681919"/>
              <a:gd name="connsiteX83" fmla="*/ 265675 w 631437"/>
              <a:gd name="connsiteY83" fmla="*/ 166616 h 681919"/>
              <a:gd name="connsiteX84" fmla="*/ 306633 w 631437"/>
              <a:gd name="connsiteY84" fmla="*/ 125658 h 681919"/>
              <a:gd name="connsiteX85" fmla="*/ 164711 w 631437"/>
              <a:gd name="connsiteY85" fmla="*/ 125658 h 681919"/>
              <a:gd name="connsiteX86" fmla="*/ 205669 w 631437"/>
              <a:gd name="connsiteY86" fmla="*/ 166616 h 681919"/>
              <a:gd name="connsiteX87" fmla="*/ 164711 w 631437"/>
              <a:gd name="connsiteY87" fmla="*/ 207574 h 681919"/>
              <a:gd name="connsiteX88" fmla="*/ 123753 w 631437"/>
              <a:gd name="connsiteY88" fmla="*/ 166616 h 681919"/>
              <a:gd name="connsiteX89" fmla="*/ 164711 w 631437"/>
              <a:gd name="connsiteY89" fmla="*/ 125658 h 681919"/>
              <a:gd name="connsiteX90" fmla="*/ 22789 w 631437"/>
              <a:gd name="connsiteY90" fmla="*/ 125658 h 681919"/>
              <a:gd name="connsiteX91" fmla="*/ 63747 w 631437"/>
              <a:gd name="connsiteY91" fmla="*/ 166616 h 681919"/>
              <a:gd name="connsiteX92" fmla="*/ 22789 w 631437"/>
              <a:gd name="connsiteY92" fmla="*/ 207574 h 681919"/>
              <a:gd name="connsiteX93" fmla="*/ 0 w 631437"/>
              <a:gd name="connsiteY93" fmla="*/ 198134 h 681919"/>
              <a:gd name="connsiteX94" fmla="*/ 0 w 631437"/>
              <a:gd name="connsiteY94" fmla="*/ 135098 h 681919"/>
              <a:gd name="connsiteX95" fmla="*/ 590479 w 631437"/>
              <a:gd name="connsiteY95" fmla="*/ 125658 h 681919"/>
              <a:gd name="connsiteX96" fmla="*/ 631437 w 631437"/>
              <a:gd name="connsiteY96" fmla="*/ 166616 h 681919"/>
              <a:gd name="connsiteX97" fmla="*/ 590479 w 631437"/>
              <a:gd name="connsiteY97" fmla="*/ 207574 h 681919"/>
              <a:gd name="connsiteX98" fmla="*/ 549521 w 631437"/>
              <a:gd name="connsiteY98" fmla="*/ 166616 h 681919"/>
              <a:gd name="connsiteX99" fmla="*/ 590479 w 631437"/>
              <a:gd name="connsiteY99" fmla="*/ 125658 h 681919"/>
              <a:gd name="connsiteX100" fmla="*/ 553042 w 631437"/>
              <a:gd name="connsiteY100" fmla="*/ 0 h 681919"/>
              <a:gd name="connsiteX101" fmla="*/ 627916 w 631437"/>
              <a:gd name="connsiteY101" fmla="*/ 0 h 681919"/>
              <a:gd name="connsiteX102" fmla="*/ 631437 w 631437"/>
              <a:gd name="connsiteY102" fmla="*/ 8501 h 681919"/>
              <a:gd name="connsiteX103" fmla="*/ 590479 w 631437"/>
              <a:gd name="connsiteY103" fmla="*/ 49459 h 681919"/>
              <a:gd name="connsiteX104" fmla="*/ 549521 w 631437"/>
              <a:gd name="connsiteY104" fmla="*/ 8501 h 681919"/>
              <a:gd name="connsiteX105" fmla="*/ 411118 w 631437"/>
              <a:gd name="connsiteY105" fmla="*/ 0 h 681919"/>
              <a:gd name="connsiteX106" fmla="*/ 485992 w 631437"/>
              <a:gd name="connsiteY106" fmla="*/ 0 h 681919"/>
              <a:gd name="connsiteX107" fmla="*/ 489513 w 631437"/>
              <a:gd name="connsiteY107" fmla="*/ 8501 h 681919"/>
              <a:gd name="connsiteX108" fmla="*/ 448555 w 631437"/>
              <a:gd name="connsiteY108" fmla="*/ 49459 h 681919"/>
              <a:gd name="connsiteX109" fmla="*/ 407597 w 631437"/>
              <a:gd name="connsiteY109" fmla="*/ 8501 h 681919"/>
              <a:gd name="connsiteX110" fmla="*/ 269196 w 631437"/>
              <a:gd name="connsiteY110" fmla="*/ 0 h 681919"/>
              <a:gd name="connsiteX111" fmla="*/ 344070 w 631437"/>
              <a:gd name="connsiteY111" fmla="*/ 0 h 681919"/>
              <a:gd name="connsiteX112" fmla="*/ 347591 w 631437"/>
              <a:gd name="connsiteY112" fmla="*/ 8501 h 681919"/>
              <a:gd name="connsiteX113" fmla="*/ 306633 w 631437"/>
              <a:gd name="connsiteY113" fmla="*/ 49459 h 681919"/>
              <a:gd name="connsiteX114" fmla="*/ 265675 w 631437"/>
              <a:gd name="connsiteY114" fmla="*/ 8501 h 681919"/>
              <a:gd name="connsiteX115" fmla="*/ 127274 w 631437"/>
              <a:gd name="connsiteY115" fmla="*/ 0 h 681919"/>
              <a:gd name="connsiteX116" fmla="*/ 202148 w 631437"/>
              <a:gd name="connsiteY116" fmla="*/ 0 h 681919"/>
              <a:gd name="connsiteX117" fmla="*/ 205669 w 631437"/>
              <a:gd name="connsiteY117" fmla="*/ 8501 h 681919"/>
              <a:gd name="connsiteX118" fmla="*/ 164711 w 631437"/>
              <a:gd name="connsiteY118" fmla="*/ 49459 h 681919"/>
              <a:gd name="connsiteX119" fmla="*/ 123753 w 631437"/>
              <a:gd name="connsiteY119" fmla="*/ 8501 h 681919"/>
              <a:gd name="connsiteX120" fmla="*/ 0 w 631437"/>
              <a:gd name="connsiteY120" fmla="*/ 0 h 681919"/>
              <a:gd name="connsiteX121" fmla="*/ 60226 w 631437"/>
              <a:gd name="connsiteY121" fmla="*/ 0 h 681919"/>
              <a:gd name="connsiteX122" fmla="*/ 63747 w 631437"/>
              <a:gd name="connsiteY122" fmla="*/ 8501 h 681919"/>
              <a:gd name="connsiteX123" fmla="*/ 22789 w 631437"/>
              <a:gd name="connsiteY123" fmla="*/ 49459 h 681919"/>
              <a:gd name="connsiteX124" fmla="*/ 0 w 631437"/>
              <a:gd name="connsiteY124" fmla="*/ 40019 h 6819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631437" h="681919">
                <a:moveTo>
                  <a:pt x="590479" y="600003"/>
                </a:moveTo>
                <a:cubicBezTo>
                  <a:pt x="613099" y="600003"/>
                  <a:pt x="631437" y="618341"/>
                  <a:pt x="631437" y="640961"/>
                </a:cubicBezTo>
                <a:cubicBezTo>
                  <a:pt x="631437" y="663581"/>
                  <a:pt x="613099" y="681919"/>
                  <a:pt x="590479" y="681919"/>
                </a:cubicBezTo>
                <a:cubicBezTo>
                  <a:pt x="567859" y="681919"/>
                  <a:pt x="549521" y="663581"/>
                  <a:pt x="549521" y="640961"/>
                </a:cubicBezTo>
                <a:cubicBezTo>
                  <a:pt x="549521" y="618341"/>
                  <a:pt x="567859" y="600003"/>
                  <a:pt x="590479" y="600003"/>
                </a:cubicBezTo>
                <a:close/>
                <a:moveTo>
                  <a:pt x="448555" y="600003"/>
                </a:moveTo>
                <a:cubicBezTo>
                  <a:pt x="471175" y="600003"/>
                  <a:pt x="489513" y="618341"/>
                  <a:pt x="489513" y="640961"/>
                </a:cubicBezTo>
                <a:cubicBezTo>
                  <a:pt x="489513" y="663581"/>
                  <a:pt x="471175" y="681919"/>
                  <a:pt x="448555" y="681919"/>
                </a:cubicBezTo>
                <a:cubicBezTo>
                  <a:pt x="425935" y="681919"/>
                  <a:pt x="407597" y="663581"/>
                  <a:pt x="407597" y="640961"/>
                </a:cubicBezTo>
                <a:cubicBezTo>
                  <a:pt x="407597" y="618341"/>
                  <a:pt x="425935" y="600003"/>
                  <a:pt x="448555" y="600003"/>
                </a:cubicBezTo>
                <a:close/>
                <a:moveTo>
                  <a:pt x="306633" y="600003"/>
                </a:moveTo>
                <a:cubicBezTo>
                  <a:pt x="329253" y="600003"/>
                  <a:pt x="347591" y="618341"/>
                  <a:pt x="347591" y="640961"/>
                </a:cubicBezTo>
                <a:cubicBezTo>
                  <a:pt x="347591" y="663581"/>
                  <a:pt x="329253" y="681919"/>
                  <a:pt x="306633" y="681919"/>
                </a:cubicBezTo>
                <a:cubicBezTo>
                  <a:pt x="284013" y="681919"/>
                  <a:pt x="265675" y="663581"/>
                  <a:pt x="265675" y="640961"/>
                </a:cubicBezTo>
                <a:cubicBezTo>
                  <a:pt x="265675" y="618341"/>
                  <a:pt x="284013" y="600003"/>
                  <a:pt x="306633" y="600003"/>
                </a:cubicBezTo>
                <a:close/>
                <a:moveTo>
                  <a:pt x="164711" y="600003"/>
                </a:moveTo>
                <a:cubicBezTo>
                  <a:pt x="187331" y="600003"/>
                  <a:pt x="205669" y="618341"/>
                  <a:pt x="205669" y="640961"/>
                </a:cubicBezTo>
                <a:cubicBezTo>
                  <a:pt x="205669" y="663581"/>
                  <a:pt x="187331" y="681919"/>
                  <a:pt x="164711" y="681919"/>
                </a:cubicBezTo>
                <a:cubicBezTo>
                  <a:pt x="142091" y="681919"/>
                  <a:pt x="123753" y="663581"/>
                  <a:pt x="123753" y="640961"/>
                </a:cubicBezTo>
                <a:cubicBezTo>
                  <a:pt x="123753" y="618341"/>
                  <a:pt x="142091" y="600003"/>
                  <a:pt x="164711" y="600003"/>
                </a:cubicBezTo>
                <a:close/>
                <a:moveTo>
                  <a:pt x="22789" y="600003"/>
                </a:moveTo>
                <a:cubicBezTo>
                  <a:pt x="45409" y="600003"/>
                  <a:pt x="63747" y="618341"/>
                  <a:pt x="63747" y="640961"/>
                </a:cubicBezTo>
                <a:cubicBezTo>
                  <a:pt x="63747" y="663581"/>
                  <a:pt x="45409" y="681919"/>
                  <a:pt x="22789" y="681919"/>
                </a:cubicBezTo>
                <a:lnTo>
                  <a:pt x="0" y="672479"/>
                </a:lnTo>
                <a:lnTo>
                  <a:pt x="0" y="609443"/>
                </a:lnTo>
                <a:close/>
                <a:moveTo>
                  <a:pt x="590479" y="441888"/>
                </a:moveTo>
                <a:cubicBezTo>
                  <a:pt x="613099" y="441888"/>
                  <a:pt x="631437" y="460226"/>
                  <a:pt x="631437" y="482846"/>
                </a:cubicBezTo>
                <a:cubicBezTo>
                  <a:pt x="631437" y="505466"/>
                  <a:pt x="613099" y="523804"/>
                  <a:pt x="590479" y="523804"/>
                </a:cubicBezTo>
                <a:cubicBezTo>
                  <a:pt x="567859" y="523804"/>
                  <a:pt x="549521" y="505466"/>
                  <a:pt x="549521" y="482846"/>
                </a:cubicBezTo>
                <a:cubicBezTo>
                  <a:pt x="549521" y="460226"/>
                  <a:pt x="567859" y="441888"/>
                  <a:pt x="590479" y="441888"/>
                </a:cubicBezTo>
                <a:close/>
                <a:moveTo>
                  <a:pt x="448555" y="441888"/>
                </a:moveTo>
                <a:cubicBezTo>
                  <a:pt x="471175" y="441888"/>
                  <a:pt x="489513" y="460226"/>
                  <a:pt x="489513" y="482846"/>
                </a:cubicBezTo>
                <a:cubicBezTo>
                  <a:pt x="489513" y="505466"/>
                  <a:pt x="471175" y="523804"/>
                  <a:pt x="448555" y="523804"/>
                </a:cubicBezTo>
                <a:cubicBezTo>
                  <a:pt x="425935" y="523804"/>
                  <a:pt x="407597" y="505466"/>
                  <a:pt x="407597" y="482846"/>
                </a:cubicBezTo>
                <a:cubicBezTo>
                  <a:pt x="407597" y="460226"/>
                  <a:pt x="425935" y="441888"/>
                  <a:pt x="448555" y="441888"/>
                </a:cubicBezTo>
                <a:close/>
                <a:moveTo>
                  <a:pt x="306633" y="441888"/>
                </a:moveTo>
                <a:cubicBezTo>
                  <a:pt x="329253" y="441888"/>
                  <a:pt x="347591" y="460226"/>
                  <a:pt x="347591" y="482846"/>
                </a:cubicBezTo>
                <a:cubicBezTo>
                  <a:pt x="347591" y="505466"/>
                  <a:pt x="329253" y="523804"/>
                  <a:pt x="306633" y="523804"/>
                </a:cubicBezTo>
                <a:cubicBezTo>
                  <a:pt x="284013" y="523804"/>
                  <a:pt x="265675" y="505466"/>
                  <a:pt x="265675" y="482846"/>
                </a:cubicBezTo>
                <a:cubicBezTo>
                  <a:pt x="265675" y="460226"/>
                  <a:pt x="284013" y="441888"/>
                  <a:pt x="306633" y="441888"/>
                </a:cubicBezTo>
                <a:close/>
                <a:moveTo>
                  <a:pt x="164711" y="441888"/>
                </a:moveTo>
                <a:cubicBezTo>
                  <a:pt x="187331" y="441888"/>
                  <a:pt x="205669" y="460226"/>
                  <a:pt x="205669" y="482846"/>
                </a:cubicBezTo>
                <a:cubicBezTo>
                  <a:pt x="205669" y="505466"/>
                  <a:pt x="187331" y="523804"/>
                  <a:pt x="164711" y="523804"/>
                </a:cubicBezTo>
                <a:cubicBezTo>
                  <a:pt x="142091" y="523804"/>
                  <a:pt x="123753" y="505466"/>
                  <a:pt x="123753" y="482846"/>
                </a:cubicBezTo>
                <a:cubicBezTo>
                  <a:pt x="123753" y="460226"/>
                  <a:pt x="142091" y="441888"/>
                  <a:pt x="164711" y="441888"/>
                </a:cubicBezTo>
                <a:close/>
                <a:moveTo>
                  <a:pt x="22789" y="441888"/>
                </a:moveTo>
                <a:cubicBezTo>
                  <a:pt x="45409" y="441888"/>
                  <a:pt x="63747" y="460226"/>
                  <a:pt x="63747" y="482846"/>
                </a:cubicBezTo>
                <a:cubicBezTo>
                  <a:pt x="63747" y="505466"/>
                  <a:pt x="45409" y="523804"/>
                  <a:pt x="22789" y="523804"/>
                </a:cubicBezTo>
                <a:lnTo>
                  <a:pt x="0" y="514364"/>
                </a:lnTo>
                <a:lnTo>
                  <a:pt x="0" y="451328"/>
                </a:lnTo>
                <a:close/>
                <a:moveTo>
                  <a:pt x="590479" y="283773"/>
                </a:moveTo>
                <a:cubicBezTo>
                  <a:pt x="613099" y="283773"/>
                  <a:pt x="631437" y="302111"/>
                  <a:pt x="631437" y="324731"/>
                </a:cubicBezTo>
                <a:cubicBezTo>
                  <a:pt x="631437" y="347351"/>
                  <a:pt x="613099" y="365689"/>
                  <a:pt x="590479" y="365689"/>
                </a:cubicBezTo>
                <a:cubicBezTo>
                  <a:pt x="567859" y="365689"/>
                  <a:pt x="549521" y="347351"/>
                  <a:pt x="549521" y="324731"/>
                </a:cubicBezTo>
                <a:cubicBezTo>
                  <a:pt x="549521" y="302111"/>
                  <a:pt x="567859" y="283773"/>
                  <a:pt x="590479" y="283773"/>
                </a:cubicBezTo>
                <a:close/>
                <a:moveTo>
                  <a:pt x="448555" y="283773"/>
                </a:moveTo>
                <a:cubicBezTo>
                  <a:pt x="471175" y="283773"/>
                  <a:pt x="489513" y="302111"/>
                  <a:pt x="489513" y="324731"/>
                </a:cubicBezTo>
                <a:cubicBezTo>
                  <a:pt x="489513" y="347351"/>
                  <a:pt x="471175" y="365689"/>
                  <a:pt x="448555" y="365689"/>
                </a:cubicBezTo>
                <a:cubicBezTo>
                  <a:pt x="425935" y="365689"/>
                  <a:pt x="407597" y="347351"/>
                  <a:pt x="407597" y="324731"/>
                </a:cubicBezTo>
                <a:cubicBezTo>
                  <a:pt x="407597" y="302111"/>
                  <a:pt x="425935" y="283773"/>
                  <a:pt x="448555" y="283773"/>
                </a:cubicBezTo>
                <a:close/>
                <a:moveTo>
                  <a:pt x="306633" y="283773"/>
                </a:moveTo>
                <a:cubicBezTo>
                  <a:pt x="329253" y="283773"/>
                  <a:pt x="347591" y="302111"/>
                  <a:pt x="347591" y="324731"/>
                </a:cubicBezTo>
                <a:cubicBezTo>
                  <a:pt x="347591" y="347351"/>
                  <a:pt x="329253" y="365689"/>
                  <a:pt x="306633" y="365689"/>
                </a:cubicBezTo>
                <a:cubicBezTo>
                  <a:pt x="284013" y="365689"/>
                  <a:pt x="265675" y="347351"/>
                  <a:pt x="265675" y="324731"/>
                </a:cubicBezTo>
                <a:cubicBezTo>
                  <a:pt x="265675" y="302111"/>
                  <a:pt x="284013" y="283773"/>
                  <a:pt x="306633" y="283773"/>
                </a:cubicBezTo>
                <a:close/>
                <a:moveTo>
                  <a:pt x="164711" y="283773"/>
                </a:moveTo>
                <a:cubicBezTo>
                  <a:pt x="187331" y="283773"/>
                  <a:pt x="205669" y="302111"/>
                  <a:pt x="205669" y="324731"/>
                </a:cubicBezTo>
                <a:cubicBezTo>
                  <a:pt x="205669" y="347351"/>
                  <a:pt x="187331" y="365689"/>
                  <a:pt x="164711" y="365689"/>
                </a:cubicBezTo>
                <a:cubicBezTo>
                  <a:pt x="142091" y="365689"/>
                  <a:pt x="123753" y="347351"/>
                  <a:pt x="123753" y="324731"/>
                </a:cubicBezTo>
                <a:cubicBezTo>
                  <a:pt x="123753" y="302111"/>
                  <a:pt x="142091" y="283773"/>
                  <a:pt x="164711" y="283773"/>
                </a:cubicBezTo>
                <a:close/>
                <a:moveTo>
                  <a:pt x="22789" y="283773"/>
                </a:moveTo>
                <a:cubicBezTo>
                  <a:pt x="45409" y="283773"/>
                  <a:pt x="63747" y="302111"/>
                  <a:pt x="63747" y="324731"/>
                </a:cubicBezTo>
                <a:cubicBezTo>
                  <a:pt x="63747" y="347351"/>
                  <a:pt x="45409" y="365689"/>
                  <a:pt x="22789" y="365689"/>
                </a:cubicBezTo>
                <a:lnTo>
                  <a:pt x="0" y="356249"/>
                </a:lnTo>
                <a:lnTo>
                  <a:pt x="0" y="293213"/>
                </a:lnTo>
                <a:close/>
                <a:moveTo>
                  <a:pt x="448555" y="125658"/>
                </a:moveTo>
                <a:cubicBezTo>
                  <a:pt x="471175" y="125658"/>
                  <a:pt x="489513" y="143996"/>
                  <a:pt x="489513" y="166616"/>
                </a:cubicBezTo>
                <a:cubicBezTo>
                  <a:pt x="489513" y="189236"/>
                  <a:pt x="471175" y="207574"/>
                  <a:pt x="448555" y="207574"/>
                </a:cubicBezTo>
                <a:cubicBezTo>
                  <a:pt x="425935" y="207574"/>
                  <a:pt x="407597" y="189236"/>
                  <a:pt x="407597" y="166616"/>
                </a:cubicBezTo>
                <a:cubicBezTo>
                  <a:pt x="407597" y="143996"/>
                  <a:pt x="425935" y="125658"/>
                  <a:pt x="448555" y="125658"/>
                </a:cubicBezTo>
                <a:close/>
                <a:moveTo>
                  <a:pt x="306633" y="125658"/>
                </a:moveTo>
                <a:cubicBezTo>
                  <a:pt x="329253" y="125658"/>
                  <a:pt x="347591" y="143996"/>
                  <a:pt x="347591" y="166616"/>
                </a:cubicBezTo>
                <a:cubicBezTo>
                  <a:pt x="347591" y="189236"/>
                  <a:pt x="329253" y="207574"/>
                  <a:pt x="306633" y="207574"/>
                </a:cubicBezTo>
                <a:cubicBezTo>
                  <a:pt x="284013" y="207574"/>
                  <a:pt x="265675" y="189236"/>
                  <a:pt x="265675" y="166616"/>
                </a:cubicBezTo>
                <a:cubicBezTo>
                  <a:pt x="265675" y="143996"/>
                  <a:pt x="284013" y="125658"/>
                  <a:pt x="306633" y="125658"/>
                </a:cubicBezTo>
                <a:close/>
                <a:moveTo>
                  <a:pt x="164711" y="125658"/>
                </a:moveTo>
                <a:cubicBezTo>
                  <a:pt x="187331" y="125658"/>
                  <a:pt x="205669" y="143996"/>
                  <a:pt x="205669" y="166616"/>
                </a:cubicBezTo>
                <a:cubicBezTo>
                  <a:pt x="205669" y="189236"/>
                  <a:pt x="187331" y="207574"/>
                  <a:pt x="164711" y="207574"/>
                </a:cubicBezTo>
                <a:cubicBezTo>
                  <a:pt x="142091" y="207574"/>
                  <a:pt x="123753" y="189236"/>
                  <a:pt x="123753" y="166616"/>
                </a:cubicBezTo>
                <a:cubicBezTo>
                  <a:pt x="123753" y="143996"/>
                  <a:pt x="142091" y="125658"/>
                  <a:pt x="164711" y="125658"/>
                </a:cubicBezTo>
                <a:close/>
                <a:moveTo>
                  <a:pt x="22789" y="125658"/>
                </a:moveTo>
                <a:cubicBezTo>
                  <a:pt x="45409" y="125658"/>
                  <a:pt x="63747" y="143996"/>
                  <a:pt x="63747" y="166616"/>
                </a:cubicBezTo>
                <a:cubicBezTo>
                  <a:pt x="63747" y="189236"/>
                  <a:pt x="45409" y="207574"/>
                  <a:pt x="22789" y="207574"/>
                </a:cubicBezTo>
                <a:lnTo>
                  <a:pt x="0" y="198134"/>
                </a:lnTo>
                <a:lnTo>
                  <a:pt x="0" y="135098"/>
                </a:lnTo>
                <a:close/>
                <a:moveTo>
                  <a:pt x="590479" y="125658"/>
                </a:moveTo>
                <a:cubicBezTo>
                  <a:pt x="613099" y="125658"/>
                  <a:pt x="631437" y="143996"/>
                  <a:pt x="631437" y="166616"/>
                </a:cubicBezTo>
                <a:cubicBezTo>
                  <a:pt x="631437" y="189236"/>
                  <a:pt x="613099" y="207574"/>
                  <a:pt x="590479" y="207574"/>
                </a:cubicBezTo>
                <a:cubicBezTo>
                  <a:pt x="567859" y="207574"/>
                  <a:pt x="549521" y="189236"/>
                  <a:pt x="549521" y="166616"/>
                </a:cubicBezTo>
                <a:cubicBezTo>
                  <a:pt x="549521" y="143996"/>
                  <a:pt x="567859" y="125658"/>
                  <a:pt x="590479" y="125658"/>
                </a:cubicBezTo>
                <a:close/>
                <a:moveTo>
                  <a:pt x="553042" y="0"/>
                </a:moveTo>
                <a:lnTo>
                  <a:pt x="627916" y="0"/>
                </a:lnTo>
                <a:lnTo>
                  <a:pt x="631437" y="8501"/>
                </a:lnTo>
                <a:cubicBezTo>
                  <a:pt x="631437" y="31121"/>
                  <a:pt x="613099" y="49459"/>
                  <a:pt x="590479" y="49459"/>
                </a:cubicBezTo>
                <a:cubicBezTo>
                  <a:pt x="567859" y="49459"/>
                  <a:pt x="549521" y="31121"/>
                  <a:pt x="549521" y="8501"/>
                </a:cubicBezTo>
                <a:close/>
                <a:moveTo>
                  <a:pt x="411118" y="0"/>
                </a:moveTo>
                <a:lnTo>
                  <a:pt x="485992" y="0"/>
                </a:lnTo>
                <a:lnTo>
                  <a:pt x="489513" y="8501"/>
                </a:lnTo>
                <a:cubicBezTo>
                  <a:pt x="489513" y="31121"/>
                  <a:pt x="471175" y="49459"/>
                  <a:pt x="448555" y="49459"/>
                </a:cubicBezTo>
                <a:cubicBezTo>
                  <a:pt x="425935" y="49459"/>
                  <a:pt x="407597" y="31121"/>
                  <a:pt x="407597" y="8501"/>
                </a:cubicBezTo>
                <a:close/>
                <a:moveTo>
                  <a:pt x="269196" y="0"/>
                </a:moveTo>
                <a:lnTo>
                  <a:pt x="344070" y="0"/>
                </a:lnTo>
                <a:lnTo>
                  <a:pt x="347591" y="8501"/>
                </a:lnTo>
                <a:cubicBezTo>
                  <a:pt x="347591" y="31121"/>
                  <a:pt x="329253" y="49459"/>
                  <a:pt x="306633" y="49459"/>
                </a:cubicBezTo>
                <a:cubicBezTo>
                  <a:pt x="284013" y="49459"/>
                  <a:pt x="265675" y="31121"/>
                  <a:pt x="265675" y="8501"/>
                </a:cubicBezTo>
                <a:close/>
                <a:moveTo>
                  <a:pt x="127274" y="0"/>
                </a:moveTo>
                <a:lnTo>
                  <a:pt x="202148" y="0"/>
                </a:lnTo>
                <a:lnTo>
                  <a:pt x="205669" y="8501"/>
                </a:lnTo>
                <a:cubicBezTo>
                  <a:pt x="205669" y="31121"/>
                  <a:pt x="187331" y="49459"/>
                  <a:pt x="164711" y="49459"/>
                </a:cubicBezTo>
                <a:cubicBezTo>
                  <a:pt x="142091" y="49459"/>
                  <a:pt x="123753" y="31121"/>
                  <a:pt x="123753" y="8501"/>
                </a:cubicBezTo>
                <a:close/>
                <a:moveTo>
                  <a:pt x="0" y="0"/>
                </a:moveTo>
                <a:lnTo>
                  <a:pt x="60226" y="0"/>
                </a:lnTo>
                <a:lnTo>
                  <a:pt x="63747" y="8501"/>
                </a:lnTo>
                <a:cubicBezTo>
                  <a:pt x="63747" y="31121"/>
                  <a:pt x="45409" y="49459"/>
                  <a:pt x="22789" y="49459"/>
                </a:cubicBezTo>
                <a:lnTo>
                  <a:pt x="0" y="40019"/>
                </a:lnTo>
                <a:close/>
              </a:path>
            </a:pathLst>
          </a:custGeom>
          <a:gradFill flip="none" rotWithShape="1">
            <a:gsLst>
              <a:gs pos="6000">
                <a:srgbClr val="FE832C"/>
              </a:gs>
              <a:gs pos="61000">
                <a:srgbClr val="FFCEAB"/>
              </a:gs>
              <a:gs pos="0">
                <a:srgbClr val="EA5504"/>
              </a:gs>
              <a:gs pos="100000">
                <a:srgbClr val="FBE9D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cxnSp>
        <p:nvCxnSpPr>
          <p:cNvPr id="19" name="直接连接符 18"/>
          <p:cNvCxnSpPr/>
          <p:nvPr userDrawn="1"/>
        </p:nvCxnSpPr>
        <p:spPr>
          <a:xfrm flipV="1">
            <a:off x="5187643" y="2859087"/>
            <a:ext cx="2087108" cy="3998914"/>
          </a:xfrm>
          <a:prstGeom prst="line">
            <a:avLst/>
          </a:prstGeom>
          <a:ln w="15875">
            <a:gradFill flip="none" rotWithShape="1"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54000">
                  <a:srgbClr val="FFC000"/>
                </a:gs>
                <a:gs pos="83000">
                  <a:srgbClr val="FB832D"/>
                </a:gs>
                <a:gs pos="100000">
                  <a:srgbClr val="EA5504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直接连接符 27"/>
          <p:cNvCxnSpPr/>
          <p:nvPr userDrawn="1"/>
        </p:nvCxnSpPr>
        <p:spPr>
          <a:xfrm flipH="1" flipV="1">
            <a:off x="9037673" y="-9732"/>
            <a:ext cx="3187396" cy="6285842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文本占位符 29"/>
          <p:cNvSpPr>
            <a:spLocks noGrp="1"/>
          </p:cNvSpPr>
          <p:nvPr>
            <p:ph type="body" sz="quarter" idx="12" hasCustomPrompt="1"/>
          </p:nvPr>
        </p:nvSpPr>
        <p:spPr>
          <a:xfrm>
            <a:off x="725076" y="2914028"/>
            <a:ext cx="4011188" cy="122019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buNone/>
              <a:defRPr lang="zh-CN" altLang="en-US" sz="1200" kern="2200" spc="18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9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zh-CN" altLang="en-US" dirty="0"/>
              <a:t>点击添加文本点击添加文本</a:t>
            </a:r>
            <a:br>
              <a:rPr lang="en-US" altLang="zh-CN" dirty="0"/>
            </a:br>
            <a:r>
              <a:rPr lang="en-US" altLang="zh-CN" dirty="0"/>
              <a:t>……</a:t>
            </a:r>
            <a:endParaRPr lang="zh-CN" altLang="en-US" dirty="0"/>
          </a:p>
        </p:txBody>
      </p:sp>
      <p:sp>
        <p:nvSpPr>
          <p:cNvPr id="29" name="文本占位符 29"/>
          <p:cNvSpPr>
            <a:spLocks noGrp="1"/>
          </p:cNvSpPr>
          <p:nvPr>
            <p:ph type="body" sz="quarter" idx="15" hasCustomPrompt="1"/>
          </p:nvPr>
        </p:nvSpPr>
        <p:spPr>
          <a:xfrm>
            <a:off x="715643" y="2087900"/>
            <a:ext cx="607293" cy="564099"/>
          </a:xfrm>
          <a:prstGeom prst="rect">
            <a:avLst/>
          </a:prstGeom>
        </p:spPr>
        <p:txBody>
          <a:bodyPr anchor="ctr">
            <a:prstTxWarp prst="textPlain">
              <a:avLst/>
            </a:prstTxWarp>
            <a:noAutofit/>
          </a:bodyPr>
          <a:lstStyle>
            <a:lvl1pPr marL="0" indent="0" algn="l" defTabSz="914400" rtl="0" eaLnBrk="1" latinLnBrk="0" hangingPunct="1">
              <a:buNone/>
              <a:defRPr lang="zh-CN" altLang="en-US" sz="2400" b="0" kern="2200" spc="180" dirty="0">
                <a:solidFill>
                  <a:schemeClr val="accent1"/>
                </a:solidFill>
                <a:latin typeface="Impact" panose="020B0806030902050204" pitchFamily="34" charset="0"/>
                <a:ea typeface="微软雅黑" panose="020B0503020204020204" charset="-122"/>
                <a:cs typeface="Arial" panose="020B060402020209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en-US" altLang="zh-CN" dirty="0"/>
              <a:t>01</a:t>
            </a:r>
            <a:endParaRPr lang="zh-CN" alt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vmlDrawing" Target="../drawings/vmlDrawing4.vml"/><Relationship Id="rId8" Type="http://schemas.openxmlformats.org/officeDocument/2006/relationships/tags" Target="../tags/tag8.xml"/><Relationship Id="rId7" Type="http://schemas.openxmlformats.org/officeDocument/2006/relationships/image" Target="../media/image2.emf"/><Relationship Id="rId6" Type="http://schemas.openxmlformats.org/officeDocument/2006/relationships/oleObject" Target="../embeddings/oleObject4.bin"/><Relationship Id="rId5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0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3.xml"/><Relationship Id="rId8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0.xml"/><Relationship Id="rId5" Type="http://schemas.openxmlformats.org/officeDocument/2006/relationships/slideLayout" Target="../slideLayouts/slideLayout9.xml"/><Relationship Id="rId4" Type="http://schemas.openxmlformats.org/officeDocument/2006/relationships/slideLayout" Target="../slideLayouts/slideLayout8.xml"/><Relationship Id="rId3" Type="http://schemas.openxmlformats.org/officeDocument/2006/relationships/slideLayout" Target="../slideLayouts/slideLayout7.xml"/><Relationship Id="rId2" Type="http://schemas.openxmlformats.org/officeDocument/2006/relationships/slideLayout" Target="../slideLayouts/slideLayout6.xml"/><Relationship Id="rId13" Type="http://schemas.openxmlformats.org/officeDocument/2006/relationships/theme" Target="../theme/theme2.xml"/><Relationship Id="rId12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4.xml"/><Relationship Id="rId1" Type="http://schemas.openxmlformats.org/officeDocument/2006/relationships/slideLayout" Target="../slideLayouts/slideLayout5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oleObject" Target="../embeddings/oleObject9.bin"/><Relationship Id="rId8" Type="http://schemas.openxmlformats.org/officeDocument/2006/relationships/tags" Target="../tags/tag17.xml"/><Relationship Id="rId7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2.xml"/><Relationship Id="rId5" Type="http://schemas.openxmlformats.org/officeDocument/2006/relationships/slideLayout" Target="../slideLayouts/slideLayout21.xml"/><Relationship Id="rId4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8.xml"/><Relationship Id="rId13" Type="http://schemas.openxmlformats.org/officeDocument/2006/relationships/theme" Target="../theme/theme3.xml"/><Relationship Id="rId12" Type="http://schemas.openxmlformats.org/officeDocument/2006/relationships/vmlDrawing" Target="../drawings/vmlDrawing9.vml"/><Relationship Id="rId11" Type="http://schemas.openxmlformats.org/officeDocument/2006/relationships/tags" Target="../tags/tag18.xml"/><Relationship Id="rId10" Type="http://schemas.openxmlformats.org/officeDocument/2006/relationships/image" Target="../media/image2.emf"/><Relationship Id="rId1" Type="http://schemas.openxmlformats.org/officeDocument/2006/relationships/slideLayout" Target="../slideLayouts/slideLayout17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oleObject" Target="../embeddings/oleObject16.bin"/><Relationship Id="rId8" Type="http://schemas.openxmlformats.org/officeDocument/2006/relationships/tags" Target="../tags/tag28.xml"/><Relationship Id="rId7" Type="http://schemas.openxmlformats.org/officeDocument/2006/relationships/image" Target="../media/image18.emf"/><Relationship Id="rId6" Type="http://schemas.openxmlformats.org/officeDocument/2006/relationships/oleObject" Target="../embeddings/oleObject15.bin"/><Relationship Id="rId5" Type="http://schemas.openxmlformats.org/officeDocument/2006/relationships/tags" Target="../tags/tag27.xml"/><Relationship Id="rId4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5.xml"/><Relationship Id="rId13" Type="http://schemas.openxmlformats.org/officeDocument/2006/relationships/theme" Target="../theme/theme4.xml"/><Relationship Id="rId12" Type="http://schemas.openxmlformats.org/officeDocument/2006/relationships/vmlDrawing" Target="../drawings/vmlDrawing14.vml"/><Relationship Id="rId11" Type="http://schemas.openxmlformats.org/officeDocument/2006/relationships/tags" Target="../tags/tag29.xml"/><Relationship Id="rId10" Type="http://schemas.openxmlformats.org/officeDocument/2006/relationships/image" Target="../media/image2.emf"/><Relationship Id="rId1" Type="http://schemas.openxmlformats.org/officeDocument/2006/relationships/slideLayout" Target="../slideLayouts/slideLayout24.xml"/></Relationships>
</file>

<file path=ppt/slideMasters/_rels/slideMaster5.xml.rels><?xml version="1.0" encoding="UTF-8" standalone="yes"?>
<Relationships xmlns="http://schemas.openxmlformats.org/package/2006/relationships"><Relationship Id="rId9" Type="http://schemas.openxmlformats.org/officeDocument/2006/relationships/oleObject" Target="../embeddings/oleObject23.bin"/><Relationship Id="rId8" Type="http://schemas.openxmlformats.org/officeDocument/2006/relationships/tags" Target="../tags/tag39.xml"/><Relationship Id="rId7" Type="http://schemas.openxmlformats.org/officeDocument/2006/relationships/image" Target="../media/image18.emf"/><Relationship Id="rId6" Type="http://schemas.openxmlformats.org/officeDocument/2006/relationships/oleObject" Target="../embeddings/oleObject22.bin"/><Relationship Id="rId5" Type="http://schemas.openxmlformats.org/officeDocument/2006/relationships/tags" Target="../tags/tag38.xml"/><Relationship Id="rId4" Type="http://schemas.openxmlformats.org/officeDocument/2006/relationships/slideLayout" Target="../slideLayouts/slideLayout31.xml"/><Relationship Id="rId3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9.xml"/><Relationship Id="rId13" Type="http://schemas.openxmlformats.org/officeDocument/2006/relationships/theme" Target="../theme/theme5.xml"/><Relationship Id="rId12" Type="http://schemas.openxmlformats.org/officeDocument/2006/relationships/vmlDrawing" Target="../drawings/vmlDrawing19.vml"/><Relationship Id="rId11" Type="http://schemas.openxmlformats.org/officeDocument/2006/relationships/tags" Target="../tags/tag40.xml"/><Relationship Id="rId10" Type="http://schemas.openxmlformats.org/officeDocument/2006/relationships/image" Target="../media/image2.emf"/><Relationship Id="rId1" Type="http://schemas.openxmlformats.org/officeDocument/2006/relationships/slideLayout" Target="../slideLayouts/slideLayout28.xml"/></Relationships>
</file>

<file path=ppt/slideMasters/_rels/slideMaster6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40.xml"/><Relationship Id="rId8" Type="http://schemas.openxmlformats.org/officeDocument/2006/relationships/slideLayout" Target="../slideLayouts/slideLayout39.xml"/><Relationship Id="rId7" Type="http://schemas.openxmlformats.org/officeDocument/2006/relationships/slideLayout" Target="../slideLayouts/slideLayout38.xml"/><Relationship Id="rId6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6.xml"/><Relationship Id="rId47" Type="http://schemas.openxmlformats.org/officeDocument/2006/relationships/theme" Target="../theme/theme6.xml"/><Relationship Id="rId46" Type="http://schemas.openxmlformats.org/officeDocument/2006/relationships/vmlDrawing" Target="../drawings/vmlDrawing24.vml"/><Relationship Id="rId45" Type="http://schemas.openxmlformats.org/officeDocument/2006/relationships/tags" Target="../tags/tag49.xml"/><Relationship Id="rId44" Type="http://schemas.openxmlformats.org/officeDocument/2006/relationships/image" Target="../media/image2.emf"/><Relationship Id="rId43" Type="http://schemas.openxmlformats.org/officeDocument/2006/relationships/oleObject" Target="../embeddings/oleObject28.bin"/><Relationship Id="rId42" Type="http://schemas.openxmlformats.org/officeDocument/2006/relationships/tags" Target="../tags/tag48.xml"/><Relationship Id="rId41" Type="http://schemas.openxmlformats.org/officeDocument/2006/relationships/slideLayout" Target="../slideLayouts/slideLayout72.xml"/><Relationship Id="rId40" Type="http://schemas.openxmlformats.org/officeDocument/2006/relationships/slideLayout" Target="../slideLayouts/slideLayout71.xml"/><Relationship Id="rId4" Type="http://schemas.openxmlformats.org/officeDocument/2006/relationships/slideLayout" Target="../slideLayouts/slideLayout35.xml"/><Relationship Id="rId39" Type="http://schemas.openxmlformats.org/officeDocument/2006/relationships/slideLayout" Target="../slideLayouts/slideLayout70.xml"/><Relationship Id="rId38" Type="http://schemas.openxmlformats.org/officeDocument/2006/relationships/slideLayout" Target="../slideLayouts/slideLayout69.xml"/><Relationship Id="rId37" Type="http://schemas.openxmlformats.org/officeDocument/2006/relationships/slideLayout" Target="../slideLayouts/slideLayout68.xml"/><Relationship Id="rId36" Type="http://schemas.openxmlformats.org/officeDocument/2006/relationships/slideLayout" Target="../slideLayouts/slideLayout67.xml"/><Relationship Id="rId35" Type="http://schemas.openxmlformats.org/officeDocument/2006/relationships/slideLayout" Target="../slideLayouts/slideLayout66.xml"/><Relationship Id="rId34" Type="http://schemas.openxmlformats.org/officeDocument/2006/relationships/slideLayout" Target="../slideLayouts/slideLayout65.xml"/><Relationship Id="rId33" Type="http://schemas.openxmlformats.org/officeDocument/2006/relationships/slideLayout" Target="../slideLayouts/slideLayout64.xml"/><Relationship Id="rId32" Type="http://schemas.openxmlformats.org/officeDocument/2006/relationships/slideLayout" Target="../slideLayouts/slideLayout63.xml"/><Relationship Id="rId31" Type="http://schemas.openxmlformats.org/officeDocument/2006/relationships/slideLayout" Target="../slideLayouts/slideLayout62.xml"/><Relationship Id="rId30" Type="http://schemas.openxmlformats.org/officeDocument/2006/relationships/slideLayout" Target="../slideLayouts/slideLayout61.xml"/><Relationship Id="rId3" Type="http://schemas.openxmlformats.org/officeDocument/2006/relationships/slideLayout" Target="../slideLayouts/slideLayout34.xml"/><Relationship Id="rId29" Type="http://schemas.openxmlformats.org/officeDocument/2006/relationships/slideLayout" Target="../slideLayouts/slideLayout60.xml"/><Relationship Id="rId28" Type="http://schemas.openxmlformats.org/officeDocument/2006/relationships/slideLayout" Target="../slideLayouts/slideLayout59.xml"/><Relationship Id="rId27" Type="http://schemas.openxmlformats.org/officeDocument/2006/relationships/slideLayout" Target="../slideLayouts/slideLayout58.xml"/><Relationship Id="rId26" Type="http://schemas.openxmlformats.org/officeDocument/2006/relationships/slideLayout" Target="../slideLayouts/slideLayout57.xml"/><Relationship Id="rId25" Type="http://schemas.openxmlformats.org/officeDocument/2006/relationships/slideLayout" Target="../slideLayouts/slideLayout56.xml"/><Relationship Id="rId24" Type="http://schemas.openxmlformats.org/officeDocument/2006/relationships/slideLayout" Target="../slideLayouts/slideLayout55.xml"/><Relationship Id="rId23" Type="http://schemas.openxmlformats.org/officeDocument/2006/relationships/slideLayout" Target="../slideLayouts/slideLayout54.xml"/><Relationship Id="rId22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52.xml"/><Relationship Id="rId20" Type="http://schemas.openxmlformats.org/officeDocument/2006/relationships/slideLayout" Target="../slideLayouts/slideLayout51.xml"/><Relationship Id="rId2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50.xml"/><Relationship Id="rId18" Type="http://schemas.openxmlformats.org/officeDocument/2006/relationships/slideLayout" Target="../slideLayouts/slideLayout49.xml"/><Relationship Id="rId17" Type="http://schemas.openxmlformats.org/officeDocument/2006/relationships/slideLayout" Target="../slideLayouts/slideLayout48.xml"/><Relationship Id="rId16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41.xml"/><Relationship Id="rId1" Type="http://schemas.openxmlformats.org/officeDocument/2006/relationships/slideLayout" Target="../slideLayouts/slideLayout32.xml"/></Relationships>
</file>

<file path=ppt/slideMasters/_rels/slideMaster7.xml.rels><?xml version="1.0" encoding="UTF-8" standalone="yes"?>
<Relationships xmlns="http://schemas.openxmlformats.org/package/2006/relationships"><Relationship Id="rId9" Type="http://schemas.openxmlformats.org/officeDocument/2006/relationships/image" Target="../media/image2.emf"/><Relationship Id="rId8" Type="http://schemas.openxmlformats.org/officeDocument/2006/relationships/oleObject" Target="../embeddings/oleObject32.bin"/><Relationship Id="rId7" Type="http://schemas.openxmlformats.org/officeDocument/2006/relationships/tags" Target="../tags/tag56.xml"/><Relationship Id="rId6" Type="http://schemas.openxmlformats.org/officeDocument/2006/relationships/slideLayout" Target="../slideLayouts/slideLayout78.xml"/><Relationship Id="rId5" Type="http://schemas.openxmlformats.org/officeDocument/2006/relationships/slideLayout" Target="../slideLayouts/slideLayout77.xml"/><Relationship Id="rId4" Type="http://schemas.openxmlformats.org/officeDocument/2006/relationships/slideLayout" Target="../slideLayouts/slideLayout76.xml"/><Relationship Id="rId3" Type="http://schemas.openxmlformats.org/officeDocument/2006/relationships/slideLayout" Target="../slideLayouts/slideLayout75.xml"/><Relationship Id="rId2" Type="http://schemas.openxmlformats.org/officeDocument/2006/relationships/slideLayout" Target="../slideLayouts/slideLayout74.xml"/><Relationship Id="rId12" Type="http://schemas.openxmlformats.org/officeDocument/2006/relationships/theme" Target="../theme/theme7.xml"/><Relationship Id="rId11" Type="http://schemas.openxmlformats.org/officeDocument/2006/relationships/vmlDrawing" Target="../drawings/vmlDrawing28.vml"/><Relationship Id="rId10" Type="http://schemas.openxmlformats.org/officeDocument/2006/relationships/tags" Target="../tags/tag57.xml"/><Relationship Id="rId1" Type="http://schemas.openxmlformats.org/officeDocument/2006/relationships/slideLayout" Target="../slideLayouts/slideLayout7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BCF4D">
              <a:alpha val="8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en-US" altLang="zh-CN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90204" pitchFamily="34" charset="0"/>
              <a:ea typeface="华文楷体" panose="02010600040101010101" pitchFamily="2" charset="-122"/>
              <a:cs typeface="+mj-cs"/>
              <a:sym typeface="Arial" panose="020B060402020209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7800" indent="-1778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914400" rtl="0" eaLnBrk="1" latinLnBrk="0" hangingPunct="1">
        <a:lnSpc>
          <a:spcPct val="90000"/>
        </a:lnSpc>
        <a:spcBef>
          <a:spcPts val="500"/>
        </a:spcBef>
        <a:buFont typeface="华文楷体" panose="02010600040101010101" pitchFamily="2" charset="-122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1655" indent="-18605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9455" indent="-177800" algn="l" defTabSz="914400" rtl="0" eaLnBrk="1" latinLnBrk="0" hangingPunct="1">
        <a:lnSpc>
          <a:spcPct val="90000"/>
        </a:lnSpc>
        <a:spcBef>
          <a:spcPts val="500"/>
        </a:spcBef>
        <a:buFont typeface="华文楷体" panose="02010600040101010101" pitchFamily="2" charset="-122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7255" indent="-1778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0" y="1"/>
            <a:ext cx="12185496" cy="6855118"/>
          </a:xfrm>
          <a:prstGeom prst="rect">
            <a:avLst/>
          </a:prstGeom>
          <a:gradFill flip="none" rotWithShape="1">
            <a:gsLst>
              <a:gs pos="20000">
                <a:srgbClr val="FEF6F4">
                  <a:alpha val="96000"/>
                </a:srgbClr>
              </a:gs>
              <a:gs pos="33000">
                <a:srgbClr val="FFFCFB">
                  <a:alpha val="80000"/>
                </a:srgbClr>
              </a:gs>
              <a:gs pos="61000">
                <a:schemeClr val="bg1">
                  <a:alpha val="76000"/>
                </a:schemeClr>
              </a:gs>
              <a:gs pos="0">
                <a:srgbClr val="FDEEE9"/>
              </a:gs>
              <a:gs pos="100000">
                <a:schemeClr val="bg1">
                  <a:alpha val="76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723900" y="0"/>
            <a:ext cx="11000390" cy="97380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zh-CN" altLang="en-US" dirty="0"/>
              <a:t>页面大标题字号建议（</a:t>
            </a:r>
            <a:r>
              <a:rPr lang="en-US" altLang="zh-CN" dirty="0"/>
              <a:t>28-36</a:t>
            </a:r>
            <a:r>
              <a:rPr lang="zh-CN" altLang="en-US" dirty="0"/>
              <a:t>）</a:t>
            </a:r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10929256" y="6235700"/>
            <a:ext cx="5261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tx1">
                    <a:tint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fld id="{09321FF8-95CF-4FCD-B001-FA7673DD6BBC}" type="slidenum">
              <a:rPr lang="zh-CN" altLang="en-US" smtClean="0"/>
            </a:fld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  <p:sldLayoutId id="2147483656" r:id="rId3"/>
    <p:sldLayoutId id="2147483657" r:id="rId4"/>
    <p:sldLayoutId id="2147483658" r:id="rId5"/>
    <p:sldLayoutId id="2147483659" r:id="rId6"/>
    <p:sldLayoutId id="2147483660" r:id="rId7"/>
    <p:sldLayoutId id="2147483661" r:id="rId8"/>
    <p:sldLayoutId id="2147483662" r:id="rId9"/>
    <p:sldLayoutId id="2147483663" r:id="rId10"/>
    <p:sldLayoutId id="2147483664" r:id="rId11"/>
    <p:sldLayoutId id="2147483665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微软雅黑" panose="020B0503020204020204" charset="-122"/>
          <a:ea typeface="微软雅黑" panose="020B0503020204020204" charset="-122"/>
          <a:cs typeface="+mj-cs"/>
        </a:defRPr>
      </a:lvl1pPr>
    </p:titleStyle>
    <p:bodyStyle>
      <a:lvl1pPr marL="514350" indent="-514350" algn="l" defTabSz="914400" rtl="0" eaLnBrk="1" latinLnBrk="0" hangingPunct="1">
        <a:lnSpc>
          <a:spcPct val="120000"/>
        </a:lnSpc>
        <a:spcBef>
          <a:spcPts val="1000"/>
        </a:spcBef>
        <a:buFont typeface="+mj-ea"/>
        <a:buAutoNum type="ea1JpnChsDbPeriod"/>
        <a:defRPr sz="2000" kern="1200">
          <a:solidFill>
            <a:schemeClr val="tx1"/>
          </a:solidFill>
          <a:latin typeface="微软雅黑" panose="020B0503020204020204" charset="-122"/>
          <a:ea typeface="微软雅黑" panose="020B0503020204020204" charset="-122"/>
          <a:cs typeface="+mn-cs"/>
        </a:defRPr>
      </a:lvl1pPr>
      <a:lvl2pPr marL="800100" indent="-342900" algn="l" defTabSz="914400" rtl="0" eaLnBrk="1" latinLnBrk="0" hangingPunct="1">
        <a:lnSpc>
          <a:spcPct val="120000"/>
        </a:lnSpc>
        <a:spcBef>
          <a:spcPts val="500"/>
        </a:spcBef>
        <a:buFont typeface="+mj-lt"/>
        <a:buAutoNum type="arabicPeriod"/>
        <a:defRPr sz="1800" kern="1200">
          <a:solidFill>
            <a:schemeClr val="tx1"/>
          </a:solidFill>
          <a:latin typeface="微软雅黑" panose="020B0503020204020204" charset="-122"/>
          <a:ea typeface="微软雅黑" panose="020B0503020204020204" charset="-122"/>
          <a:cs typeface="+mn-cs"/>
        </a:defRPr>
      </a:lvl2pPr>
      <a:lvl3pPr marL="1257300" indent="-342900" algn="l" defTabSz="914400" rtl="0" eaLnBrk="1" latinLnBrk="0" hangingPunct="1">
        <a:lnSpc>
          <a:spcPct val="120000"/>
        </a:lnSpc>
        <a:spcBef>
          <a:spcPts val="500"/>
        </a:spcBef>
        <a:buFont typeface="+mj-ea"/>
        <a:buAutoNum type="circleNumDbPlain"/>
        <a:defRPr sz="1600" kern="1200">
          <a:solidFill>
            <a:schemeClr val="tx1"/>
          </a:solidFill>
          <a:latin typeface="微软雅黑" panose="020B0503020204020204" charset="-122"/>
          <a:ea typeface="微软雅黑" panose="020B0503020204020204" charset="-122"/>
          <a:cs typeface="+mn-cs"/>
        </a:defRPr>
      </a:lvl3pPr>
      <a:lvl4pPr marL="1714500" indent="-342900" algn="l" defTabSz="914400" rtl="0" eaLnBrk="1" latinLnBrk="0" hangingPunct="1">
        <a:lnSpc>
          <a:spcPct val="120000"/>
        </a:lnSpc>
        <a:spcBef>
          <a:spcPts val="500"/>
        </a:spcBef>
        <a:buFont typeface="+mj-lt"/>
        <a:buAutoNum type="alphaLcParenR"/>
        <a:defRPr sz="1400" kern="1200">
          <a:solidFill>
            <a:schemeClr val="tx1"/>
          </a:solidFill>
          <a:latin typeface="微软雅黑" panose="020B0503020204020204" charset="-122"/>
          <a:ea typeface="微软雅黑" panose="020B0503020204020204" charset="-122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90204" pitchFamily="34" charset="0"/>
        <a:buChar char="•"/>
        <a:defRPr sz="1100" kern="1200">
          <a:solidFill>
            <a:schemeClr val="tx1"/>
          </a:solidFill>
          <a:latin typeface="微软雅黑" panose="020B0503020204020204" charset="-122"/>
          <a:ea typeface="微软雅黑" panose="020B0503020204020204" charset="-122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9" imgW="0" imgH="0" progId="TCLayout.ActiveDocument.1">
                  <p:embed/>
                </p:oleObj>
              </mc:Choice>
              <mc:Fallback>
                <p:oleObj name="think-cell Slide" r:id="rId9" imgW="0" imgH="0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BCF4D">
              <a:alpha val="8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90204" pitchFamily="34" charset="0"/>
              <a:ea typeface="华文楷体" panose="02010600040101010101" pitchFamily="2" charset="-122"/>
              <a:cs typeface="+mn-cs"/>
              <a:sym typeface="Arial" panose="020B0604020202090204" pitchFamily="34" charset="0"/>
            </a:endParaRPr>
          </a:p>
        </p:txBody>
      </p:sp>
      <p:sp>
        <p:nvSpPr>
          <p:cNvPr id="10" name="标题占位符 1"/>
          <p:cNvSpPr>
            <a:spLocks noGrp="1"/>
          </p:cNvSpPr>
          <p:nvPr>
            <p:ph type="title"/>
          </p:nvPr>
        </p:nvSpPr>
        <p:spPr>
          <a:xfrm>
            <a:off x="193674" y="144077"/>
            <a:ext cx="11664951" cy="54743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zh-CN" altLang="en-US" dirty="0"/>
              <a:t>主题</a:t>
            </a:r>
            <a:endParaRPr lang="zh-CN" altLang="en-US" dirty="0"/>
          </a:p>
        </p:txBody>
      </p:sp>
      <p:sp>
        <p:nvSpPr>
          <p:cNvPr id="11" name="文本占位符 2"/>
          <p:cNvSpPr>
            <a:spLocks noGrp="1"/>
          </p:cNvSpPr>
          <p:nvPr>
            <p:ph type="body" idx="1"/>
          </p:nvPr>
        </p:nvSpPr>
        <p:spPr>
          <a:xfrm>
            <a:off x="269873" y="1123950"/>
            <a:ext cx="11588751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sp>
        <p:nvSpPr>
          <p:cNvPr id="13" name="日期占位符 3"/>
          <p:cNvSpPr>
            <a:spLocks noGrp="1"/>
          </p:cNvSpPr>
          <p:nvPr>
            <p:ph type="dt" sz="half" idx="2"/>
          </p:nvPr>
        </p:nvSpPr>
        <p:spPr>
          <a:xfrm>
            <a:off x="5369980" y="6461057"/>
            <a:ext cx="1388536" cy="206381"/>
          </a:xfrm>
          <a:prstGeom prst="rect">
            <a:avLst/>
          </a:prstGeom>
        </p:spPr>
        <p:txBody>
          <a:bodyPr vert="horz" lIns="91440" tIns="0" rIns="91440" bIns="45720" rtlCol="0" anchor="t" anchorCtr="0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90204"/>
              <a:ea typeface="微软雅黑" panose="020B0503020204020204" charset="-122"/>
              <a:cs typeface="+mn-cs"/>
            </a:endParaRPr>
          </a:p>
        </p:txBody>
      </p:sp>
      <p:sp>
        <p:nvSpPr>
          <p:cNvPr id="14" name="页脚占位符 4"/>
          <p:cNvSpPr>
            <a:spLocks noGrp="1"/>
          </p:cNvSpPr>
          <p:nvPr>
            <p:ph type="ftr" sz="quarter" idx="3"/>
          </p:nvPr>
        </p:nvSpPr>
        <p:spPr>
          <a:xfrm>
            <a:off x="269873" y="6461057"/>
            <a:ext cx="4886327" cy="215839"/>
          </a:xfrm>
          <a:prstGeom prst="rect">
            <a:avLst/>
          </a:prstGeom>
        </p:spPr>
        <p:txBody>
          <a:bodyPr vert="horz" lIns="91440" tIns="0" rIns="91440" bIns="45720" rtlCol="0" anchor="t" anchorCtr="0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90204"/>
              <a:ea typeface="华文楷体" panose="02010600040101010101" pitchFamily="2" charset="-122"/>
              <a:cs typeface="+mn-cs"/>
            </a:endParaRPr>
          </a:p>
        </p:txBody>
      </p:sp>
      <p:cxnSp>
        <p:nvCxnSpPr>
          <p:cNvPr id="5" name="直接连接符 4"/>
          <p:cNvCxnSpPr/>
          <p:nvPr/>
        </p:nvCxnSpPr>
        <p:spPr>
          <a:xfrm>
            <a:off x="193674" y="806516"/>
            <a:ext cx="11664951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9300883" y="6381684"/>
            <a:ext cx="2743200" cy="365125"/>
          </a:xfrm>
        </p:spPr>
        <p:txBody>
          <a:bodyPr/>
          <a:lstStyle>
            <a:lvl1pPr algn="r">
              <a:defRPr sz="1600"/>
            </a:lvl1pPr>
          </a:lstStyle>
          <a:p>
            <a:fld id="{D174682D-7201-4549-AB46-A3B3CC68F057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7800" indent="-1778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914400" rtl="0" eaLnBrk="1" latinLnBrk="0" hangingPunct="1">
        <a:lnSpc>
          <a:spcPct val="90000"/>
        </a:lnSpc>
        <a:spcBef>
          <a:spcPts val="500"/>
        </a:spcBef>
        <a:buFont typeface="华文楷体" panose="02010600040101010101" pitchFamily="2" charset="-122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1655" indent="-18605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9455" indent="-177800" algn="l" defTabSz="914400" rtl="0" eaLnBrk="1" latinLnBrk="0" hangingPunct="1">
        <a:lnSpc>
          <a:spcPct val="90000"/>
        </a:lnSpc>
        <a:spcBef>
          <a:spcPts val="500"/>
        </a:spcBef>
        <a:buFont typeface="华文楷体" panose="02010600040101010101" pitchFamily="2" charset="-122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7255" indent="-1778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6" imgW="0" imgH="0" progId="TCLayout.ActiveDocument.1">
                  <p:embed/>
                </p:oleObj>
              </mc:Choice>
              <mc:Fallback>
                <p:oleObj name="think-cell 幻灯片" r:id="rId6" imgW="0" imgH="0" progId="TCLayout.ActiveDocument.1">
                  <p:embed/>
                  <p:pic>
                    <p:nvPicPr>
                      <p:cNvPr id="0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11579382" y="6437745"/>
            <a:ext cx="612617" cy="42025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703020202090204" pitchFamily="34" charset="0"/>
              </a:rPr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70302020209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60000" y="140399"/>
            <a:ext cx="10934700" cy="72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en-US" dirty="0"/>
              <a:t>Click to add tit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360000" y="977153"/>
            <a:ext cx="10934700" cy="50318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</p:txBody>
      </p:sp>
      <p:cxnSp>
        <p:nvCxnSpPr>
          <p:cNvPr id="6" name="直接连接符 5"/>
          <p:cNvCxnSpPr/>
          <p:nvPr/>
        </p:nvCxnSpPr>
        <p:spPr>
          <a:xfrm>
            <a:off x="0" y="6390900"/>
            <a:ext cx="12192000" cy="0"/>
          </a:xfrm>
          <a:prstGeom prst="line">
            <a:avLst/>
          </a:prstGeom>
          <a:ln w="12700" cap="rnd">
            <a:solidFill>
              <a:schemeClr val="accent1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" name="think-cell Slide" r:id="rId9" imgW="0" imgH="0" progId="TCLayout.ActiveDocument.1">
                  <p:embed/>
                </p:oleObj>
              </mc:Choice>
              <mc:Fallback>
                <p:oleObj name="think-cell Slide" r:id="rId9" imgW="0" imgH="0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矩形 7" hidden="1"/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BCF4D">
              <a:alpha val="8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en-US" altLang="zh-CN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90204" pitchFamily="34" charset="0"/>
              <a:ea typeface="华文楷体" panose="02010600040101010101" pitchFamily="2" charset="-122"/>
              <a:cs typeface="+mj-cs"/>
              <a:sym typeface="Arial" panose="020B060402020209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  <a:sym typeface="Trebuchet MS" panose="020B070302020209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Arial" panose="020B0604020202090204" pitchFamily="34" charset="0"/>
        <a:buChar char="​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703020202090204" pitchFamily="34" charset="0"/>
        </a:defRPr>
      </a:lvl1pPr>
      <a:lvl2pPr marL="284480" indent="-172720" algn="l" defTabSz="91440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tx2"/>
        </a:buClr>
        <a:buFont typeface="Arial" panose="020B0604020202090204" pitchFamily="34" charset="0"/>
        <a:buChar char="•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703020202090204" pitchFamily="34" charset="0"/>
        </a:defRPr>
      </a:lvl2pPr>
      <a:lvl3pPr marL="511175" indent="-165735" algn="l" defTabSz="91440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tx2"/>
        </a:buClr>
        <a:buFont typeface="Trebuchet MS" panose="020B0703020202090204" pitchFamily="34" charset="0"/>
        <a:buChar char="–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70302020209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9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70302020209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9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70302020209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9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70302020209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9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70302020209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9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70302020209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9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70302020209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6" imgW="0" imgH="0" progId="TCLayout.ActiveDocument.1">
                  <p:embed/>
                </p:oleObj>
              </mc:Choice>
              <mc:Fallback>
                <p:oleObj name="think-cell 幻灯片" r:id="rId6" imgW="0" imgH="0" progId="TCLayout.ActiveDocument.1">
                  <p:embed/>
                  <p:pic>
                    <p:nvPicPr>
                      <p:cNvPr id="0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11579382" y="6437745"/>
            <a:ext cx="612617" cy="42025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703020202090204" pitchFamily="34" charset="0"/>
              </a:rPr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70302020209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60000" y="140399"/>
            <a:ext cx="10934700" cy="72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en-US" dirty="0"/>
              <a:t>Click to add tit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360000" y="977153"/>
            <a:ext cx="10934700" cy="50318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</p:txBody>
      </p:sp>
      <p:cxnSp>
        <p:nvCxnSpPr>
          <p:cNvPr id="6" name="直接连接符 5"/>
          <p:cNvCxnSpPr/>
          <p:nvPr/>
        </p:nvCxnSpPr>
        <p:spPr>
          <a:xfrm>
            <a:off x="0" y="6390900"/>
            <a:ext cx="12192000" cy="0"/>
          </a:xfrm>
          <a:prstGeom prst="line">
            <a:avLst/>
          </a:prstGeom>
          <a:ln w="12700" cap="rnd">
            <a:solidFill>
              <a:schemeClr val="accent1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" name="think-cell Slide" r:id="rId9" imgW="0" imgH="0" progId="TCLayout.ActiveDocument.1">
                  <p:embed/>
                </p:oleObj>
              </mc:Choice>
              <mc:Fallback>
                <p:oleObj name="think-cell Slide" r:id="rId9" imgW="0" imgH="0" progId="TCLayout.ActiveDocument.1">
                  <p:embed/>
                  <p:pic>
                    <p:nvPicPr>
                      <p:cNvPr id="0" name="对象 6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矩形 7" hidden="1"/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BCF4D">
              <a:alpha val="8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en-US" altLang="zh-CN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90204" pitchFamily="34" charset="0"/>
              <a:ea typeface="华文楷体" panose="02010600040101010101" pitchFamily="2" charset="-122"/>
              <a:cs typeface="+mj-cs"/>
              <a:sym typeface="Arial" panose="020B060402020209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  <a:sym typeface="Trebuchet MS" panose="020B070302020209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Arial" panose="020B0604020202090204" pitchFamily="34" charset="0"/>
        <a:buChar char="​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703020202090204" pitchFamily="34" charset="0"/>
        </a:defRPr>
      </a:lvl1pPr>
      <a:lvl2pPr marL="284480" indent="-172720" algn="l" defTabSz="91440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tx2"/>
        </a:buClr>
        <a:buFont typeface="Arial" panose="020B0604020202090204" pitchFamily="34" charset="0"/>
        <a:buChar char="•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703020202090204" pitchFamily="34" charset="0"/>
        </a:defRPr>
      </a:lvl2pPr>
      <a:lvl3pPr marL="511175" indent="-165735" algn="l" defTabSz="91440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tx2"/>
        </a:buClr>
        <a:buFont typeface="Trebuchet MS" panose="020B0703020202090204" pitchFamily="34" charset="0"/>
        <a:buChar char="–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70302020209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9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70302020209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9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70302020209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9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70302020209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9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70302020209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9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70302020209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9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70302020209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4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3" imgW="0" imgH="0" progId="TCLayout.ActiveDocument.1">
                  <p:embed/>
                </p:oleObj>
              </mc:Choice>
              <mc:Fallback>
                <p:oleObj name="think-cell Slide" r:id="rId43" imgW="0" imgH="0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 userDrawn="1">
            <p:custDataLst>
              <p:tags r:id="rId4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BCF4D">
              <a:alpha val="8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90204" pitchFamily="34" charset="0"/>
              <a:ea typeface="华文楷体" panose="02010600040101010101" pitchFamily="2" charset="-122"/>
              <a:cs typeface="+mn-cs"/>
              <a:sym typeface="Arial" panose="020B060402020209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  <p:sldLayoutId id="2147483702" r:id="rId18"/>
    <p:sldLayoutId id="2147483703" r:id="rId19"/>
    <p:sldLayoutId id="2147483704" r:id="rId20"/>
    <p:sldLayoutId id="2147483705" r:id="rId21"/>
    <p:sldLayoutId id="2147483706" r:id="rId22"/>
    <p:sldLayoutId id="2147483707" r:id="rId23"/>
    <p:sldLayoutId id="2147483708" r:id="rId24"/>
    <p:sldLayoutId id="2147483709" r:id="rId25"/>
    <p:sldLayoutId id="2147483710" r:id="rId26"/>
    <p:sldLayoutId id="2147483711" r:id="rId27"/>
    <p:sldLayoutId id="2147483712" r:id="rId28"/>
    <p:sldLayoutId id="2147483713" r:id="rId29"/>
    <p:sldLayoutId id="2147483714" r:id="rId30"/>
    <p:sldLayoutId id="2147483715" r:id="rId31"/>
    <p:sldLayoutId id="2147483716" r:id="rId32"/>
    <p:sldLayoutId id="2147483717" r:id="rId33"/>
    <p:sldLayoutId id="2147483718" r:id="rId34"/>
    <p:sldLayoutId id="2147483719" r:id="rId35"/>
    <p:sldLayoutId id="2147483720" r:id="rId36"/>
    <p:sldLayoutId id="2147483721" r:id="rId37"/>
    <p:sldLayoutId id="2147483722" r:id="rId38"/>
    <p:sldLayoutId id="2147483723" r:id="rId39"/>
    <p:sldLayoutId id="2147483724" r:id="rId40"/>
    <p:sldLayoutId id="2147483725" r:id="rId4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7800" indent="-1778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914400" rtl="0" eaLnBrk="1" latinLnBrk="0" hangingPunct="1">
        <a:lnSpc>
          <a:spcPct val="90000"/>
        </a:lnSpc>
        <a:spcBef>
          <a:spcPts val="500"/>
        </a:spcBef>
        <a:buFont typeface="华文楷体" panose="02010600040101010101" pitchFamily="2" charset="-122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1655" indent="-18605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9455" indent="-177800" algn="l" defTabSz="914400" rtl="0" eaLnBrk="1" latinLnBrk="0" hangingPunct="1">
        <a:lnSpc>
          <a:spcPct val="90000"/>
        </a:lnSpc>
        <a:spcBef>
          <a:spcPts val="500"/>
        </a:spcBef>
        <a:buFont typeface="华文楷体" panose="02010600040101010101" pitchFamily="2" charset="-122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7255" indent="-1778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BCF4D">
              <a:alpha val="8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en-US" altLang="zh-CN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90204" pitchFamily="34" charset="0"/>
              <a:ea typeface="华文楷体" panose="02010600040101010101" pitchFamily="2" charset="-122"/>
              <a:cs typeface="+mj-cs"/>
              <a:sym typeface="Arial" panose="020B060402020209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7800" indent="-1778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914400" rtl="0" eaLnBrk="1" latinLnBrk="0" hangingPunct="1">
        <a:lnSpc>
          <a:spcPct val="90000"/>
        </a:lnSpc>
        <a:spcBef>
          <a:spcPts val="500"/>
        </a:spcBef>
        <a:buFont typeface="华文楷体" panose="02010600040101010101" pitchFamily="2" charset="-122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1655" indent="-18605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9455" indent="-177800" algn="l" defTabSz="914400" rtl="0" eaLnBrk="1" latinLnBrk="0" hangingPunct="1">
        <a:lnSpc>
          <a:spcPct val="90000"/>
        </a:lnSpc>
        <a:spcBef>
          <a:spcPts val="500"/>
        </a:spcBef>
        <a:buFont typeface="华文楷体" panose="02010600040101010101" pitchFamily="2" charset="-122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7255" indent="-1778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2.xml"/><Relationship Id="rId1" Type="http://schemas.openxmlformats.org/officeDocument/2006/relationships/image" Target="../media/image24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2.xml"/><Relationship Id="rId1" Type="http://schemas.openxmlformats.org/officeDocument/2006/relationships/image" Target="../media/image24.jpe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0.xml"/><Relationship Id="rId1" Type="http://schemas.openxmlformats.org/officeDocument/2006/relationships/image" Target="../media/image25.jpe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0.xml"/><Relationship Id="rId1" Type="http://schemas.openxmlformats.org/officeDocument/2006/relationships/tags" Target="../tags/tag99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1.xml"/><Relationship Id="rId1" Type="http://schemas.openxmlformats.org/officeDocument/2006/relationships/image" Target="../media/image20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image" Target="../media/image20.png"/><Relationship Id="rId1" Type="http://schemas.openxmlformats.org/officeDocument/2006/relationships/tags" Target="../tags/tag10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image" Target="../media/image20.png"/><Relationship Id="rId1" Type="http://schemas.openxmlformats.org/officeDocument/2006/relationships/tags" Target="../tags/tag10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0.xml"/><Relationship Id="rId1" Type="http://schemas.openxmlformats.org/officeDocument/2006/relationships/image" Target="../media/image26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image" Target="../media/image20.png"/><Relationship Id="rId1" Type="http://schemas.openxmlformats.org/officeDocument/2006/relationships/tags" Target="../tags/tag10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3.xml"/><Relationship Id="rId1" Type="http://schemas.openxmlformats.org/officeDocument/2006/relationships/image" Target="../media/image21.jpe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2.xml"/><Relationship Id="rId1" Type="http://schemas.openxmlformats.org/officeDocument/2006/relationships/image" Target="../media/image24.jpe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0.xml"/><Relationship Id="rId1" Type="http://schemas.openxmlformats.org/officeDocument/2006/relationships/image" Target="../media/image27.png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2.xml"/><Relationship Id="rId1" Type="http://schemas.openxmlformats.org/officeDocument/2006/relationships/image" Target="../media/image24.jpeg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0.xml"/><Relationship Id="rId1" Type="http://schemas.openxmlformats.org/officeDocument/2006/relationships/image" Target="../media/image28.png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2.xml"/><Relationship Id="rId1" Type="http://schemas.openxmlformats.org/officeDocument/2006/relationships/image" Target="../media/image24.jpeg"/></Relationships>
</file>

<file path=ppt/slides/_rels/slide46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11.xml"/><Relationship Id="rId3" Type="http://schemas.openxmlformats.org/officeDocument/2006/relationships/image" Target="../media/image29.png"/><Relationship Id="rId2" Type="http://schemas.openxmlformats.org/officeDocument/2006/relationships/image" Target="../media/image20.png"/><Relationship Id="rId1" Type="http://schemas.openxmlformats.org/officeDocument/2006/relationships/tags" Target="../tags/tag103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48.xml.rels><?xml version="1.0" encoding="UTF-8" standalone="yes"?>
<Relationships xmlns="http://schemas.openxmlformats.org/package/2006/relationships"><Relationship Id="rId9" Type="http://schemas.openxmlformats.org/officeDocument/2006/relationships/tags" Target="../tags/tag112.xml"/><Relationship Id="rId8" Type="http://schemas.openxmlformats.org/officeDocument/2006/relationships/tags" Target="../tags/tag111.xml"/><Relationship Id="rId7" Type="http://schemas.openxmlformats.org/officeDocument/2006/relationships/tags" Target="../tags/tag110.xml"/><Relationship Id="rId6" Type="http://schemas.openxmlformats.org/officeDocument/2006/relationships/tags" Target="../tags/tag109.xml"/><Relationship Id="rId5" Type="http://schemas.openxmlformats.org/officeDocument/2006/relationships/tags" Target="../tags/tag108.xml"/><Relationship Id="rId4" Type="http://schemas.openxmlformats.org/officeDocument/2006/relationships/tags" Target="../tags/tag107.xml"/><Relationship Id="rId3" Type="http://schemas.openxmlformats.org/officeDocument/2006/relationships/tags" Target="../tags/tag106.xml"/><Relationship Id="rId2" Type="http://schemas.openxmlformats.org/officeDocument/2006/relationships/tags" Target="../tags/tag105.xml"/><Relationship Id="rId18" Type="http://schemas.openxmlformats.org/officeDocument/2006/relationships/slideLayout" Target="../slideLayouts/slideLayout40.xml"/><Relationship Id="rId17" Type="http://schemas.openxmlformats.org/officeDocument/2006/relationships/tags" Target="../tags/tag120.xml"/><Relationship Id="rId16" Type="http://schemas.openxmlformats.org/officeDocument/2006/relationships/tags" Target="../tags/tag119.xml"/><Relationship Id="rId15" Type="http://schemas.openxmlformats.org/officeDocument/2006/relationships/tags" Target="../tags/tag118.xml"/><Relationship Id="rId14" Type="http://schemas.openxmlformats.org/officeDocument/2006/relationships/tags" Target="../tags/tag117.xml"/><Relationship Id="rId13" Type="http://schemas.openxmlformats.org/officeDocument/2006/relationships/tags" Target="../tags/tag116.xml"/><Relationship Id="rId12" Type="http://schemas.openxmlformats.org/officeDocument/2006/relationships/tags" Target="../tags/tag115.xml"/><Relationship Id="rId11" Type="http://schemas.openxmlformats.org/officeDocument/2006/relationships/tags" Target="../tags/tag114.xml"/><Relationship Id="rId10" Type="http://schemas.openxmlformats.org/officeDocument/2006/relationships/tags" Target="../tags/tag113.xml"/><Relationship Id="rId1" Type="http://schemas.openxmlformats.org/officeDocument/2006/relationships/tags" Target="../tags/tag104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0.xml"/><Relationship Id="rId1" Type="http://schemas.openxmlformats.org/officeDocument/2006/relationships/image" Target="../media/image3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0.xml"/><Relationship Id="rId1" Type="http://schemas.openxmlformats.org/officeDocument/2006/relationships/image" Target="../media/image31.png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0.xml"/><Relationship Id="rId1" Type="http://schemas.openxmlformats.org/officeDocument/2006/relationships/image" Target="../media/image32.png"/></Relationships>
</file>

<file path=ppt/slides/_rels/slide52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9.vml"/><Relationship Id="rId5" Type="http://schemas.openxmlformats.org/officeDocument/2006/relationships/slideLayout" Target="../slideLayouts/slideLayout40.xml"/><Relationship Id="rId4" Type="http://schemas.openxmlformats.org/officeDocument/2006/relationships/image" Target="../media/image34.wmf"/><Relationship Id="rId3" Type="http://schemas.openxmlformats.org/officeDocument/2006/relationships/oleObject" Target="../embeddings/oleObject34.bin"/><Relationship Id="rId2" Type="http://schemas.openxmlformats.org/officeDocument/2006/relationships/image" Target="../media/image33.wmf"/><Relationship Id="rId1" Type="http://schemas.openxmlformats.org/officeDocument/2006/relationships/oleObject" Target="../embeddings/oleObject33.bin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7" Type="http://schemas.openxmlformats.org/officeDocument/2006/relationships/slideLayout" Target="../slideLayouts/slideLayout15.xml"/><Relationship Id="rId6" Type="http://schemas.openxmlformats.org/officeDocument/2006/relationships/tags" Target="../tags/tag61.xml"/><Relationship Id="rId5" Type="http://schemas.openxmlformats.org/officeDocument/2006/relationships/image" Target="../media/image23.png"/><Relationship Id="rId4" Type="http://schemas.openxmlformats.org/officeDocument/2006/relationships/tags" Target="../tags/tag60.xml"/><Relationship Id="rId3" Type="http://schemas.openxmlformats.org/officeDocument/2006/relationships/tags" Target="../tags/tag59.xml"/><Relationship Id="rId2" Type="http://schemas.openxmlformats.org/officeDocument/2006/relationships/image" Target="../media/image22.png"/><Relationship Id="rId1" Type="http://schemas.openxmlformats.org/officeDocument/2006/relationships/tags" Target="../tags/tag58.xml"/></Relationships>
</file>

<file path=ppt/slides/_rels/slide7.xml.rels><?xml version="1.0" encoding="UTF-8" standalone="yes"?>
<Relationships xmlns="http://schemas.openxmlformats.org/package/2006/relationships"><Relationship Id="rId9" Type="http://schemas.openxmlformats.org/officeDocument/2006/relationships/tags" Target="../tags/tag70.xml"/><Relationship Id="rId8" Type="http://schemas.openxmlformats.org/officeDocument/2006/relationships/tags" Target="../tags/tag69.xml"/><Relationship Id="rId7" Type="http://schemas.openxmlformats.org/officeDocument/2006/relationships/tags" Target="../tags/tag68.xml"/><Relationship Id="rId6" Type="http://schemas.openxmlformats.org/officeDocument/2006/relationships/tags" Target="../tags/tag67.xml"/><Relationship Id="rId5" Type="http://schemas.openxmlformats.org/officeDocument/2006/relationships/tags" Target="../tags/tag66.xml"/><Relationship Id="rId4" Type="http://schemas.openxmlformats.org/officeDocument/2006/relationships/tags" Target="../tags/tag65.xml"/><Relationship Id="rId39" Type="http://schemas.openxmlformats.org/officeDocument/2006/relationships/notesSlide" Target="../notesSlides/notesSlide4.xml"/><Relationship Id="rId38" Type="http://schemas.openxmlformats.org/officeDocument/2006/relationships/slideLayout" Target="../slideLayouts/slideLayout14.xml"/><Relationship Id="rId37" Type="http://schemas.openxmlformats.org/officeDocument/2006/relationships/tags" Target="../tags/tag98.xml"/><Relationship Id="rId36" Type="http://schemas.openxmlformats.org/officeDocument/2006/relationships/tags" Target="../tags/tag97.xml"/><Relationship Id="rId35" Type="http://schemas.openxmlformats.org/officeDocument/2006/relationships/tags" Target="../tags/tag96.xml"/><Relationship Id="rId34" Type="http://schemas.openxmlformats.org/officeDocument/2006/relationships/tags" Target="../tags/tag95.xml"/><Relationship Id="rId33" Type="http://schemas.openxmlformats.org/officeDocument/2006/relationships/tags" Target="../tags/tag94.xml"/><Relationship Id="rId32" Type="http://schemas.openxmlformats.org/officeDocument/2006/relationships/tags" Target="../tags/tag93.xml"/><Relationship Id="rId31" Type="http://schemas.openxmlformats.org/officeDocument/2006/relationships/tags" Target="../tags/tag92.xml"/><Relationship Id="rId30" Type="http://schemas.openxmlformats.org/officeDocument/2006/relationships/tags" Target="../tags/tag91.xml"/><Relationship Id="rId3" Type="http://schemas.openxmlformats.org/officeDocument/2006/relationships/tags" Target="../tags/tag64.xml"/><Relationship Id="rId29" Type="http://schemas.openxmlformats.org/officeDocument/2006/relationships/tags" Target="../tags/tag90.xml"/><Relationship Id="rId28" Type="http://schemas.openxmlformats.org/officeDocument/2006/relationships/tags" Target="../tags/tag89.xml"/><Relationship Id="rId27" Type="http://schemas.openxmlformats.org/officeDocument/2006/relationships/tags" Target="../tags/tag88.xml"/><Relationship Id="rId26" Type="http://schemas.openxmlformats.org/officeDocument/2006/relationships/tags" Target="../tags/tag87.xml"/><Relationship Id="rId25" Type="http://schemas.openxmlformats.org/officeDocument/2006/relationships/tags" Target="../tags/tag86.xml"/><Relationship Id="rId24" Type="http://schemas.openxmlformats.org/officeDocument/2006/relationships/tags" Target="../tags/tag85.xml"/><Relationship Id="rId23" Type="http://schemas.openxmlformats.org/officeDocument/2006/relationships/tags" Target="../tags/tag84.xml"/><Relationship Id="rId22" Type="http://schemas.openxmlformats.org/officeDocument/2006/relationships/tags" Target="../tags/tag83.xml"/><Relationship Id="rId21" Type="http://schemas.openxmlformats.org/officeDocument/2006/relationships/tags" Target="../tags/tag82.xml"/><Relationship Id="rId20" Type="http://schemas.openxmlformats.org/officeDocument/2006/relationships/tags" Target="../tags/tag81.xml"/><Relationship Id="rId2" Type="http://schemas.openxmlformats.org/officeDocument/2006/relationships/tags" Target="../tags/tag63.xml"/><Relationship Id="rId19" Type="http://schemas.openxmlformats.org/officeDocument/2006/relationships/tags" Target="../tags/tag80.xml"/><Relationship Id="rId18" Type="http://schemas.openxmlformats.org/officeDocument/2006/relationships/tags" Target="../tags/tag79.xml"/><Relationship Id="rId17" Type="http://schemas.openxmlformats.org/officeDocument/2006/relationships/tags" Target="../tags/tag78.xml"/><Relationship Id="rId16" Type="http://schemas.openxmlformats.org/officeDocument/2006/relationships/tags" Target="../tags/tag77.xml"/><Relationship Id="rId15" Type="http://schemas.openxmlformats.org/officeDocument/2006/relationships/tags" Target="../tags/tag76.xml"/><Relationship Id="rId14" Type="http://schemas.openxmlformats.org/officeDocument/2006/relationships/tags" Target="../tags/tag75.xml"/><Relationship Id="rId13" Type="http://schemas.openxmlformats.org/officeDocument/2006/relationships/tags" Target="../tags/tag74.xml"/><Relationship Id="rId12" Type="http://schemas.openxmlformats.org/officeDocument/2006/relationships/tags" Target="../tags/tag73.xml"/><Relationship Id="rId11" Type="http://schemas.openxmlformats.org/officeDocument/2006/relationships/tags" Target="../tags/tag72.xml"/><Relationship Id="rId10" Type="http://schemas.openxmlformats.org/officeDocument/2006/relationships/tags" Target="../tags/tag71.xml"/><Relationship Id="rId1" Type="http://schemas.openxmlformats.org/officeDocument/2006/relationships/tags" Target="../tags/tag6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>
          <a:xfrm>
            <a:off x="633198" y="1840475"/>
            <a:ext cx="7241433" cy="2802791"/>
          </a:xfrm>
        </p:spPr>
        <p:txBody>
          <a:bodyPr>
            <a:normAutofit/>
          </a:bodyPr>
          <a:lstStyle/>
          <a:p>
            <a:r>
              <a:rPr sz="4000" dirty="0">
                <a:solidFill>
                  <a:schemeClr val="accent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前端</a:t>
            </a:r>
            <a:r>
              <a:rPr lang="en-US" altLang="zh-CN" sz="4000" dirty="0">
                <a:solidFill>
                  <a:schemeClr val="accent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Vue</a:t>
            </a:r>
            <a:r>
              <a:rPr sz="4000" dirty="0">
                <a:solidFill>
                  <a:schemeClr val="accent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项目优化</a:t>
            </a:r>
            <a:r>
              <a:rPr sz="4000" dirty="0">
                <a:solidFill>
                  <a:schemeClr val="accent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实战技巧</a:t>
            </a:r>
            <a:endParaRPr sz="4000" dirty="0">
              <a:solidFill>
                <a:schemeClr val="accent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545174" y="2046401"/>
            <a:ext cx="5306096" cy="57955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lstStyle/>
          <a:p>
            <a:pPr marL="10604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创课计划 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——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837565" y="4177665"/>
            <a:ext cx="4143375" cy="62992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spAutoFit/>
          </a:bodyPr>
          <a:p>
            <a:pPr>
              <a:lnSpc>
                <a:spcPct val="125000"/>
              </a:lnSpc>
            </a:pPr>
            <a:r>
              <a:rPr lang="zh-CN" altLang="en-US" sz="1400" b="1" dirty="0">
                <a:solidFill>
                  <a:schemeClr val="tx1"/>
                </a:solidFill>
                <a:latin typeface="+mn-ea"/>
              </a:rPr>
              <a:t>姓名：许群</a:t>
            </a:r>
            <a:r>
              <a:rPr lang="zh-CN" altLang="en-US" sz="1400" b="1" dirty="0">
                <a:solidFill>
                  <a:schemeClr val="tx1"/>
                </a:solidFill>
                <a:latin typeface="+mn-ea"/>
              </a:rPr>
              <a:t>海</a:t>
            </a:r>
            <a:endParaRPr lang="zh-CN" altLang="en-US" sz="1400" b="1" dirty="0">
              <a:solidFill>
                <a:schemeClr val="tx1"/>
              </a:solidFill>
              <a:latin typeface="+mn-ea"/>
            </a:endParaRPr>
          </a:p>
          <a:p>
            <a:pPr>
              <a:lnSpc>
                <a:spcPct val="125000"/>
              </a:lnSpc>
            </a:pPr>
            <a:r>
              <a:rPr lang="zh-CN" altLang="en-US" sz="1400" b="1" dirty="0">
                <a:solidFill>
                  <a:schemeClr val="tx1"/>
                </a:solidFill>
                <a:latin typeface="+mn-ea"/>
              </a:rPr>
              <a:t>团队：个险</a:t>
            </a:r>
            <a:r>
              <a:rPr lang="zh-CN" altLang="en-US" sz="1400" b="1" dirty="0">
                <a:solidFill>
                  <a:schemeClr val="tx1"/>
                </a:solidFill>
                <a:latin typeface="+mn-ea"/>
              </a:rPr>
              <a:t>渠道研发团队</a:t>
            </a:r>
            <a:endParaRPr lang="zh-CN" altLang="en-US" sz="1400" b="1" dirty="0">
              <a:solidFill>
                <a:schemeClr val="tx1"/>
              </a:solidFill>
              <a:latin typeface="+mn-ea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6779260" y="1055370"/>
            <a:ext cx="3867150" cy="533400"/>
          </a:xfrm>
          <a:prstGeom prst="rect">
            <a:avLst/>
          </a:prstGeom>
          <a:solidFill>
            <a:srgbClr val="FF66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l"/>
            <a:r>
              <a:rPr lang="zh-CN" altLang="en-US" sz="2000" b="1" dirty="0" smtClean="0">
                <a:solidFill>
                  <a:schemeClr val="bg1"/>
                </a:solidFill>
              </a:rPr>
              <a:t>洞察趋势：了解保险风控格局</a:t>
            </a:r>
            <a:endParaRPr lang="zh-CN" altLang="en-US" sz="2000" b="1" dirty="0" smtClean="0">
              <a:solidFill>
                <a:schemeClr val="bg1"/>
              </a:solidFill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1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4249207" cy="6858000"/>
          </a:xfrm>
          <a:prstGeom prst="rect">
            <a:avLst/>
          </a:prstGeom>
        </p:spPr>
      </p:pic>
      <p:grpSp>
        <p:nvGrpSpPr>
          <p:cNvPr id="18" name="组合 17"/>
          <p:cNvGrpSpPr/>
          <p:nvPr/>
        </p:nvGrpSpPr>
        <p:grpSpPr>
          <a:xfrm>
            <a:off x="-3750" y="0"/>
            <a:ext cx="4252957" cy="5905045"/>
            <a:chOff x="-3750" y="0"/>
            <a:chExt cx="4252957" cy="5905045"/>
          </a:xfrm>
          <a:solidFill>
            <a:schemeClr val="bg1">
              <a:lumMod val="85000"/>
              <a:alpha val="50000"/>
            </a:schemeClr>
          </a:solidFill>
        </p:grpSpPr>
        <p:sp>
          <p:nvSpPr>
            <p:cNvPr id="19" name="矩形 18"/>
            <p:cNvSpPr/>
            <p:nvPr/>
          </p:nvSpPr>
          <p:spPr>
            <a:xfrm>
              <a:off x="0" y="0"/>
              <a:ext cx="4249207" cy="393714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90204"/>
                <a:ea typeface="楷体" panose="02010609060101010101" pitchFamily="49" charset="-122"/>
                <a:cs typeface="+mn-cs"/>
              </a:endParaRPr>
            </a:p>
          </p:txBody>
        </p:sp>
        <p:sp>
          <p:nvSpPr>
            <p:cNvPr id="20" name="直角三角形 19"/>
            <p:cNvSpPr/>
            <p:nvPr/>
          </p:nvSpPr>
          <p:spPr>
            <a:xfrm rot="10800000">
              <a:off x="-3750" y="3937145"/>
              <a:ext cx="4252957" cy="1967900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90204"/>
                <a:ea typeface="楷体" panose="02010609060101010101" pitchFamily="49" charset="-122"/>
                <a:cs typeface="+mn-cs"/>
              </a:endParaRPr>
            </a:p>
          </p:txBody>
        </p:sp>
      </p:grpSp>
      <p:sp>
        <p:nvSpPr>
          <p:cNvPr id="21" name="等腰三角形 20"/>
          <p:cNvSpPr/>
          <p:nvPr/>
        </p:nvSpPr>
        <p:spPr>
          <a:xfrm rot="10273322">
            <a:off x="2884558" y="793348"/>
            <a:ext cx="1825398" cy="6094409"/>
          </a:xfrm>
          <a:prstGeom prst="triangle">
            <a:avLst>
              <a:gd name="adj" fmla="val 49832"/>
            </a:avLst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90204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22" name="直角三角形 21"/>
          <p:cNvSpPr/>
          <p:nvPr/>
        </p:nvSpPr>
        <p:spPr>
          <a:xfrm rot="10800000">
            <a:off x="1047749" y="-3"/>
            <a:ext cx="3201453" cy="2231503"/>
          </a:xfrm>
          <a:prstGeom prst="rtTriangle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90204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23" name="文本框 6"/>
          <p:cNvSpPr txBox="1"/>
          <p:nvPr/>
        </p:nvSpPr>
        <p:spPr>
          <a:xfrm>
            <a:off x="630723" y="2708304"/>
            <a:ext cx="2984009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i="0" u="none" strike="noStrike" kern="1200" cap="none" spc="0" normalizeH="0" baseline="0" noProof="0" dirty="0">
                <a:ln>
                  <a:noFill/>
                </a:ln>
                <a:solidFill>
                  <a:srgbClr val="ED6F3D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CONTENT</a:t>
            </a:r>
            <a:endParaRPr kumimoji="0" lang="en-US" altLang="zh-CN" sz="3200" i="0" u="none" strike="noStrike" kern="1200" cap="none" spc="0" normalizeH="0" baseline="0" noProof="0" dirty="0">
              <a:ln>
                <a:noFill/>
              </a:ln>
              <a:solidFill>
                <a:srgbClr val="ED6F3D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4400" i="0" u="none" strike="noStrike" kern="1200" cap="none" spc="0" normalizeH="0" baseline="0" noProof="0" dirty="0">
                <a:ln>
                  <a:noFill/>
                </a:ln>
                <a:solidFill>
                  <a:srgbClr val="ED6F3D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目录</a:t>
            </a:r>
            <a:endParaRPr kumimoji="0" lang="zh-CN" altLang="en-US" sz="4400" i="0" u="none" strike="noStrike" kern="1200" cap="none" spc="0" normalizeH="0" baseline="0" noProof="0" dirty="0">
              <a:ln>
                <a:noFill/>
              </a:ln>
              <a:solidFill>
                <a:srgbClr val="ED6F3D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9" name="椭圆 68"/>
          <p:cNvSpPr/>
          <p:nvPr/>
        </p:nvSpPr>
        <p:spPr>
          <a:xfrm>
            <a:off x="5881411" y="1055468"/>
            <a:ext cx="533400" cy="533400"/>
          </a:xfrm>
          <a:prstGeom prst="ellipse">
            <a:avLst/>
          </a:prstGeom>
          <a:solidFill>
            <a:srgbClr val="FF66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lnSpc>
                <a:spcPct val="140000"/>
              </a:lnSpc>
            </a:pPr>
            <a:r>
              <a:rPr lang="en-US" altLang="zh-CN" sz="2000" b="1">
                <a:latin typeface="+mj-lt"/>
                <a:ea typeface="Noto Sans S Chinese Regular" panose="020B0500000000000000" pitchFamily="34" charset="-122"/>
              </a:rPr>
              <a:t>1</a:t>
            </a:r>
            <a:endParaRPr lang="zh-CN" altLang="en-US" sz="2000" b="1" dirty="0">
              <a:latin typeface="+mj-lt"/>
              <a:ea typeface="Noto Sans S Chinese Regular" panose="020B0500000000000000" pitchFamily="34" charset="-122"/>
            </a:endParaRPr>
          </a:p>
        </p:txBody>
      </p:sp>
      <p:sp>
        <p:nvSpPr>
          <p:cNvPr id="71" name="椭圆 70"/>
          <p:cNvSpPr/>
          <p:nvPr/>
        </p:nvSpPr>
        <p:spPr>
          <a:xfrm>
            <a:off x="5881411" y="2009873"/>
            <a:ext cx="533400" cy="5334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lnSpc>
                <a:spcPct val="140000"/>
              </a:lnSpc>
            </a:pPr>
            <a:r>
              <a:rPr lang="en-US" altLang="zh-CN" sz="2000" b="1" smtClean="0">
                <a:latin typeface="+mj-lt"/>
                <a:ea typeface="Noto Sans S Chinese Regular" panose="020B0500000000000000" pitchFamily="34" charset="-122"/>
              </a:rPr>
              <a:t>2</a:t>
            </a:r>
            <a:endParaRPr lang="zh-CN" altLang="en-US" sz="2000" b="1" dirty="0">
              <a:latin typeface="+mj-lt"/>
              <a:ea typeface="Noto Sans S Chinese Regular" panose="020B0500000000000000" pitchFamily="34" charset="-122"/>
            </a:endParaRPr>
          </a:p>
        </p:txBody>
      </p:sp>
      <p:sp>
        <p:nvSpPr>
          <p:cNvPr id="72" name="椭圆 71"/>
          <p:cNvSpPr/>
          <p:nvPr/>
        </p:nvSpPr>
        <p:spPr>
          <a:xfrm>
            <a:off x="5881411" y="2964278"/>
            <a:ext cx="533400" cy="5334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lnSpc>
                <a:spcPct val="140000"/>
              </a:lnSpc>
            </a:pPr>
            <a:r>
              <a:rPr lang="en-US" altLang="zh-CN" sz="2000" b="1" smtClean="0">
                <a:latin typeface="+mj-lt"/>
                <a:ea typeface="Noto Sans S Chinese Regular" panose="020B0500000000000000" pitchFamily="34" charset="-122"/>
              </a:rPr>
              <a:t>3</a:t>
            </a:r>
            <a:endParaRPr lang="zh-CN" altLang="en-US" sz="2000" b="1" dirty="0">
              <a:latin typeface="+mj-lt"/>
              <a:ea typeface="Noto Sans S Chinese Regular" panose="020B0500000000000000" pitchFamily="34" charset="-122"/>
            </a:endParaRPr>
          </a:p>
        </p:txBody>
      </p:sp>
      <p:sp>
        <p:nvSpPr>
          <p:cNvPr id="75" name="矩形 74"/>
          <p:cNvSpPr/>
          <p:nvPr/>
        </p:nvSpPr>
        <p:spPr>
          <a:xfrm>
            <a:off x="6779260" y="2005965"/>
            <a:ext cx="3867785" cy="533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l"/>
            <a:r>
              <a:rPr lang="zh-CN" altLang="en-US" sz="2000" dirty="0" smtClean="0">
                <a:solidFill>
                  <a:schemeClr val="tx1"/>
                </a:solidFill>
              </a:rPr>
              <a:t>突破瓶颈：小样本数据挖掘</a:t>
            </a:r>
            <a:endParaRPr lang="zh-CN" altLang="en-US" sz="2000" dirty="0" smtClean="0">
              <a:solidFill>
                <a:schemeClr val="tx1"/>
              </a:solidFill>
            </a:endParaRPr>
          </a:p>
        </p:txBody>
      </p:sp>
      <p:sp>
        <p:nvSpPr>
          <p:cNvPr id="77" name="矩形 76"/>
          <p:cNvSpPr/>
          <p:nvPr/>
        </p:nvSpPr>
        <p:spPr>
          <a:xfrm>
            <a:off x="6779260" y="2956560"/>
            <a:ext cx="3867785" cy="533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l"/>
            <a:r>
              <a:rPr lang="zh-CN" altLang="en-US" sz="2000" dirty="0" smtClean="0">
                <a:solidFill>
                  <a:schemeClr val="tx1"/>
                </a:solidFill>
              </a:rPr>
              <a:t>解码行为：破局稀缺</a:t>
            </a:r>
            <a:r>
              <a:rPr lang="en-US" altLang="zh-CN" sz="2000" dirty="0" smtClean="0">
                <a:solidFill>
                  <a:schemeClr val="tx1"/>
                </a:solidFill>
              </a:rPr>
              <a:t>&amp;</a:t>
            </a:r>
            <a:r>
              <a:rPr lang="zh-CN" altLang="en-US" sz="2000" dirty="0" smtClean="0">
                <a:solidFill>
                  <a:schemeClr val="tx1"/>
                </a:solidFill>
              </a:rPr>
              <a:t>精选标签</a:t>
            </a:r>
            <a:endParaRPr lang="zh-CN" altLang="en-US" sz="2000" dirty="0" smtClean="0">
              <a:solidFill>
                <a:schemeClr val="tx1"/>
              </a:solidFill>
            </a:endParaRPr>
          </a:p>
        </p:txBody>
      </p:sp>
      <p:sp>
        <p:nvSpPr>
          <p:cNvPr id="2" name="椭圆 1"/>
          <p:cNvSpPr/>
          <p:nvPr/>
        </p:nvSpPr>
        <p:spPr>
          <a:xfrm>
            <a:off x="5882046" y="3918683"/>
            <a:ext cx="533400" cy="5334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p>
            <a:pPr algn="ctr">
              <a:lnSpc>
                <a:spcPct val="140000"/>
              </a:lnSpc>
            </a:pPr>
            <a:r>
              <a:rPr lang="en-US" altLang="zh-CN" sz="2000" b="1" dirty="0">
                <a:latin typeface="+mj-lt"/>
                <a:ea typeface="Noto Sans S Chinese Regular" panose="020B0500000000000000" pitchFamily="34" charset="-122"/>
              </a:rPr>
              <a:t>4</a:t>
            </a:r>
            <a:endParaRPr lang="en-US" altLang="zh-CN" sz="2000" b="1" dirty="0">
              <a:latin typeface="+mj-lt"/>
              <a:ea typeface="Noto Sans S Chinese Regular" panose="020B0500000000000000" pitchFamily="34" charset="-122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6779895" y="3907155"/>
            <a:ext cx="3867785" cy="533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algn="l"/>
            <a:r>
              <a:rPr lang="zh-CN" altLang="en-US" sz="2000" dirty="0" smtClean="0">
                <a:solidFill>
                  <a:schemeClr val="tx1"/>
                </a:solidFill>
                <a:sym typeface="+mn-ea"/>
              </a:rPr>
              <a:t>实测胜算：AB实验测试效果</a:t>
            </a:r>
            <a:endParaRPr lang="zh-CN" altLang="en-US" sz="2000" dirty="0" smtClean="0">
              <a:solidFill>
                <a:schemeClr val="tx1"/>
              </a:solidFill>
            </a:endParaRPr>
          </a:p>
        </p:txBody>
      </p:sp>
      <p:sp>
        <p:nvSpPr>
          <p:cNvPr id="9" name="椭圆 8"/>
          <p:cNvSpPr/>
          <p:nvPr/>
        </p:nvSpPr>
        <p:spPr>
          <a:xfrm>
            <a:off x="5882046" y="4873088"/>
            <a:ext cx="533400" cy="5334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p>
            <a:pPr algn="ctr">
              <a:lnSpc>
                <a:spcPct val="140000"/>
              </a:lnSpc>
            </a:pPr>
            <a:r>
              <a:rPr lang="en-US" altLang="zh-CN" sz="2000" b="1" dirty="0">
                <a:latin typeface="+mj-lt"/>
                <a:ea typeface="Noto Sans S Chinese Regular" panose="020B0500000000000000" pitchFamily="34" charset="-122"/>
              </a:rPr>
              <a:t>5</a:t>
            </a:r>
            <a:endParaRPr lang="en-US" altLang="zh-CN" sz="2000" b="1" dirty="0">
              <a:latin typeface="+mj-lt"/>
              <a:ea typeface="Noto Sans S Chinese Regular" panose="020B0500000000000000" pitchFamily="34" charset="-122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6779895" y="4857750"/>
            <a:ext cx="3867785" cy="533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algn="l"/>
            <a:r>
              <a:rPr lang="zh-CN" altLang="en-US" sz="2000" dirty="0" smtClean="0">
                <a:solidFill>
                  <a:schemeClr val="tx1"/>
                </a:solidFill>
              </a:rPr>
              <a:t>解析风险：构建可解释的模型</a:t>
            </a:r>
            <a:endParaRPr lang="zh-CN" altLang="en-US" sz="2000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矩形 42"/>
          <p:cNvSpPr/>
          <p:nvPr/>
        </p:nvSpPr>
        <p:spPr>
          <a:xfrm>
            <a:off x="938530" y="4195445"/>
            <a:ext cx="4638675" cy="1926590"/>
          </a:xfrm>
          <a:prstGeom prst="rect">
            <a:avLst/>
          </a:prstGeom>
          <a:solidFill>
            <a:schemeClr val="bg1">
              <a:lumMod val="95000"/>
            </a:schemeClr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rtlCol="0" anchor="t" anchorCtr="0" compatLnSpc="1"/>
          <a:p>
            <a:endParaRPr lang="zh-CN" altLang="en-US"/>
          </a:p>
        </p:txBody>
      </p:sp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>
                <a:solidFill>
                  <a:prstClr val="black">
                    <a:lumMod val="85000"/>
                    <a:lumOff val="15000"/>
                  </a:prstClr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+mn-ea"/>
                <a:sym typeface="+mn-lt"/>
              </a:rPr>
              <a:t>解析趋势：风控识别方式的转型</a:t>
            </a:r>
            <a:endParaRPr lang="zh-CN" altLang="en-US" sz="2800" b="1">
              <a:solidFill>
                <a:prstClr val="black">
                  <a:lumMod val="85000"/>
                  <a:lumOff val="15000"/>
                </a:prstClr>
              </a:solidFill>
              <a:latin typeface="华文楷体" panose="02010600040101010101" pitchFamily="2" charset="-122"/>
              <a:ea typeface="华文楷体" panose="02010600040101010101" pitchFamily="2" charset="-122"/>
              <a:cs typeface="+mn-ea"/>
              <a:sym typeface="+mn-lt"/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C913308-F349-4B6D-A68A-DD1791B4A57B}" type="slidenum">
              <a:rPr kumimoji="0" lang="zh-CN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</a:fld>
            <a:endParaRPr kumimoji="0" lang="zh-CN" alt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</p:txBody>
      </p:sp>
      <p:cxnSp>
        <p:nvCxnSpPr>
          <p:cNvPr id="216" name="直接连接符 215"/>
          <p:cNvCxnSpPr/>
          <p:nvPr/>
        </p:nvCxnSpPr>
        <p:spPr>
          <a:xfrm>
            <a:off x="494030" y="1351280"/>
            <a:ext cx="514477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7" name="圆角矩形 216"/>
          <p:cNvSpPr/>
          <p:nvPr/>
        </p:nvSpPr>
        <p:spPr>
          <a:xfrm>
            <a:off x="1000125" y="1153160"/>
            <a:ext cx="4168775" cy="377825"/>
          </a:xfrm>
          <a:prstGeom prst="roundRect">
            <a:avLst>
              <a:gd name="adj" fmla="val 50000"/>
            </a:avLst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rIns="0" rtlCol="0" anchor="ctr"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b="1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90204"/>
                <a:ea typeface="华文楷体" panose="02010600040101010101" pitchFamily="2" charset="-122"/>
                <a:cs typeface="Times New Roman" panose="02020503050405090304" pitchFamily="18" charset="0"/>
              </a:rPr>
              <a:t>过去：专家规则主导</a:t>
            </a:r>
            <a:endParaRPr kumimoji="0" lang="zh-CN" altLang="en-US" b="1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90204"/>
              <a:ea typeface="华文楷体" panose="02010600040101010101" pitchFamily="2" charset="-122"/>
              <a:cs typeface="Times New Roman" panose="02020503050405090304" pitchFamily="18" charset="0"/>
            </a:endParaRPr>
          </a:p>
        </p:txBody>
      </p:sp>
      <p:cxnSp>
        <p:nvCxnSpPr>
          <p:cNvPr id="6" name="直接连接符 5"/>
          <p:cNvCxnSpPr/>
          <p:nvPr/>
        </p:nvCxnSpPr>
        <p:spPr>
          <a:xfrm>
            <a:off x="6392545" y="1351280"/>
            <a:ext cx="5222875" cy="0"/>
          </a:xfrm>
          <a:prstGeom prst="line">
            <a:avLst/>
          </a:prstGeom>
          <a:ln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圆角矩形 7"/>
          <p:cNvSpPr/>
          <p:nvPr/>
        </p:nvSpPr>
        <p:spPr>
          <a:xfrm>
            <a:off x="7001510" y="1153160"/>
            <a:ext cx="4168800" cy="37846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rIns="0" rtlCol="0" anchor="ctr"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b="1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90204"/>
                <a:ea typeface="华文楷体" panose="02010600040101010101" pitchFamily="2" charset="-122"/>
                <a:cs typeface="Times New Roman" panose="02020503050405090304" pitchFamily="18" charset="0"/>
              </a:rPr>
              <a:t>现在：风控模型引领</a:t>
            </a:r>
            <a:endParaRPr kumimoji="0" lang="zh-CN" altLang="en-US" b="1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90204"/>
              <a:ea typeface="华文楷体" panose="02010600040101010101" pitchFamily="2" charset="-122"/>
              <a:cs typeface="Times New Roman" panose="02020503050405090304" pitchFamily="18" charset="0"/>
            </a:endParaRPr>
          </a:p>
        </p:txBody>
      </p:sp>
      <p:sp>
        <p:nvSpPr>
          <p:cNvPr id="28" name="sync-symbol_73424"/>
          <p:cNvSpPr>
            <a:spLocks noChangeAspect="1"/>
          </p:cNvSpPr>
          <p:nvPr/>
        </p:nvSpPr>
        <p:spPr bwMode="auto">
          <a:xfrm>
            <a:off x="903544" y="2123737"/>
            <a:ext cx="504724" cy="609685"/>
          </a:xfrm>
          <a:custGeom>
            <a:avLst/>
            <a:gdLst>
              <a:gd name="connsiteX0" fmla="*/ 404210 w 503090"/>
              <a:gd name="connsiteY0" fmla="*/ 172161 h 607710"/>
              <a:gd name="connsiteX1" fmla="*/ 398125 w 503090"/>
              <a:gd name="connsiteY1" fmla="*/ 175935 h 607710"/>
              <a:gd name="connsiteX2" fmla="*/ 401997 w 503090"/>
              <a:gd name="connsiteY2" fmla="*/ 182010 h 607710"/>
              <a:gd name="connsiteX3" fmla="*/ 444964 w 503090"/>
              <a:gd name="connsiteY3" fmla="*/ 191675 h 607710"/>
              <a:gd name="connsiteX4" fmla="*/ 446070 w 503090"/>
              <a:gd name="connsiteY4" fmla="*/ 191767 h 607710"/>
              <a:gd name="connsiteX5" fmla="*/ 451049 w 503090"/>
              <a:gd name="connsiteY5" fmla="*/ 187809 h 607710"/>
              <a:gd name="connsiteX6" fmla="*/ 447177 w 503090"/>
              <a:gd name="connsiteY6" fmla="*/ 181734 h 607710"/>
              <a:gd name="connsiteX7" fmla="*/ 394252 w 503090"/>
              <a:gd name="connsiteY7" fmla="*/ 138289 h 607710"/>
              <a:gd name="connsiteX8" fmla="*/ 388167 w 503090"/>
              <a:gd name="connsiteY8" fmla="*/ 142155 h 607710"/>
              <a:gd name="connsiteX9" fmla="*/ 392039 w 503090"/>
              <a:gd name="connsiteY9" fmla="*/ 148137 h 607710"/>
              <a:gd name="connsiteX10" fmla="*/ 468475 w 503090"/>
              <a:gd name="connsiteY10" fmla="*/ 165350 h 607710"/>
              <a:gd name="connsiteX11" fmla="*/ 469582 w 503090"/>
              <a:gd name="connsiteY11" fmla="*/ 165442 h 607710"/>
              <a:gd name="connsiteX12" fmla="*/ 474561 w 503090"/>
              <a:gd name="connsiteY12" fmla="*/ 161484 h 607710"/>
              <a:gd name="connsiteX13" fmla="*/ 470688 w 503090"/>
              <a:gd name="connsiteY13" fmla="*/ 155409 h 607710"/>
              <a:gd name="connsiteX14" fmla="*/ 388997 w 503090"/>
              <a:gd name="connsiteY14" fmla="*/ 97697 h 607710"/>
              <a:gd name="connsiteX15" fmla="*/ 410296 w 503090"/>
              <a:gd name="connsiteY15" fmla="*/ 102483 h 607710"/>
              <a:gd name="connsiteX16" fmla="*/ 409281 w 503090"/>
              <a:gd name="connsiteY16" fmla="*/ 107086 h 607710"/>
              <a:gd name="connsiteX17" fmla="*/ 419700 w 503090"/>
              <a:gd name="connsiteY17" fmla="*/ 123654 h 607710"/>
              <a:gd name="connsiteX18" fmla="*/ 452616 w 503090"/>
              <a:gd name="connsiteY18" fmla="*/ 131017 h 607710"/>
              <a:gd name="connsiteX19" fmla="*/ 470411 w 503090"/>
              <a:gd name="connsiteY19" fmla="*/ 120708 h 607710"/>
              <a:gd name="connsiteX20" fmla="*/ 471426 w 503090"/>
              <a:gd name="connsiteY20" fmla="*/ 116106 h 607710"/>
              <a:gd name="connsiteX21" fmla="*/ 492817 w 503090"/>
              <a:gd name="connsiteY21" fmla="*/ 120892 h 607710"/>
              <a:gd name="connsiteX22" fmla="*/ 501115 w 503090"/>
              <a:gd name="connsiteY22" fmla="*/ 126691 h 607710"/>
              <a:gd name="connsiteX23" fmla="*/ 502774 w 503090"/>
              <a:gd name="connsiteY23" fmla="*/ 136632 h 607710"/>
              <a:gd name="connsiteX24" fmla="*/ 469213 w 503090"/>
              <a:gd name="connsiteY24" fmla="*/ 285929 h 607710"/>
              <a:gd name="connsiteX25" fmla="*/ 453446 w 503090"/>
              <a:gd name="connsiteY25" fmla="*/ 295869 h 607710"/>
              <a:gd name="connsiteX26" fmla="*/ 411494 w 503090"/>
              <a:gd name="connsiteY26" fmla="*/ 286481 h 607710"/>
              <a:gd name="connsiteX27" fmla="*/ 428736 w 503090"/>
              <a:gd name="connsiteY27" fmla="*/ 219104 h 607710"/>
              <a:gd name="connsiteX28" fmla="*/ 359584 w 503090"/>
              <a:gd name="connsiteY28" fmla="*/ 199498 h 607710"/>
              <a:gd name="connsiteX29" fmla="*/ 351655 w 503090"/>
              <a:gd name="connsiteY29" fmla="*/ 203917 h 607710"/>
              <a:gd name="connsiteX30" fmla="*/ 373322 w 503090"/>
              <a:gd name="connsiteY30" fmla="*/ 107546 h 607710"/>
              <a:gd name="connsiteX31" fmla="*/ 388997 w 503090"/>
              <a:gd name="connsiteY31" fmla="*/ 97697 h 607710"/>
              <a:gd name="connsiteX32" fmla="*/ 427054 w 503090"/>
              <a:gd name="connsiteY32" fmla="*/ 87148 h 607710"/>
              <a:gd name="connsiteX33" fmla="*/ 427884 w 503090"/>
              <a:gd name="connsiteY33" fmla="*/ 87240 h 607710"/>
              <a:gd name="connsiteX34" fmla="*/ 461971 w 503090"/>
              <a:gd name="connsiteY34" fmla="*/ 94892 h 607710"/>
              <a:gd name="connsiteX35" fmla="*/ 464827 w 503090"/>
              <a:gd name="connsiteY35" fmla="*/ 99317 h 607710"/>
              <a:gd name="connsiteX36" fmla="*/ 460404 w 503090"/>
              <a:gd name="connsiteY36" fmla="*/ 118585 h 607710"/>
              <a:gd name="connsiteX37" fmla="*/ 458838 w 503090"/>
              <a:gd name="connsiteY37" fmla="*/ 120890 h 607710"/>
              <a:gd name="connsiteX38" fmla="*/ 456904 w 503090"/>
              <a:gd name="connsiteY38" fmla="*/ 121443 h 607710"/>
              <a:gd name="connsiteX39" fmla="*/ 456074 w 503090"/>
              <a:gd name="connsiteY39" fmla="*/ 121351 h 607710"/>
              <a:gd name="connsiteX40" fmla="*/ 421895 w 503090"/>
              <a:gd name="connsiteY40" fmla="*/ 113699 h 607710"/>
              <a:gd name="connsiteX41" fmla="*/ 419132 w 503090"/>
              <a:gd name="connsiteY41" fmla="*/ 109274 h 607710"/>
              <a:gd name="connsiteX42" fmla="*/ 423462 w 503090"/>
              <a:gd name="connsiteY42" fmla="*/ 90098 h 607710"/>
              <a:gd name="connsiteX43" fmla="*/ 427054 w 503090"/>
              <a:gd name="connsiteY43" fmla="*/ 87148 h 607710"/>
              <a:gd name="connsiteX44" fmla="*/ 39020 w 503090"/>
              <a:gd name="connsiteY44" fmla="*/ 50484 h 607710"/>
              <a:gd name="connsiteX45" fmla="*/ 57224 w 503090"/>
              <a:gd name="connsiteY45" fmla="*/ 65108 h 607710"/>
              <a:gd name="connsiteX46" fmla="*/ 88655 w 503090"/>
              <a:gd name="connsiteY46" fmla="*/ 122267 h 607710"/>
              <a:gd name="connsiteX47" fmla="*/ 161103 w 503090"/>
              <a:gd name="connsiteY47" fmla="*/ 155404 h 607710"/>
              <a:gd name="connsiteX48" fmla="*/ 253736 w 503090"/>
              <a:gd name="connsiteY48" fmla="*/ 155404 h 607710"/>
              <a:gd name="connsiteX49" fmla="*/ 296136 w 503090"/>
              <a:gd name="connsiteY49" fmla="*/ 177678 h 607710"/>
              <a:gd name="connsiteX50" fmla="*/ 336138 w 503090"/>
              <a:gd name="connsiteY50" fmla="*/ 235850 h 607710"/>
              <a:gd name="connsiteX51" fmla="*/ 369413 w 503090"/>
              <a:gd name="connsiteY51" fmla="*/ 217257 h 607710"/>
              <a:gd name="connsiteX52" fmla="*/ 410890 w 503090"/>
              <a:gd name="connsiteY52" fmla="*/ 228947 h 607710"/>
              <a:gd name="connsiteX53" fmla="*/ 399184 w 503090"/>
              <a:gd name="connsiteY53" fmla="*/ 270367 h 607710"/>
              <a:gd name="connsiteX54" fmla="*/ 341577 w 503090"/>
              <a:gd name="connsiteY54" fmla="*/ 302491 h 607710"/>
              <a:gd name="connsiteX55" fmla="*/ 326737 w 503090"/>
              <a:gd name="connsiteY55" fmla="*/ 306356 h 607710"/>
              <a:gd name="connsiteX56" fmla="*/ 301574 w 503090"/>
              <a:gd name="connsiteY56" fmla="*/ 293194 h 607710"/>
              <a:gd name="connsiteX57" fmla="*/ 283416 w 503090"/>
              <a:gd name="connsiteY57" fmla="*/ 266777 h 607710"/>
              <a:gd name="connsiteX58" fmla="*/ 283416 w 503090"/>
              <a:gd name="connsiteY58" fmla="*/ 576875 h 607710"/>
              <a:gd name="connsiteX59" fmla="*/ 252630 w 503090"/>
              <a:gd name="connsiteY59" fmla="*/ 607710 h 607710"/>
              <a:gd name="connsiteX60" fmla="*/ 221752 w 503090"/>
              <a:gd name="connsiteY60" fmla="*/ 576875 h 607710"/>
              <a:gd name="connsiteX61" fmla="*/ 221752 w 503090"/>
              <a:gd name="connsiteY61" fmla="*/ 392786 h 607710"/>
              <a:gd name="connsiteX62" fmla="*/ 197419 w 503090"/>
              <a:gd name="connsiteY62" fmla="*/ 392786 h 607710"/>
              <a:gd name="connsiteX63" fmla="*/ 197419 w 503090"/>
              <a:gd name="connsiteY63" fmla="*/ 576875 h 607710"/>
              <a:gd name="connsiteX64" fmla="*/ 166541 w 503090"/>
              <a:gd name="connsiteY64" fmla="*/ 607710 h 607710"/>
              <a:gd name="connsiteX65" fmla="*/ 135663 w 503090"/>
              <a:gd name="connsiteY65" fmla="*/ 576875 h 607710"/>
              <a:gd name="connsiteX66" fmla="*/ 135663 w 503090"/>
              <a:gd name="connsiteY66" fmla="*/ 210722 h 607710"/>
              <a:gd name="connsiteX67" fmla="*/ 53998 w 503090"/>
              <a:gd name="connsiteY67" fmla="*/ 173352 h 607710"/>
              <a:gd name="connsiteX68" fmla="*/ 39988 w 503090"/>
              <a:gd name="connsiteY68" fmla="*/ 160374 h 607710"/>
              <a:gd name="connsiteX69" fmla="*/ 3764 w 503090"/>
              <a:gd name="connsiteY69" fmla="*/ 94378 h 607710"/>
              <a:gd name="connsiteX70" fmla="*/ 15839 w 503090"/>
              <a:gd name="connsiteY70" fmla="*/ 53050 h 607710"/>
              <a:gd name="connsiteX71" fmla="*/ 39020 w 503090"/>
              <a:gd name="connsiteY71" fmla="*/ 50484 h 607710"/>
              <a:gd name="connsiteX72" fmla="*/ 209572 w 503090"/>
              <a:gd name="connsiteY72" fmla="*/ 0 h 607710"/>
              <a:gd name="connsiteX73" fmla="*/ 276715 w 503090"/>
              <a:gd name="connsiteY73" fmla="*/ 67073 h 607710"/>
              <a:gd name="connsiteX74" fmla="*/ 209572 w 503090"/>
              <a:gd name="connsiteY74" fmla="*/ 134146 h 607710"/>
              <a:gd name="connsiteX75" fmla="*/ 142429 w 503090"/>
              <a:gd name="connsiteY75" fmla="*/ 67073 h 607710"/>
              <a:gd name="connsiteX76" fmla="*/ 209572 w 503090"/>
              <a:gd name="connsiteY76" fmla="*/ 0 h 607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503090" h="607710">
                <a:moveTo>
                  <a:pt x="404210" y="172161"/>
                </a:moveTo>
                <a:cubicBezTo>
                  <a:pt x="401352" y="171517"/>
                  <a:pt x="398770" y="173266"/>
                  <a:pt x="398125" y="175935"/>
                </a:cubicBezTo>
                <a:cubicBezTo>
                  <a:pt x="397479" y="178696"/>
                  <a:pt x="399231" y="181458"/>
                  <a:pt x="401997" y="182010"/>
                </a:cubicBezTo>
                <a:lnTo>
                  <a:pt x="444964" y="191675"/>
                </a:lnTo>
                <a:cubicBezTo>
                  <a:pt x="445332" y="191767"/>
                  <a:pt x="445701" y="191767"/>
                  <a:pt x="446070" y="191767"/>
                </a:cubicBezTo>
                <a:cubicBezTo>
                  <a:pt x="448375" y="191767"/>
                  <a:pt x="450496" y="190202"/>
                  <a:pt x="451049" y="187809"/>
                </a:cubicBezTo>
                <a:cubicBezTo>
                  <a:pt x="451602" y="185139"/>
                  <a:pt x="449943" y="182378"/>
                  <a:pt x="447177" y="181734"/>
                </a:cubicBezTo>
                <a:close/>
                <a:moveTo>
                  <a:pt x="394252" y="138289"/>
                </a:moveTo>
                <a:cubicBezTo>
                  <a:pt x="391394" y="137644"/>
                  <a:pt x="388812" y="139393"/>
                  <a:pt x="388167" y="142155"/>
                </a:cubicBezTo>
                <a:cubicBezTo>
                  <a:pt x="387522" y="144824"/>
                  <a:pt x="389273" y="147585"/>
                  <a:pt x="392039" y="148137"/>
                </a:cubicBezTo>
                <a:lnTo>
                  <a:pt x="468475" y="165350"/>
                </a:lnTo>
                <a:cubicBezTo>
                  <a:pt x="468844" y="165442"/>
                  <a:pt x="469213" y="165442"/>
                  <a:pt x="469582" y="165442"/>
                </a:cubicBezTo>
                <a:cubicBezTo>
                  <a:pt x="471887" y="165442"/>
                  <a:pt x="474007" y="163877"/>
                  <a:pt x="474561" y="161484"/>
                </a:cubicBezTo>
                <a:cubicBezTo>
                  <a:pt x="475114" y="158723"/>
                  <a:pt x="473454" y="156053"/>
                  <a:pt x="470688" y="155409"/>
                </a:cubicBezTo>
                <a:close/>
                <a:moveTo>
                  <a:pt x="388997" y="97697"/>
                </a:moveTo>
                <a:lnTo>
                  <a:pt x="410296" y="102483"/>
                </a:lnTo>
                <a:lnTo>
                  <a:pt x="409281" y="107086"/>
                </a:lnTo>
                <a:cubicBezTo>
                  <a:pt x="407622" y="114541"/>
                  <a:pt x="412324" y="121905"/>
                  <a:pt x="419700" y="123654"/>
                </a:cubicBezTo>
                <a:cubicBezTo>
                  <a:pt x="419700" y="123654"/>
                  <a:pt x="443120" y="129084"/>
                  <a:pt x="452616" y="131017"/>
                </a:cubicBezTo>
                <a:cubicBezTo>
                  <a:pt x="465433" y="133594"/>
                  <a:pt x="469674" y="124298"/>
                  <a:pt x="470411" y="120708"/>
                </a:cubicBezTo>
                <a:lnTo>
                  <a:pt x="471426" y="116106"/>
                </a:lnTo>
                <a:lnTo>
                  <a:pt x="492817" y="120892"/>
                </a:lnTo>
                <a:cubicBezTo>
                  <a:pt x="496228" y="121721"/>
                  <a:pt x="499179" y="123746"/>
                  <a:pt x="501115" y="126691"/>
                </a:cubicBezTo>
                <a:cubicBezTo>
                  <a:pt x="502959" y="129636"/>
                  <a:pt x="503512" y="133226"/>
                  <a:pt x="502774" y="136632"/>
                </a:cubicBezTo>
                <a:lnTo>
                  <a:pt x="469213" y="285929"/>
                </a:lnTo>
                <a:cubicBezTo>
                  <a:pt x="467553" y="293016"/>
                  <a:pt x="460546" y="297434"/>
                  <a:pt x="453446" y="295869"/>
                </a:cubicBezTo>
                <a:lnTo>
                  <a:pt x="411494" y="286481"/>
                </a:lnTo>
                <a:cubicBezTo>
                  <a:pt x="434084" y="272122"/>
                  <a:pt x="441921" y="242667"/>
                  <a:pt x="428736" y="219104"/>
                </a:cubicBezTo>
                <a:cubicBezTo>
                  <a:pt x="414998" y="194620"/>
                  <a:pt x="384018" y="185876"/>
                  <a:pt x="359584" y="199498"/>
                </a:cubicBezTo>
                <a:lnTo>
                  <a:pt x="351655" y="203917"/>
                </a:lnTo>
                <a:lnTo>
                  <a:pt x="373322" y="107546"/>
                </a:lnTo>
                <a:cubicBezTo>
                  <a:pt x="374890" y="100550"/>
                  <a:pt x="381897" y="96040"/>
                  <a:pt x="388997" y="97697"/>
                </a:cubicBezTo>
                <a:close/>
                <a:moveTo>
                  <a:pt x="427054" y="87148"/>
                </a:moveTo>
                <a:cubicBezTo>
                  <a:pt x="427331" y="87148"/>
                  <a:pt x="427607" y="87240"/>
                  <a:pt x="427884" y="87240"/>
                </a:cubicBezTo>
                <a:lnTo>
                  <a:pt x="461971" y="94892"/>
                </a:lnTo>
                <a:cubicBezTo>
                  <a:pt x="463997" y="95353"/>
                  <a:pt x="465195" y="97381"/>
                  <a:pt x="464827" y="99317"/>
                </a:cubicBezTo>
                <a:lnTo>
                  <a:pt x="460404" y="118585"/>
                </a:lnTo>
                <a:cubicBezTo>
                  <a:pt x="460220" y="119599"/>
                  <a:pt x="459667" y="120429"/>
                  <a:pt x="458838" y="120890"/>
                </a:cubicBezTo>
                <a:cubicBezTo>
                  <a:pt x="458286" y="121259"/>
                  <a:pt x="457549" y="121443"/>
                  <a:pt x="456904" y="121443"/>
                </a:cubicBezTo>
                <a:cubicBezTo>
                  <a:pt x="456627" y="121443"/>
                  <a:pt x="456351" y="121443"/>
                  <a:pt x="456074" y="121351"/>
                </a:cubicBezTo>
                <a:lnTo>
                  <a:pt x="421895" y="113699"/>
                </a:lnTo>
                <a:cubicBezTo>
                  <a:pt x="419961" y="113238"/>
                  <a:pt x="418763" y="111302"/>
                  <a:pt x="419132" y="109274"/>
                </a:cubicBezTo>
                <a:lnTo>
                  <a:pt x="423462" y="90098"/>
                </a:lnTo>
                <a:cubicBezTo>
                  <a:pt x="423922" y="88347"/>
                  <a:pt x="425396" y="87148"/>
                  <a:pt x="427054" y="87148"/>
                </a:cubicBezTo>
                <a:close/>
                <a:moveTo>
                  <a:pt x="39020" y="50484"/>
                </a:moveTo>
                <a:cubicBezTo>
                  <a:pt x="46509" y="52659"/>
                  <a:pt x="53169" y="57698"/>
                  <a:pt x="57224" y="65108"/>
                </a:cubicBezTo>
                <a:lnTo>
                  <a:pt x="88655" y="122267"/>
                </a:lnTo>
                <a:lnTo>
                  <a:pt x="161103" y="155404"/>
                </a:lnTo>
                <a:lnTo>
                  <a:pt x="253736" y="155404"/>
                </a:lnTo>
                <a:cubicBezTo>
                  <a:pt x="270696" y="155404"/>
                  <a:pt x="286550" y="163688"/>
                  <a:pt x="296136" y="177678"/>
                </a:cubicBezTo>
                <a:lnTo>
                  <a:pt x="336138" y="235850"/>
                </a:lnTo>
                <a:lnTo>
                  <a:pt x="369413" y="217257"/>
                </a:lnTo>
                <a:cubicBezTo>
                  <a:pt x="384160" y="209065"/>
                  <a:pt x="402687" y="214312"/>
                  <a:pt x="410890" y="228947"/>
                </a:cubicBezTo>
                <a:cubicBezTo>
                  <a:pt x="419186" y="243674"/>
                  <a:pt x="413840" y="262175"/>
                  <a:pt x="399184" y="270367"/>
                </a:cubicBezTo>
                <a:lnTo>
                  <a:pt x="341577" y="302491"/>
                </a:lnTo>
                <a:cubicBezTo>
                  <a:pt x="336876" y="305160"/>
                  <a:pt x="331806" y="306356"/>
                  <a:pt x="326737" y="306356"/>
                </a:cubicBezTo>
                <a:cubicBezTo>
                  <a:pt x="316967" y="306356"/>
                  <a:pt x="307473" y="301754"/>
                  <a:pt x="301574" y="293194"/>
                </a:cubicBezTo>
                <a:lnTo>
                  <a:pt x="283416" y="266777"/>
                </a:lnTo>
                <a:lnTo>
                  <a:pt x="283416" y="576875"/>
                </a:lnTo>
                <a:cubicBezTo>
                  <a:pt x="283416" y="593903"/>
                  <a:pt x="269590" y="607710"/>
                  <a:pt x="252630" y="607710"/>
                </a:cubicBezTo>
                <a:cubicBezTo>
                  <a:pt x="235578" y="607710"/>
                  <a:pt x="221752" y="593903"/>
                  <a:pt x="221752" y="576875"/>
                </a:cubicBezTo>
                <a:lnTo>
                  <a:pt x="221752" y="392786"/>
                </a:lnTo>
                <a:lnTo>
                  <a:pt x="197419" y="392786"/>
                </a:lnTo>
                <a:lnTo>
                  <a:pt x="197419" y="576875"/>
                </a:lnTo>
                <a:cubicBezTo>
                  <a:pt x="197419" y="593903"/>
                  <a:pt x="183593" y="607710"/>
                  <a:pt x="166541" y="607710"/>
                </a:cubicBezTo>
                <a:cubicBezTo>
                  <a:pt x="149489" y="607710"/>
                  <a:pt x="135663" y="593903"/>
                  <a:pt x="135663" y="576875"/>
                </a:cubicBezTo>
                <a:lnTo>
                  <a:pt x="135663" y="210722"/>
                </a:lnTo>
                <a:lnTo>
                  <a:pt x="53998" y="173352"/>
                </a:lnTo>
                <a:cubicBezTo>
                  <a:pt x="48099" y="170683"/>
                  <a:pt x="43122" y="166081"/>
                  <a:pt x="39988" y="160374"/>
                </a:cubicBezTo>
                <a:lnTo>
                  <a:pt x="3764" y="94378"/>
                </a:lnTo>
                <a:cubicBezTo>
                  <a:pt x="-4347" y="79651"/>
                  <a:pt x="1091" y="61150"/>
                  <a:pt x="15839" y="53050"/>
                </a:cubicBezTo>
                <a:cubicBezTo>
                  <a:pt x="23213" y="49000"/>
                  <a:pt x="31531" y="48310"/>
                  <a:pt x="39020" y="50484"/>
                </a:cubicBezTo>
                <a:close/>
                <a:moveTo>
                  <a:pt x="209572" y="0"/>
                </a:moveTo>
                <a:cubicBezTo>
                  <a:pt x="246654" y="0"/>
                  <a:pt x="276715" y="30030"/>
                  <a:pt x="276715" y="67073"/>
                </a:cubicBezTo>
                <a:cubicBezTo>
                  <a:pt x="276715" y="104116"/>
                  <a:pt x="246654" y="134146"/>
                  <a:pt x="209572" y="134146"/>
                </a:cubicBezTo>
                <a:cubicBezTo>
                  <a:pt x="172490" y="134146"/>
                  <a:pt x="142429" y="104116"/>
                  <a:pt x="142429" y="67073"/>
                </a:cubicBezTo>
                <a:cubicBezTo>
                  <a:pt x="142429" y="30030"/>
                  <a:pt x="172490" y="0"/>
                  <a:pt x="209572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3" name="文本框 2"/>
          <p:cNvSpPr txBox="1"/>
          <p:nvPr/>
        </p:nvSpPr>
        <p:spPr>
          <a:xfrm>
            <a:off x="591820" y="2865120"/>
            <a:ext cx="1033145" cy="277495"/>
          </a:xfrm>
          <a:prstGeom prst="rect">
            <a:avLst/>
          </a:prstGeom>
        </p:spPr>
        <p:txBody>
          <a:bodyPr vert="horz" wrap="square" lIns="91440" tIns="45720" rIns="91440" bIns="45720" rtlCol="0"/>
          <a:p>
            <a:pPr marL="106045" indent="0" algn="ctr">
              <a:buFont typeface="Arial" panose="020B0604020202090204" pitchFamily="34" charset="0"/>
              <a:buNone/>
            </a:pPr>
            <a:r>
              <a:rPr lang="zh-CN" altLang="en-US" sz="1200" dirty="0" smtClean="0"/>
              <a:t>场景</a:t>
            </a:r>
            <a:endParaRPr lang="en-US" altLang="zh-CN" sz="1200" dirty="0" smtClean="0"/>
          </a:p>
          <a:p>
            <a:pPr marL="106045" indent="0" algn="ctr">
              <a:buFont typeface="Arial" panose="020B0604020202090204" pitchFamily="34" charset="0"/>
              <a:buNone/>
            </a:pPr>
            <a:r>
              <a:rPr lang="zh-CN" altLang="en-US" sz="1200" dirty="0" smtClean="0"/>
              <a:t>业务请求</a:t>
            </a:r>
            <a:endParaRPr lang="zh-CN" altLang="en-US" sz="1200" dirty="0" smtClean="0"/>
          </a:p>
        </p:txBody>
      </p:sp>
      <p:sp>
        <p:nvSpPr>
          <p:cNvPr id="7" name="矩形 6"/>
          <p:cNvSpPr/>
          <p:nvPr/>
        </p:nvSpPr>
        <p:spPr>
          <a:xfrm>
            <a:off x="2266950" y="1780540"/>
            <a:ext cx="949325" cy="2692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rtlCol="0" anchor="t" anchorCtr="0" compatLnSpc="1"/>
          <a:p>
            <a:pPr algn="ctr"/>
            <a:r>
              <a:rPr lang="zh-CN" altLang="en-US" sz="120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专家规则</a:t>
            </a:r>
            <a:r>
              <a:rPr lang="en-US" altLang="zh-CN" sz="120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1</a:t>
            </a:r>
            <a:endParaRPr lang="en-US" altLang="zh-CN" sz="120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2266950" y="2191385"/>
            <a:ext cx="949325" cy="2692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rtlCol="0" anchor="t" anchorCtr="0" compatLnSpc="1"/>
          <a:p>
            <a:pPr algn="ctr"/>
            <a:r>
              <a:rPr lang="zh-CN" altLang="en-US" sz="120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专家规则</a:t>
            </a:r>
            <a:r>
              <a:rPr lang="en-US" altLang="zh-CN" sz="120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2</a:t>
            </a:r>
            <a:endParaRPr lang="en-US" altLang="zh-CN" sz="120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2266950" y="2602230"/>
            <a:ext cx="949325" cy="2692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rtlCol="0" anchor="t" anchorCtr="0" compatLnSpc="1"/>
          <a:p>
            <a:pPr algn="ctr"/>
            <a:r>
              <a:rPr lang="en-US" altLang="zh-CN" sz="120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...</a:t>
            </a:r>
            <a:endParaRPr lang="en-US" altLang="zh-CN" sz="120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2266950" y="3013075"/>
            <a:ext cx="949325" cy="2692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rtlCol="0" anchor="t" anchorCtr="0" compatLnSpc="1"/>
          <a:p>
            <a:pPr algn="ctr"/>
            <a:r>
              <a:rPr lang="zh-CN" altLang="en-US" sz="120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专家规则</a:t>
            </a:r>
            <a:r>
              <a:rPr lang="en-US" altLang="zh-CN" sz="120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n</a:t>
            </a:r>
            <a:endParaRPr lang="en-US" altLang="zh-CN" sz="120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3972560" y="2380615"/>
            <a:ext cx="949325" cy="2692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rtlCol="0" anchor="t" anchorCtr="0" compatLnSpc="1"/>
          <a:p>
            <a:pPr algn="ctr"/>
            <a:r>
              <a:rPr lang="zh-CN" altLang="en-US" sz="120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风险决策</a:t>
            </a:r>
            <a:endParaRPr lang="zh-CN" altLang="en-US" sz="120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2173605" y="1703070"/>
            <a:ext cx="1131570" cy="1677670"/>
          </a:xfrm>
          <a:prstGeom prst="rect">
            <a:avLst/>
          </a:prstGeom>
          <a:noFill/>
          <a:ln w="0">
            <a:solidFill>
              <a:schemeClr val="bg1">
                <a:lumMod val="65000"/>
              </a:schemeClr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lumMod val="40000"/>
                    <a:lumOff val="60000"/>
                  </a:schemeClr>
                </a:solidFill>
              </a14:hiddenFill>
            </a:ext>
          </a:extLst>
        </p:spPr>
        <p:txBody>
          <a:bodyPr vert="horz" wrap="square" lIns="91440" tIns="45720" rIns="91440" bIns="45720" numCol="1" rtlCol="0" anchor="t" anchorCtr="0" compatLnSpc="1"/>
          <a:p>
            <a:endParaRPr lang="zh-CN" altLang="en-US"/>
          </a:p>
        </p:txBody>
      </p:sp>
      <p:cxnSp>
        <p:nvCxnSpPr>
          <p:cNvPr id="14" name="直接箭头连接符 13"/>
          <p:cNvCxnSpPr/>
          <p:nvPr/>
        </p:nvCxnSpPr>
        <p:spPr>
          <a:xfrm>
            <a:off x="1588770" y="2541905"/>
            <a:ext cx="345440" cy="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接箭头连接符 14"/>
          <p:cNvCxnSpPr/>
          <p:nvPr/>
        </p:nvCxnSpPr>
        <p:spPr>
          <a:xfrm>
            <a:off x="3385185" y="2541905"/>
            <a:ext cx="345440" cy="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sync-symbol_73424"/>
          <p:cNvSpPr>
            <a:spLocks noChangeAspect="1"/>
          </p:cNvSpPr>
          <p:nvPr/>
        </p:nvSpPr>
        <p:spPr bwMode="auto">
          <a:xfrm>
            <a:off x="7249734" y="2165012"/>
            <a:ext cx="504724" cy="609685"/>
          </a:xfrm>
          <a:custGeom>
            <a:avLst/>
            <a:gdLst>
              <a:gd name="connsiteX0" fmla="*/ 404210 w 503090"/>
              <a:gd name="connsiteY0" fmla="*/ 172161 h 607710"/>
              <a:gd name="connsiteX1" fmla="*/ 398125 w 503090"/>
              <a:gd name="connsiteY1" fmla="*/ 175935 h 607710"/>
              <a:gd name="connsiteX2" fmla="*/ 401997 w 503090"/>
              <a:gd name="connsiteY2" fmla="*/ 182010 h 607710"/>
              <a:gd name="connsiteX3" fmla="*/ 444964 w 503090"/>
              <a:gd name="connsiteY3" fmla="*/ 191675 h 607710"/>
              <a:gd name="connsiteX4" fmla="*/ 446070 w 503090"/>
              <a:gd name="connsiteY4" fmla="*/ 191767 h 607710"/>
              <a:gd name="connsiteX5" fmla="*/ 451049 w 503090"/>
              <a:gd name="connsiteY5" fmla="*/ 187809 h 607710"/>
              <a:gd name="connsiteX6" fmla="*/ 447177 w 503090"/>
              <a:gd name="connsiteY6" fmla="*/ 181734 h 607710"/>
              <a:gd name="connsiteX7" fmla="*/ 394252 w 503090"/>
              <a:gd name="connsiteY7" fmla="*/ 138289 h 607710"/>
              <a:gd name="connsiteX8" fmla="*/ 388167 w 503090"/>
              <a:gd name="connsiteY8" fmla="*/ 142155 h 607710"/>
              <a:gd name="connsiteX9" fmla="*/ 392039 w 503090"/>
              <a:gd name="connsiteY9" fmla="*/ 148137 h 607710"/>
              <a:gd name="connsiteX10" fmla="*/ 468475 w 503090"/>
              <a:gd name="connsiteY10" fmla="*/ 165350 h 607710"/>
              <a:gd name="connsiteX11" fmla="*/ 469582 w 503090"/>
              <a:gd name="connsiteY11" fmla="*/ 165442 h 607710"/>
              <a:gd name="connsiteX12" fmla="*/ 474561 w 503090"/>
              <a:gd name="connsiteY12" fmla="*/ 161484 h 607710"/>
              <a:gd name="connsiteX13" fmla="*/ 470688 w 503090"/>
              <a:gd name="connsiteY13" fmla="*/ 155409 h 607710"/>
              <a:gd name="connsiteX14" fmla="*/ 388997 w 503090"/>
              <a:gd name="connsiteY14" fmla="*/ 97697 h 607710"/>
              <a:gd name="connsiteX15" fmla="*/ 410296 w 503090"/>
              <a:gd name="connsiteY15" fmla="*/ 102483 h 607710"/>
              <a:gd name="connsiteX16" fmla="*/ 409281 w 503090"/>
              <a:gd name="connsiteY16" fmla="*/ 107086 h 607710"/>
              <a:gd name="connsiteX17" fmla="*/ 419700 w 503090"/>
              <a:gd name="connsiteY17" fmla="*/ 123654 h 607710"/>
              <a:gd name="connsiteX18" fmla="*/ 452616 w 503090"/>
              <a:gd name="connsiteY18" fmla="*/ 131017 h 607710"/>
              <a:gd name="connsiteX19" fmla="*/ 470411 w 503090"/>
              <a:gd name="connsiteY19" fmla="*/ 120708 h 607710"/>
              <a:gd name="connsiteX20" fmla="*/ 471426 w 503090"/>
              <a:gd name="connsiteY20" fmla="*/ 116106 h 607710"/>
              <a:gd name="connsiteX21" fmla="*/ 492817 w 503090"/>
              <a:gd name="connsiteY21" fmla="*/ 120892 h 607710"/>
              <a:gd name="connsiteX22" fmla="*/ 501115 w 503090"/>
              <a:gd name="connsiteY22" fmla="*/ 126691 h 607710"/>
              <a:gd name="connsiteX23" fmla="*/ 502774 w 503090"/>
              <a:gd name="connsiteY23" fmla="*/ 136632 h 607710"/>
              <a:gd name="connsiteX24" fmla="*/ 469213 w 503090"/>
              <a:gd name="connsiteY24" fmla="*/ 285929 h 607710"/>
              <a:gd name="connsiteX25" fmla="*/ 453446 w 503090"/>
              <a:gd name="connsiteY25" fmla="*/ 295869 h 607710"/>
              <a:gd name="connsiteX26" fmla="*/ 411494 w 503090"/>
              <a:gd name="connsiteY26" fmla="*/ 286481 h 607710"/>
              <a:gd name="connsiteX27" fmla="*/ 428736 w 503090"/>
              <a:gd name="connsiteY27" fmla="*/ 219104 h 607710"/>
              <a:gd name="connsiteX28" fmla="*/ 359584 w 503090"/>
              <a:gd name="connsiteY28" fmla="*/ 199498 h 607710"/>
              <a:gd name="connsiteX29" fmla="*/ 351655 w 503090"/>
              <a:gd name="connsiteY29" fmla="*/ 203917 h 607710"/>
              <a:gd name="connsiteX30" fmla="*/ 373322 w 503090"/>
              <a:gd name="connsiteY30" fmla="*/ 107546 h 607710"/>
              <a:gd name="connsiteX31" fmla="*/ 388997 w 503090"/>
              <a:gd name="connsiteY31" fmla="*/ 97697 h 607710"/>
              <a:gd name="connsiteX32" fmla="*/ 427054 w 503090"/>
              <a:gd name="connsiteY32" fmla="*/ 87148 h 607710"/>
              <a:gd name="connsiteX33" fmla="*/ 427884 w 503090"/>
              <a:gd name="connsiteY33" fmla="*/ 87240 h 607710"/>
              <a:gd name="connsiteX34" fmla="*/ 461971 w 503090"/>
              <a:gd name="connsiteY34" fmla="*/ 94892 h 607710"/>
              <a:gd name="connsiteX35" fmla="*/ 464827 w 503090"/>
              <a:gd name="connsiteY35" fmla="*/ 99317 h 607710"/>
              <a:gd name="connsiteX36" fmla="*/ 460404 w 503090"/>
              <a:gd name="connsiteY36" fmla="*/ 118585 h 607710"/>
              <a:gd name="connsiteX37" fmla="*/ 458838 w 503090"/>
              <a:gd name="connsiteY37" fmla="*/ 120890 h 607710"/>
              <a:gd name="connsiteX38" fmla="*/ 456904 w 503090"/>
              <a:gd name="connsiteY38" fmla="*/ 121443 h 607710"/>
              <a:gd name="connsiteX39" fmla="*/ 456074 w 503090"/>
              <a:gd name="connsiteY39" fmla="*/ 121351 h 607710"/>
              <a:gd name="connsiteX40" fmla="*/ 421895 w 503090"/>
              <a:gd name="connsiteY40" fmla="*/ 113699 h 607710"/>
              <a:gd name="connsiteX41" fmla="*/ 419132 w 503090"/>
              <a:gd name="connsiteY41" fmla="*/ 109274 h 607710"/>
              <a:gd name="connsiteX42" fmla="*/ 423462 w 503090"/>
              <a:gd name="connsiteY42" fmla="*/ 90098 h 607710"/>
              <a:gd name="connsiteX43" fmla="*/ 427054 w 503090"/>
              <a:gd name="connsiteY43" fmla="*/ 87148 h 607710"/>
              <a:gd name="connsiteX44" fmla="*/ 39020 w 503090"/>
              <a:gd name="connsiteY44" fmla="*/ 50484 h 607710"/>
              <a:gd name="connsiteX45" fmla="*/ 57224 w 503090"/>
              <a:gd name="connsiteY45" fmla="*/ 65108 h 607710"/>
              <a:gd name="connsiteX46" fmla="*/ 88655 w 503090"/>
              <a:gd name="connsiteY46" fmla="*/ 122267 h 607710"/>
              <a:gd name="connsiteX47" fmla="*/ 161103 w 503090"/>
              <a:gd name="connsiteY47" fmla="*/ 155404 h 607710"/>
              <a:gd name="connsiteX48" fmla="*/ 253736 w 503090"/>
              <a:gd name="connsiteY48" fmla="*/ 155404 h 607710"/>
              <a:gd name="connsiteX49" fmla="*/ 296136 w 503090"/>
              <a:gd name="connsiteY49" fmla="*/ 177678 h 607710"/>
              <a:gd name="connsiteX50" fmla="*/ 336138 w 503090"/>
              <a:gd name="connsiteY50" fmla="*/ 235850 h 607710"/>
              <a:gd name="connsiteX51" fmla="*/ 369413 w 503090"/>
              <a:gd name="connsiteY51" fmla="*/ 217257 h 607710"/>
              <a:gd name="connsiteX52" fmla="*/ 410890 w 503090"/>
              <a:gd name="connsiteY52" fmla="*/ 228947 h 607710"/>
              <a:gd name="connsiteX53" fmla="*/ 399184 w 503090"/>
              <a:gd name="connsiteY53" fmla="*/ 270367 h 607710"/>
              <a:gd name="connsiteX54" fmla="*/ 341577 w 503090"/>
              <a:gd name="connsiteY54" fmla="*/ 302491 h 607710"/>
              <a:gd name="connsiteX55" fmla="*/ 326737 w 503090"/>
              <a:gd name="connsiteY55" fmla="*/ 306356 h 607710"/>
              <a:gd name="connsiteX56" fmla="*/ 301574 w 503090"/>
              <a:gd name="connsiteY56" fmla="*/ 293194 h 607710"/>
              <a:gd name="connsiteX57" fmla="*/ 283416 w 503090"/>
              <a:gd name="connsiteY57" fmla="*/ 266777 h 607710"/>
              <a:gd name="connsiteX58" fmla="*/ 283416 w 503090"/>
              <a:gd name="connsiteY58" fmla="*/ 576875 h 607710"/>
              <a:gd name="connsiteX59" fmla="*/ 252630 w 503090"/>
              <a:gd name="connsiteY59" fmla="*/ 607710 h 607710"/>
              <a:gd name="connsiteX60" fmla="*/ 221752 w 503090"/>
              <a:gd name="connsiteY60" fmla="*/ 576875 h 607710"/>
              <a:gd name="connsiteX61" fmla="*/ 221752 w 503090"/>
              <a:gd name="connsiteY61" fmla="*/ 392786 h 607710"/>
              <a:gd name="connsiteX62" fmla="*/ 197419 w 503090"/>
              <a:gd name="connsiteY62" fmla="*/ 392786 h 607710"/>
              <a:gd name="connsiteX63" fmla="*/ 197419 w 503090"/>
              <a:gd name="connsiteY63" fmla="*/ 576875 h 607710"/>
              <a:gd name="connsiteX64" fmla="*/ 166541 w 503090"/>
              <a:gd name="connsiteY64" fmla="*/ 607710 h 607710"/>
              <a:gd name="connsiteX65" fmla="*/ 135663 w 503090"/>
              <a:gd name="connsiteY65" fmla="*/ 576875 h 607710"/>
              <a:gd name="connsiteX66" fmla="*/ 135663 w 503090"/>
              <a:gd name="connsiteY66" fmla="*/ 210722 h 607710"/>
              <a:gd name="connsiteX67" fmla="*/ 53998 w 503090"/>
              <a:gd name="connsiteY67" fmla="*/ 173352 h 607710"/>
              <a:gd name="connsiteX68" fmla="*/ 39988 w 503090"/>
              <a:gd name="connsiteY68" fmla="*/ 160374 h 607710"/>
              <a:gd name="connsiteX69" fmla="*/ 3764 w 503090"/>
              <a:gd name="connsiteY69" fmla="*/ 94378 h 607710"/>
              <a:gd name="connsiteX70" fmla="*/ 15839 w 503090"/>
              <a:gd name="connsiteY70" fmla="*/ 53050 h 607710"/>
              <a:gd name="connsiteX71" fmla="*/ 39020 w 503090"/>
              <a:gd name="connsiteY71" fmla="*/ 50484 h 607710"/>
              <a:gd name="connsiteX72" fmla="*/ 209572 w 503090"/>
              <a:gd name="connsiteY72" fmla="*/ 0 h 607710"/>
              <a:gd name="connsiteX73" fmla="*/ 276715 w 503090"/>
              <a:gd name="connsiteY73" fmla="*/ 67073 h 607710"/>
              <a:gd name="connsiteX74" fmla="*/ 209572 w 503090"/>
              <a:gd name="connsiteY74" fmla="*/ 134146 h 607710"/>
              <a:gd name="connsiteX75" fmla="*/ 142429 w 503090"/>
              <a:gd name="connsiteY75" fmla="*/ 67073 h 607710"/>
              <a:gd name="connsiteX76" fmla="*/ 209572 w 503090"/>
              <a:gd name="connsiteY76" fmla="*/ 0 h 607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503090" h="607710">
                <a:moveTo>
                  <a:pt x="404210" y="172161"/>
                </a:moveTo>
                <a:cubicBezTo>
                  <a:pt x="401352" y="171517"/>
                  <a:pt x="398770" y="173266"/>
                  <a:pt x="398125" y="175935"/>
                </a:cubicBezTo>
                <a:cubicBezTo>
                  <a:pt x="397479" y="178696"/>
                  <a:pt x="399231" y="181458"/>
                  <a:pt x="401997" y="182010"/>
                </a:cubicBezTo>
                <a:lnTo>
                  <a:pt x="444964" y="191675"/>
                </a:lnTo>
                <a:cubicBezTo>
                  <a:pt x="445332" y="191767"/>
                  <a:pt x="445701" y="191767"/>
                  <a:pt x="446070" y="191767"/>
                </a:cubicBezTo>
                <a:cubicBezTo>
                  <a:pt x="448375" y="191767"/>
                  <a:pt x="450496" y="190202"/>
                  <a:pt x="451049" y="187809"/>
                </a:cubicBezTo>
                <a:cubicBezTo>
                  <a:pt x="451602" y="185139"/>
                  <a:pt x="449943" y="182378"/>
                  <a:pt x="447177" y="181734"/>
                </a:cubicBezTo>
                <a:close/>
                <a:moveTo>
                  <a:pt x="394252" y="138289"/>
                </a:moveTo>
                <a:cubicBezTo>
                  <a:pt x="391394" y="137644"/>
                  <a:pt x="388812" y="139393"/>
                  <a:pt x="388167" y="142155"/>
                </a:cubicBezTo>
                <a:cubicBezTo>
                  <a:pt x="387522" y="144824"/>
                  <a:pt x="389273" y="147585"/>
                  <a:pt x="392039" y="148137"/>
                </a:cubicBezTo>
                <a:lnTo>
                  <a:pt x="468475" y="165350"/>
                </a:lnTo>
                <a:cubicBezTo>
                  <a:pt x="468844" y="165442"/>
                  <a:pt x="469213" y="165442"/>
                  <a:pt x="469582" y="165442"/>
                </a:cubicBezTo>
                <a:cubicBezTo>
                  <a:pt x="471887" y="165442"/>
                  <a:pt x="474007" y="163877"/>
                  <a:pt x="474561" y="161484"/>
                </a:cubicBezTo>
                <a:cubicBezTo>
                  <a:pt x="475114" y="158723"/>
                  <a:pt x="473454" y="156053"/>
                  <a:pt x="470688" y="155409"/>
                </a:cubicBezTo>
                <a:close/>
                <a:moveTo>
                  <a:pt x="388997" y="97697"/>
                </a:moveTo>
                <a:lnTo>
                  <a:pt x="410296" y="102483"/>
                </a:lnTo>
                <a:lnTo>
                  <a:pt x="409281" y="107086"/>
                </a:lnTo>
                <a:cubicBezTo>
                  <a:pt x="407622" y="114541"/>
                  <a:pt x="412324" y="121905"/>
                  <a:pt x="419700" y="123654"/>
                </a:cubicBezTo>
                <a:cubicBezTo>
                  <a:pt x="419700" y="123654"/>
                  <a:pt x="443120" y="129084"/>
                  <a:pt x="452616" y="131017"/>
                </a:cubicBezTo>
                <a:cubicBezTo>
                  <a:pt x="465433" y="133594"/>
                  <a:pt x="469674" y="124298"/>
                  <a:pt x="470411" y="120708"/>
                </a:cubicBezTo>
                <a:lnTo>
                  <a:pt x="471426" y="116106"/>
                </a:lnTo>
                <a:lnTo>
                  <a:pt x="492817" y="120892"/>
                </a:lnTo>
                <a:cubicBezTo>
                  <a:pt x="496228" y="121721"/>
                  <a:pt x="499179" y="123746"/>
                  <a:pt x="501115" y="126691"/>
                </a:cubicBezTo>
                <a:cubicBezTo>
                  <a:pt x="502959" y="129636"/>
                  <a:pt x="503512" y="133226"/>
                  <a:pt x="502774" y="136632"/>
                </a:cubicBezTo>
                <a:lnTo>
                  <a:pt x="469213" y="285929"/>
                </a:lnTo>
                <a:cubicBezTo>
                  <a:pt x="467553" y="293016"/>
                  <a:pt x="460546" y="297434"/>
                  <a:pt x="453446" y="295869"/>
                </a:cubicBezTo>
                <a:lnTo>
                  <a:pt x="411494" y="286481"/>
                </a:lnTo>
                <a:cubicBezTo>
                  <a:pt x="434084" y="272122"/>
                  <a:pt x="441921" y="242667"/>
                  <a:pt x="428736" y="219104"/>
                </a:cubicBezTo>
                <a:cubicBezTo>
                  <a:pt x="414998" y="194620"/>
                  <a:pt x="384018" y="185876"/>
                  <a:pt x="359584" y="199498"/>
                </a:cubicBezTo>
                <a:lnTo>
                  <a:pt x="351655" y="203917"/>
                </a:lnTo>
                <a:lnTo>
                  <a:pt x="373322" y="107546"/>
                </a:lnTo>
                <a:cubicBezTo>
                  <a:pt x="374890" y="100550"/>
                  <a:pt x="381897" y="96040"/>
                  <a:pt x="388997" y="97697"/>
                </a:cubicBezTo>
                <a:close/>
                <a:moveTo>
                  <a:pt x="427054" y="87148"/>
                </a:moveTo>
                <a:cubicBezTo>
                  <a:pt x="427331" y="87148"/>
                  <a:pt x="427607" y="87240"/>
                  <a:pt x="427884" y="87240"/>
                </a:cubicBezTo>
                <a:lnTo>
                  <a:pt x="461971" y="94892"/>
                </a:lnTo>
                <a:cubicBezTo>
                  <a:pt x="463997" y="95353"/>
                  <a:pt x="465195" y="97381"/>
                  <a:pt x="464827" y="99317"/>
                </a:cubicBezTo>
                <a:lnTo>
                  <a:pt x="460404" y="118585"/>
                </a:lnTo>
                <a:cubicBezTo>
                  <a:pt x="460220" y="119599"/>
                  <a:pt x="459667" y="120429"/>
                  <a:pt x="458838" y="120890"/>
                </a:cubicBezTo>
                <a:cubicBezTo>
                  <a:pt x="458286" y="121259"/>
                  <a:pt x="457549" y="121443"/>
                  <a:pt x="456904" y="121443"/>
                </a:cubicBezTo>
                <a:cubicBezTo>
                  <a:pt x="456627" y="121443"/>
                  <a:pt x="456351" y="121443"/>
                  <a:pt x="456074" y="121351"/>
                </a:cubicBezTo>
                <a:lnTo>
                  <a:pt x="421895" y="113699"/>
                </a:lnTo>
                <a:cubicBezTo>
                  <a:pt x="419961" y="113238"/>
                  <a:pt x="418763" y="111302"/>
                  <a:pt x="419132" y="109274"/>
                </a:cubicBezTo>
                <a:lnTo>
                  <a:pt x="423462" y="90098"/>
                </a:lnTo>
                <a:cubicBezTo>
                  <a:pt x="423922" y="88347"/>
                  <a:pt x="425396" y="87148"/>
                  <a:pt x="427054" y="87148"/>
                </a:cubicBezTo>
                <a:close/>
                <a:moveTo>
                  <a:pt x="39020" y="50484"/>
                </a:moveTo>
                <a:cubicBezTo>
                  <a:pt x="46509" y="52659"/>
                  <a:pt x="53169" y="57698"/>
                  <a:pt x="57224" y="65108"/>
                </a:cubicBezTo>
                <a:lnTo>
                  <a:pt x="88655" y="122267"/>
                </a:lnTo>
                <a:lnTo>
                  <a:pt x="161103" y="155404"/>
                </a:lnTo>
                <a:lnTo>
                  <a:pt x="253736" y="155404"/>
                </a:lnTo>
                <a:cubicBezTo>
                  <a:pt x="270696" y="155404"/>
                  <a:pt x="286550" y="163688"/>
                  <a:pt x="296136" y="177678"/>
                </a:cubicBezTo>
                <a:lnTo>
                  <a:pt x="336138" y="235850"/>
                </a:lnTo>
                <a:lnTo>
                  <a:pt x="369413" y="217257"/>
                </a:lnTo>
                <a:cubicBezTo>
                  <a:pt x="384160" y="209065"/>
                  <a:pt x="402687" y="214312"/>
                  <a:pt x="410890" y="228947"/>
                </a:cubicBezTo>
                <a:cubicBezTo>
                  <a:pt x="419186" y="243674"/>
                  <a:pt x="413840" y="262175"/>
                  <a:pt x="399184" y="270367"/>
                </a:cubicBezTo>
                <a:lnTo>
                  <a:pt x="341577" y="302491"/>
                </a:lnTo>
                <a:cubicBezTo>
                  <a:pt x="336876" y="305160"/>
                  <a:pt x="331806" y="306356"/>
                  <a:pt x="326737" y="306356"/>
                </a:cubicBezTo>
                <a:cubicBezTo>
                  <a:pt x="316967" y="306356"/>
                  <a:pt x="307473" y="301754"/>
                  <a:pt x="301574" y="293194"/>
                </a:cubicBezTo>
                <a:lnTo>
                  <a:pt x="283416" y="266777"/>
                </a:lnTo>
                <a:lnTo>
                  <a:pt x="283416" y="576875"/>
                </a:lnTo>
                <a:cubicBezTo>
                  <a:pt x="283416" y="593903"/>
                  <a:pt x="269590" y="607710"/>
                  <a:pt x="252630" y="607710"/>
                </a:cubicBezTo>
                <a:cubicBezTo>
                  <a:pt x="235578" y="607710"/>
                  <a:pt x="221752" y="593903"/>
                  <a:pt x="221752" y="576875"/>
                </a:cubicBezTo>
                <a:lnTo>
                  <a:pt x="221752" y="392786"/>
                </a:lnTo>
                <a:lnTo>
                  <a:pt x="197419" y="392786"/>
                </a:lnTo>
                <a:lnTo>
                  <a:pt x="197419" y="576875"/>
                </a:lnTo>
                <a:cubicBezTo>
                  <a:pt x="197419" y="593903"/>
                  <a:pt x="183593" y="607710"/>
                  <a:pt x="166541" y="607710"/>
                </a:cubicBezTo>
                <a:cubicBezTo>
                  <a:pt x="149489" y="607710"/>
                  <a:pt x="135663" y="593903"/>
                  <a:pt x="135663" y="576875"/>
                </a:cubicBezTo>
                <a:lnTo>
                  <a:pt x="135663" y="210722"/>
                </a:lnTo>
                <a:lnTo>
                  <a:pt x="53998" y="173352"/>
                </a:lnTo>
                <a:cubicBezTo>
                  <a:pt x="48099" y="170683"/>
                  <a:pt x="43122" y="166081"/>
                  <a:pt x="39988" y="160374"/>
                </a:cubicBezTo>
                <a:lnTo>
                  <a:pt x="3764" y="94378"/>
                </a:lnTo>
                <a:cubicBezTo>
                  <a:pt x="-4347" y="79651"/>
                  <a:pt x="1091" y="61150"/>
                  <a:pt x="15839" y="53050"/>
                </a:cubicBezTo>
                <a:cubicBezTo>
                  <a:pt x="23213" y="49000"/>
                  <a:pt x="31531" y="48310"/>
                  <a:pt x="39020" y="50484"/>
                </a:cubicBezTo>
                <a:close/>
                <a:moveTo>
                  <a:pt x="209572" y="0"/>
                </a:moveTo>
                <a:cubicBezTo>
                  <a:pt x="246654" y="0"/>
                  <a:pt x="276715" y="30030"/>
                  <a:pt x="276715" y="67073"/>
                </a:cubicBezTo>
                <a:cubicBezTo>
                  <a:pt x="276715" y="104116"/>
                  <a:pt x="246654" y="134146"/>
                  <a:pt x="209572" y="134146"/>
                </a:cubicBezTo>
                <a:cubicBezTo>
                  <a:pt x="172490" y="134146"/>
                  <a:pt x="142429" y="104116"/>
                  <a:pt x="142429" y="67073"/>
                </a:cubicBezTo>
                <a:cubicBezTo>
                  <a:pt x="142429" y="30030"/>
                  <a:pt x="172490" y="0"/>
                  <a:pt x="209572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27" name="文本框 26"/>
          <p:cNvSpPr txBox="1"/>
          <p:nvPr/>
        </p:nvSpPr>
        <p:spPr>
          <a:xfrm>
            <a:off x="6938010" y="2906395"/>
            <a:ext cx="1033145" cy="277495"/>
          </a:xfrm>
          <a:prstGeom prst="rect">
            <a:avLst/>
          </a:prstGeom>
        </p:spPr>
        <p:txBody>
          <a:bodyPr vert="horz" wrap="square" lIns="91440" tIns="45720" rIns="91440" bIns="45720" rtlCol="0"/>
          <a:p>
            <a:pPr marL="106045" indent="0" algn="ctr">
              <a:buFont typeface="Arial" panose="020B0604020202090204" pitchFamily="34" charset="0"/>
              <a:buNone/>
            </a:pPr>
            <a:r>
              <a:rPr lang="zh-CN" altLang="en-US" sz="1200" dirty="0" smtClean="0"/>
              <a:t>场景</a:t>
            </a:r>
            <a:endParaRPr lang="en-US" altLang="zh-CN" sz="1200" dirty="0" smtClean="0"/>
          </a:p>
          <a:p>
            <a:pPr marL="106045" indent="0" algn="ctr">
              <a:buFont typeface="Arial" panose="020B0604020202090204" pitchFamily="34" charset="0"/>
              <a:buNone/>
            </a:pPr>
            <a:r>
              <a:rPr lang="zh-CN" altLang="en-US" sz="1200" dirty="0" smtClean="0"/>
              <a:t>业务请求</a:t>
            </a:r>
            <a:endParaRPr lang="zh-CN" altLang="en-US" sz="1200" dirty="0" smtClean="0"/>
          </a:p>
        </p:txBody>
      </p:sp>
      <p:sp>
        <p:nvSpPr>
          <p:cNvPr id="29" name="矩形 28"/>
          <p:cNvSpPr/>
          <p:nvPr/>
        </p:nvSpPr>
        <p:spPr>
          <a:xfrm>
            <a:off x="8727440" y="2421890"/>
            <a:ext cx="949325" cy="2692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rtlCol="0" anchor="t" anchorCtr="0" compatLnSpc="1"/>
          <a:p>
            <a:pPr algn="ctr"/>
            <a:r>
              <a:rPr lang="zh-CN" sz="120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风控模型</a:t>
            </a:r>
            <a:endParaRPr lang="zh-CN" sz="120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sp>
        <p:nvSpPr>
          <p:cNvPr id="33" name="矩形 32"/>
          <p:cNvSpPr/>
          <p:nvPr/>
        </p:nvSpPr>
        <p:spPr>
          <a:xfrm>
            <a:off x="10318750" y="2421890"/>
            <a:ext cx="949325" cy="2692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rtlCol="0" anchor="t" anchorCtr="0" compatLnSpc="1"/>
          <a:p>
            <a:pPr algn="ctr"/>
            <a:r>
              <a:rPr lang="zh-CN" altLang="en-US" sz="120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风险决策</a:t>
            </a:r>
            <a:endParaRPr lang="zh-CN" altLang="en-US" sz="120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cxnSp>
        <p:nvCxnSpPr>
          <p:cNvPr id="35" name="直接箭头连接符 34"/>
          <p:cNvCxnSpPr/>
          <p:nvPr/>
        </p:nvCxnSpPr>
        <p:spPr>
          <a:xfrm>
            <a:off x="7934960" y="2583180"/>
            <a:ext cx="345440" cy="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直接箭头连接符 35"/>
          <p:cNvCxnSpPr/>
          <p:nvPr/>
        </p:nvCxnSpPr>
        <p:spPr>
          <a:xfrm>
            <a:off x="9731375" y="2583180"/>
            <a:ext cx="345440" cy="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文本框 36"/>
          <p:cNvSpPr txBox="1"/>
          <p:nvPr/>
        </p:nvSpPr>
        <p:spPr>
          <a:xfrm>
            <a:off x="1174750" y="3714750"/>
            <a:ext cx="1033145" cy="277495"/>
          </a:xfrm>
          <a:prstGeom prst="rect">
            <a:avLst/>
          </a:prstGeom>
        </p:spPr>
        <p:txBody>
          <a:bodyPr vert="horz" wrap="square" lIns="91440" tIns="45720" rIns="91440" bIns="45720" rtlCol="0"/>
          <a:p>
            <a:pPr marL="106045" indent="0" algn="ctr">
              <a:buFont typeface="Arial" panose="020B0604020202090204" pitchFamily="34" charset="0"/>
              <a:buNone/>
            </a:pPr>
            <a:r>
              <a:rPr lang="zh-CN" altLang="en-US" sz="1400" dirty="0" smtClean="0"/>
              <a:t>特点：</a:t>
            </a:r>
            <a:endParaRPr lang="zh-CN" altLang="en-US" sz="1400" dirty="0" smtClean="0"/>
          </a:p>
        </p:txBody>
      </p:sp>
      <p:sp>
        <p:nvSpPr>
          <p:cNvPr id="38" name="文本框 37"/>
          <p:cNvSpPr txBox="1"/>
          <p:nvPr/>
        </p:nvSpPr>
        <p:spPr>
          <a:xfrm>
            <a:off x="1073150" y="4174490"/>
            <a:ext cx="4565015" cy="1991360"/>
          </a:xfrm>
          <a:prstGeom prst="rect">
            <a:avLst/>
          </a:prstGeom>
        </p:spPr>
        <p:txBody>
          <a:bodyPr vert="horz" wrap="square" lIns="91440" tIns="45720" rIns="91440" bIns="45720" rtlCol="0"/>
          <a:p>
            <a:pPr marL="391795" indent="-285750" algn="l" fontAlgn="auto">
              <a:lnSpc>
                <a:spcPts val="2300"/>
              </a:lnSpc>
              <a:buFont typeface="Arial" panose="020B0604020202090204" pitchFamily="34" charset="0"/>
              <a:buChar char="•"/>
            </a:pPr>
            <a:r>
              <a:rPr lang="zh-CN" altLang="en-US" sz="1400" b="1" dirty="0" smtClean="0"/>
              <a:t>规则累加</a:t>
            </a:r>
            <a:r>
              <a:rPr lang="zh-CN" altLang="en-US" sz="1400" dirty="0" smtClean="0"/>
              <a:t>：上线简单，但随着时间推移，规则不断累加，形成庞大规则库，</a:t>
            </a:r>
            <a:r>
              <a:rPr lang="zh-CN" altLang="en-US" sz="1400" b="1" dirty="0" smtClean="0">
                <a:solidFill>
                  <a:srgbClr val="F05A23"/>
                </a:solidFill>
              </a:rPr>
              <a:t>维护困难</a:t>
            </a:r>
            <a:endParaRPr lang="zh-CN" altLang="en-US" sz="1400" dirty="0" smtClean="0"/>
          </a:p>
          <a:p>
            <a:pPr marL="391795" indent="-285750" algn="l" fontAlgn="auto">
              <a:lnSpc>
                <a:spcPts val="2300"/>
              </a:lnSpc>
              <a:buFont typeface="Arial" panose="020B0604020202090204" pitchFamily="34" charset="0"/>
              <a:buChar char="•"/>
            </a:pPr>
            <a:r>
              <a:rPr lang="zh-CN" altLang="en-US" sz="1400" b="1" dirty="0" smtClean="0"/>
              <a:t>健壮性差</a:t>
            </a:r>
            <a:r>
              <a:rPr lang="zh-CN" altLang="en-US" sz="1400" dirty="0" smtClean="0"/>
              <a:t>：</a:t>
            </a:r>
            <a:r>
              <a:rPr lang="en-US" altLang="zh-CN" sz="1400" dirty="0" smtClean="0"/>
              <a:t>“</a:t>
            </a:r>
            <a:r>
              <a:rPr lang="zh-CN" altLang="en-US" sz="1400" dirty="0" smtClean="0"/>
              <a:t>坏人</a:t>
            </a:r>
            <a:r>
              <a:rPr lang="en-US" altLang="zh-CN" sz="1400" dirty="0" smtClean="0"/>
              <a:t>”</a:t>
            </a:r>
            <a:r>
              <a:rPr lang="zh-CN" altLang="en-US" sz="1400" dirty="0" smtClean="0"/>
              <a:t>容</a:t>
            </a:r>
            <a:r>
              <a:rPr lang="zh-CN" altLang="en-US" sz="1400" b="1" dirty="0" smtClean="0">
                <a:solidFill>
                  <a:srgbClr val="F05A23"/>
                </a:solidFill>
              </a:rPr>
              <a:t>易绕过</a:t>
            </a:r>
            <a:r>
              <a:rPr lang="zh-CN" altLang="en-US" sz="1400" dirty="0" smtClean="0"/>
              <a:t>规则</a:t>
            </a:r>
            <a:endParaRPr lang="zh-CN" altLang="en-US" sz="1400" dirty="0" smtClean="0"/>
          </a:p>
          <a:p>
            <a:pPr marL="391795" indent="-285750" algn="l" fontAlgn="auto">
              <a:lnSpc>
                <a:spcPts val="2300"/>
              </a:lnSpc>
              <a:buFont typeface="Arial" panose="020B0604020202090204" pitchFamily="34" charset="0"/>
              <a:buChar char="•"/>
            </a:pPr>
            <a:r>
              <a:rPr lang="zh-CN" altLang="en-US" sz="1400" b="1" dirty="0" smtClean="0"/>
              <a:t>相对片面</a:t>
            </a:r>
            <a:r>
              <a:rPr lang="zh-CN" altLang="en-US" sz="1400" dirty="0" smtClean="0"/>
              <a:t>：规则是由若干个条件合成，判断风险相对</a:t>
            </a:r>
            <a:r>
              <a:rPr lang="zh-CN" altLang="en-US" sz="1400" b="1" dirty="0" smtClean="0">
                <a:solidFill>
                  <a:srgbClr val="F05A23"/>
                </a:solidFill>
              </a:rPr>
              <a:t>片面</a:t>
            </a:r>
            <a:endParaRPr lang="zh-CN" altLang="en-US" sz="1400" dirty="0" smtClean="0"/>
          </a:p>
          <a:p>
            <a:pPr marL="391795" indent="-285750" algn="l" fontAlgn="auto">
              <a:lnSpc>
                <a:spcPts val="2300"/>
              </a:lnSpc>
              <a:buFont typeface="Arial" panose="020B0604020202090204" pitchFamily="34" charset="0"/>
              <a:buChar char="•"/>
            </a:pPr>
            <a:r>
              <a:rPr lang="zh-CN" altLang="en-US" sz="1400" b="1" dirty="0" smtClean="0"/>
              <a:t>适应性弱</a:t>
            </a:r>
            <a:r>
              <a:rPr lang="zh-CN" altLang="en-US" sz="1400" dirty="0" smtClean="0"/>
              <a:t>：更新速度</a:t>
            </a:r>
            <a:r>
              <a:rPr lang="zh-CN" altLang="en-US" sz="1400" b="1" dirty="0" smtClean="0">
                <a:solidFill>
                  <a:srgbClr val="F05A23"/>
                </a:solidFill>
              </a:rPr>
              <a:t>慢</a:t>
            </a:r>
            <a:endParaRPr lang="zh-CN" altLang="en-US" sz="1400" b="1" dirty="0" smtClean="0">
              <a:solidFill>
                <a:srgbClr val="F05A23"/>
              </a:solidFill>
            </a:endParaRPr>
          </a:p>
        </p:txBody>
      </p:sp>
      <p:sp>
        <p:nvSpPr>
          <p:cNvPr id="40" name="文本框 39"/>
          <p:cNvSpPr txBox="1"/>
          <p:nvPr/>
        </p:nvSpPr>
        <p:spPr>
          <a:xfrm>
            <a:off x="6871970" y="4225925"/>
            <a:ext cx="4650105" cy="186436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/>
          <a:p>
            <a:pPr marL="391795" indent="-285750" algn="l" fontAlgn="auto">
              <a:lnSpc>
                <a:spcPts val="2300"/>
              </a:lnSpc>
              <a:buFont typeface="Arial" panose="020B0604020202090204" pitchFamily="34" charset="0"/>
              <a:buChar char="•"/>
            </a:pPr>
            <a:r>
              <a:rPr lang="zh-CN" altLang="en-US" sz="1400" b="1" dirty="0" smtClean="0"/>
              <a:t>自动化决策</a:t>
            </a:r>
            <a:r>
              <a:rPr lang="zh-CN" altLang="en-US" sz="1400" dirty="0" smtClean="0"/>
              <a:t>：判断方式更精炼，无需通过一条条规则判断，性能更优；同时无需维护庞大的规则库</a:t>
            </a:r>
            <a:endParaRPr lang="zh-CN" altLang="en-US" sz="1400" dirty="0" smtClean="0"/>
          </a:p>
          <a:p>
            <a:pPr marL="391795" indent="-285750" algn="l" fontAlgn="auto">
              <a:lnSpc>
                <a:spcPts val="2300"/>
              </a:lnSpc>
              <a:buFont typeface="Arial" panose="020B0604020202090204" pitchFamily="34" charset="0"/>
              <a:buChar char="•"/>
            </a:pPr>
            <a:r>
              <a:rPr lang="zh-CN" altLang="en-US" sz="1400" b="1" dirty="0" smtClean="0"/>
              <a:t>模型更健壮</a:t>
            </a:r>
            <a:r>
              <a:rPr lang="zh-CN" altLang="en-US" sz="1400" dirty="0" smtClean="0"/>
              <a:t>：模型的结果非简单规则，</a:t>
            </a:r>
            <a:r>
              <a:rPr lang="en-US" altLang="zh-CN" sz="1400" dirty="0" smtClean="0"/>
              <a:t>“</a:t>
            </a:r>
            <a:r>
              <a:rPr lang="zh-CN" altLang="en-US" sz="1400" dirty="0" smtClean="0"/>
              <a:t>坏人</a:t>
            </a:r>
            <a:r>
              <a:rPr lang="en-US" altLang="zh-CN" sz="1400" dirty="0" smtClean="0"/>
              <a:t>”</a:t>
            </a:r>
            <a:r>
              <a:rPr lang="zh-CN" altLang="en-US" sz="1400" dirty="0" smtClean="0"/>
              <a:t>难绕过</a:t>
            </a:r>
            <a:endParaRPr lang="zh-CN" altLang="en-US" sz="1400" dirty="0" smtClean="0"/>
          </a:p>
          <a:p>
            <a:pPr marL="391795" indent="-285750" algn="l" fontAlgn="auto">
              <a:lnSpc>
                <a:spcPts val="2300"/>
              </a:lnSpc>
              <a:buFont typeface="Arial" panose="020B0604020202090204" pitchFamily="34" charset="0"/>
              <a:buChar char="•"/>
            </a:pPr>
            <a:r>
              <a:rPr lang="zh-CN" altLang="en-US" sz="1400" b="1" dirty="0" smtClean="0"/>
              <a:t>结果更全面</a:t>
            </a:r>
            <a:r>
              <a:rPr lang="zh-CN" altLang="en-US" sz="1400" dirty="0" smtClean="0"/>
              <a:t>：模型综合了大量的特征，得到的结果，考虑更全面</a:t>
            </a:r>
            <a:endParaRPr lang="zh-CN" altLang="en-US" sz="1400" dirty="0" smtClean="0"/>
          </a:p>
        </p:txBody>
      </p:sp>
      <p:sp>
        <p:nvSpPr>
          <p:cNvPr id="41" name="矩形 40"/>
          <p:cNvSpPr/>
          <p:nvPr/>
        </p:nvSpPr>
        <p:spPr>
          <a:xfrm>
            <a:off x="468630" y="1636395"/>
            <a:ext cx="5204460" cy="4696460"/>
          </a:xfrm>
          <a:prstGeom prst="rect">
            <a:avLst/>
          </a:prstGeom>
          <a:noFill/>
          <a:ln w="0">
            <a:solidFill>
              <a:schemeClr val="bg1">
                <a:lumMod val="85000"/>
              </a:schemeClr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lumMod val="40000"/>
                    <a:lumOff val="60000"/>
                  </a:schemeClr>
                </a:solidFill>
              </a14:hiddenFill>
            </a:ext>
          </a:extLst>
        </p:spPr>
        <p:txBody>
          <a:bodyPr vert="horz" wrap="square" lIns="91440" tIns="45720" rIns="91440" bIns="45720" numCol="1" rtlCol="0" anchor="t" anchorCtr="0" compatLnSpc="1"/>
          <a:p>
            <a:endParaRPr lang="zh-CN" altLang="en-US"/>
          </a:p>
        </p:txBody>
      </p:sp>
      <p:sp>
        <p:nvSpPr>
          <p:cNvPr id="42" name="矩形 41"/>
          <p:cNvSpPr/>
          <p:nvPr/>
        </p:nvSpPr>
        <p:spPr>
          <a:xfrm>
            <a:off x="6410960" y="1617345"/>
            <a:ext cx="5204460" cy="4696460"/>
          </a:xfrm>
          <a:prstGeom prst="rect">
            <a:avLst/>
          </a:prstGeom>
          <a:noFill/>
          <a:ln w="0">
            <a:solidFill>
              <a:schemeClr val="bg1">
                <a:lumMod val="85000"/>
              </a:schemeClr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lumMod val="40000"/>
                    <a:lumOff val="60000"/>
                  </a:schemeClr>
                </a:solidFill>
              </a14:hiddenFill>
            </a:ext>
          </a:extLst>
        </p:spPr>
        <p:txBody>
          <a:bodyPr vert="horz" wrap="square" lIns="91440" tIns="45720" rIns="91440" bIns="45720" numCol="1" rtlCol="0" anchor="t" anchorCtr="0" compatLnSpc="1"/>
          <a:p>
            <a:endParaRPr lang="zh-CN" altLang="en-US"/>
          </a:p>
        </p:txBody>
      </p:sp>
      <p:sp>
        <p:nvSpPr>
          <p:cNvPr id="45" name="Freeform 11"/>
          <p:cNvSpPr>
            <a:spLocks noEditPoints="1"/>
          </p:cNvSpPr>
          <p:nvPr/>
        </p:nvSpPr>
        <p:spPr bwMode="auto">
          <a:xfrm>
            <a:off x="902970" y="3645535"/>
            <a:ext cx="381635" cy="422910"/>
          </a:xfrm>
          <a:custGeom>
            <a:avLst/>
            <a:gdLst>
              <a:gd name="T0" fmla="*/ 542 w 780"/>
              <a:gd name="T1" fmla="*/ 208 h 864"/>
              <a:gd name="T2" fmla="*/ 468 w 780"/>
              <a:gd name="T3" fmla="*/ 106 h 864"/>
              <a:gd name="T4" fmla="*/ 382 w 780"/>
              <a:gd name="T5" fmla="*/ 48 h 864"/>
              <a:gd name="T6" fmla="*/ 266 w 780"/>
              <a:gd name="T7" fmla="*/ 32 h 864"/>
              <a:gd name="T8" fmla="*/ 220 w 780"/>
              <a:gd name="T9" fmla="*/ 20 h 864"/>
              <a:gd name="T10" fmla="*/ 184 w 780"/>
              <a:gd name="T11" fmla="*/ 0 h 864"/>
              <a:gd name="T12" fmla="*/ 146 w 780"/>
              <a:gd name="T13" fmla="*/ 20 h 864"/>
              <a:gd name="T14" fmla="*/ 134 w 780"/>
              <a:gd name="T15" fmla="*/ 62 h 864"/>
              <a:gd name="T16" fmla="*/ 86 w 780"/>
              <a:gd name="T17" fmla="*/ 112 h 864"/>
              <a:gd name="T18" fmla="*/ 20 w 780"/>
              <a:gd name="T19" fmla="*/ 202 h 864"/>
              <a:gd name="T20" fmla="*/ 0 w 780"/>
              <a:gd name="T21" fmla="*/ 306 h 864"/>
              <a:gd name="T22" fmla="*/ 26 w 780"/>
              <a:gd name="T23" fmla="*/ 482 h 864"/>
              <a:gd name="T24" fmla="*/ 52 w 780"/>
              <a:gd name="T25" fmla="*/ 608 h 864"/>
              <a:gd name="T26" fmla="*/ 40 w 780"/>
              <a:gd name="T27" fmla="*/ 660 h 864"/>
              <a:gd name="T28" fmla="*/ 12 w 780"/>
              <a:gd name="T29" fmla="*/ 726 h 864"/>
              <a:gd name="T30" fmla="*/ 18 w 780"/>
              <a:gd name="T31" fmla="*/ 790 h 864"/>
              <a:gd name="T32" fmla="*/ 50 w 780"/>
              <a:gd name="T33" fmla="*/ 826 h 864"/>
              <a:gd name="T34" fmla="*/ 140 w 780"/>
              <a:gd name="T35" fmla="*/ 858 h 864"/>
              <a:gd name="T36" fmla="*/ 268 w 780"/>
              <a:gd name="T37" fmla="*/ 862 h 864"/>
              <a:gd name="T38" fmla="*/ 420 w 780"/>
              <a:gd name="T39" fmla="*/ 832 h 864"/>
              <a:gd name="T40" fmla="*/ 534 w 780"/>
              <a:gd name="T41" fmla="*/ 786 h 864"/>
              <a:gd name="T42" fmla="*/ 660 w 780"/>
              <a:gd name="T43" fmla="*/ 706 h 864"/>
              <a:gd name="T44" fmla="*/ 744 w 780"/>
              <a:gd name="T45" fmla="*/ 618 h 864"/>
              <a:gd name="T46" fmla="*/ 780 w 780"/>
              <a:gd name="T47" fmla="*/ 540 h 864"/>
              <a:gd name="T48" fmla="*/ 770 w 780"/>
              <a:gd name="T49" fmla="*/ 490 h 864"/>
              <a:gd name="T50" fmla="*/ 734 w 780"/>
              <a:gd name="T51" fmla="*/ 448 h 864"/>
              <a:gd name="T52" fmla="*/ 668 w 780"/>
              <a:gd name="T53" fmla="*/ 418 h 864"/>
              <a:gd name="T54" fmla="*/ 626 w 780"/>
              <a:gd name="T55" fmla="*/ 376 h 864"/>
              <a:gd name="T56" fmla="*/ 436 w 780"/>
              <a:gd name="T57" fmla="*/ 754 h 864"/>
              <a:gd name="T58" fmla="*/ 302 w 780"/>
              <a:gd name="T59" fmla="*/ 788 h 864"/>
              <a:gd name="T60" fmla="*/ 192 w 780"/>
              <a:gd name="T61" fmla="*/ 792 h 864"/>
              <a:gd name="T62" fmla="*/ 86 w 780"/>
              <a:gd name="T63" fmla="*/ 768 h 864"/>
              <a:gd name="T64" fmla="*/ 84 w 780"/>
              <a:gd name="T65" fmla="*/ 750 h 864"/>
              <a:gd name="T66" fmla="*/ 110 w 780"/>
              <a:gd name="T67" fmla="*/ 704 h 864"/>
              <a:gd name="T68" fmla="*/ 176 w 780"/>
              <a:gd name="T69" fmla="*/ 642 h 864"/>
              <a:gd name="T70" fmla="*/ 288 w 780"/>
              <a:gd name="T71" fmla="*/ 578 h 864"/>
              <a:gd name="T72" fmla="*/ 402 w 780"/>
              <a:gd name="T73" fmla="*/ 534 h 864"/>
              <a:gd name="T74" fmla="*/ 536 w 780"/>
              <a:gd name="T75" fmla="*/ 500 h 864"/>
              <a:gd name="T76" fmla="*/ 634 w 780"/>
              <a:gd name="T77" fmla="*/ 498 h 864"/>
              <a:gd name="T78" fmla="*/ 694 w 780"/>
              <a:gd name="T79" fmla="*/ 514 h 864"/>
              <a:gd name="T80" fmla="*/ 712 w 780"/>
              <a:gd name="T81" fmla="*/ 532 h 864"/>
              <a:gd name="T82" fmla="*/ 698 w 780"/>
              <a:gd name="T83" fmla="*/ 566 h 864"/>
              <a:gd name="T84" fmla="*/ 608 w 780"/>
              <a:gd name="T85" fmla="*/ 658 h 864"/>
              <a:gd name="T86" fmla="*/ 502 w 780"/>
              <a:gd name="T87" fmla="*/ 726 h 864"/>
              <a:gd name="T88" fmla="*/ 374 w 780"/>
              <a:gd name="T89" fmla="*/ 584 h 864"/>
              <a:gd name="T90" fmla="*/ 276 w 780"/>
              <a:gd name="T91" fmla="*/ 626 h 864"/>
              <a:gd name="T92" fmla="*/ 180 w 780"/>
              <a:gd name="T93" fmla="*/ 686 h 864"/>
              <a:gd name="T94" fmla="*/ 190 w 780"/>
              <a:gd name="T95" fmla="*/ 718 h 864"/>
              <a:gd name="T96" fmla="*/ 268 w 780"/>
              <a:gd name="T97" fmla="*/ 724 h 864"/>
              <a:gd name="T98" fmla="*/ 338 w 780"/>
              <a:gd name="T99" fmla="*/ 702 h 864"/>
              <a:gd name="T100" fmla="*/ 408 w 780"/>
              <a:gd name="T101" fmla="*/ 632 h 864"/>
              <a:gd name="T102" fmla="*/ 416 w 780"/>
              <a:gd name="T103" fmla="*/ 582 h 864"/>
              <a:gd name="T104" fmla="*/ 412 w 780"/>
              <a:gd name="T105" fmla="*/ 570 h 8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780" h="864">
                <a:moveTo>
                  <a:pt x="618" y="360"/>
                </a:moveTo>
                <a:lnTo>
                  <a:pt x="618" y="360"/>
                </a:lnTo>
                <a:lnTo>
                  <a:pt x="578" y="276"/>
                </a:lnTo>
                <a:lnTo>
                  <a:pt x="542" y="208"/>
                </a:lnTo>
                <a:lnTo>
                  <a:pt x="524" y="178"/>
                </a:lnTo>
                <a:lnTo>
                  <a:pt x="506" y="150"/>
                </a:lnTo>
                <a:lnTo>
                  <a:pt x="488" y="126"/>
                </a:lnTo>
                <a:lnTo>
                  <a:pt x="468" y="106"/>
                </a:lnTo>
                <a:lnTo>
                  <a:pt x="448" y="86"/>
                </a:lnTo>
                <a:lnTo>
                  <a:pt x="428" y="72"/>
                </a:lnTo>
                <a:lnTo>
                  <a:pt x="406" y="58"/>
                </a:lnTo>
                <a:lnTo>
                  <a:pt x="382" y="48"/>
                </a:lnTo>
                <a:lnTo>
                  <a:pt x="358" y="42"/>
                </a:lnTo>
                <a:lnTo>
                  <a:pt x="330" y="36"/>
                </a:lnTo>
                <a:lnTo>
                  <a:pt x="300" y="34"/>
                </a:lnTo>
                <a:lnTo>
                  <a:pt x="266" y="32"/>
                </a:lnTo>
                <a:lnTo>
                  <a:pt x="266" y="32"/>
                </a:lnTo>
                <a:lnTo>
                  <a:pt x="246" y="32"/>
                </a:lnTo>
                <a:lnTo>
                  <a:pt x="230" y="26"/>
                </a:lnTo>
                <a:lnTo>
                  <a:pt x="220" y="20"/>
                </a:lnTo>
                <a:lnTo>
                  <a:pt x="212" y="12"/>
                </a:lnTo>
                <a:lnTo>
                  <a:pt x="204" y="6"/>
                </a:lnTo>
                <a:lnTo>
                  <a:pt x="196" y="2"/>
                </a:lnTo>
                <a:lnTo>
                  <a:pt x="184" y="0"/>
                </a:lnTo>
                <a:lnTo>
                  <a:pt x="168" y="4"/>
                </a:lnTo>
                <a:lnTo>
                  <a:pt x="168" y="4"/>
                </a:lnTo>
                <a:lnTo>
                  <a:pt x="154" y="12"/>
                </a:lnTo>
                <a:lnTo>
                  <a:pt x="146" y="20"/>
                </a:lnTo>
                <a:lnTo>
                  <a:pt x="142" y="28"/>
                </a:lnTo>
                <a:lnTo>
                  <a:pt x="140" y="38"/>
                </a:lnTo>
                <a:lnTo>
                  <a:pt x="138" y="50"/>
                </a:lnTo>
                <a:lnTo>
                  <a:pt x="134" y="62"/>
                </a:lnTo>
                <a:lnTo>
                  <a:pt x="126" y="76"/>
                </a:lnTo>
                <a:lnTo>
                  <a:pt x="110" y="90"/>
                </a:lnTo>
                <a:lnTo>
                  <a:pt x="110" y="90"/>
                </a:lnTo>
                <a:lnTo>
                  <a:pt x="86" y="112"/>
                </a:lnTo>
                <a:lnTo>
                  <a:pt x="64" y="134"/>
                </a:lnTo>
                <a:lnTo>
                  <a:pt x="46" y="156"/>
                </a:lnTo>
                <a:lnTo>
                  <a:pt x="32" y="178"/>
                </a:lnTo>
                <a:lnTo>
                  <a:pt x="20" y="202"/>
                </a:lnTo>
                <a:lnTo>
                  <a:pt x="12" y="226"/>
                </a:lnTo>
                <a:lnTo>
                  <a:pt x="4" y="252"/>
                </a:lnTo>
                <a:lnTo>
                  <a:pt x="2" y="278"/>
                </a:lnTo>
                <a:lnTo>
                  <a:pt x="0" y="306"/>
                </a:lnTo>
                <a:lnTo>
                  <a:pt x="2" y="338"/>
                </a:lnTo>
                <a:lnTo>
                  <a:pt x="4" y="370"/>
                </a:lnTo>
                <a:lnTo>
                  <a:pt x="10" y="404"/>
                </a:lnTo>
                <a:lnTo>
                  <a:pt x="26" y="482"/>
                </a:lnTo>
                <a:lnTo>
                  <a:pt x="48" y="572"/>
                </a:lnTo>
                <a:lnTo>
                  <a:pt x="48" y="572"/>
                </a:lnTo>
                <a:lnTo>
                  <a:pt x="52" y="590"/>
                </a:lnTo>
                <a:lnTo>
                  <a:pt x="52" y="608"/>
                </a:lnTo>
                <a:lnTo>
                  <a:pt x="52" y="622"/>
                </a:lnTo>
                <a:lnTo>
                  <a:pt x="50" y="636"/>
                </a:lnTo>
                <a:lnTo>
                  <a:pt x="46" y="648"/>
                </a:lnTo>
                <a:lnTo>
                  <a:pt x="40" y="660"/>
                </a:lnTo>
                <a:lnTo>
                  <a:pt x="30" y="682"/>
                </a:lnTo>
                <a:lnTo>
                  <a:pt x="18" y="702"/>
                </a:lnTo>
                <a:lnTo>
                  <a:pt x="14" y="714"/>
                </a:lnTo>
                <a:lnTo>
                  <a:pt x="12" y="726"/>
                </a:lnTo>
                <a:lnTo>
                  <a:pt x="10" y="740"/>
                </a:lnTo>
                <a:lnTo>
                  <a:pt x="10" y="754"/>
                </a:lnTo>
                <a:lnTo>
                  <a:pt x="12" y="770"/>
                </a:lnTo>
                <a:lnTo>
                  <a:pt x="18" y="790"/>
                </a:lnTo>
                <a:lnTo>
                  <a:pt x="18" y="790"/>
                </a:lnTo>
                <a:lnTo>
                  <a:pt x="26" y="802"/>
                </a:lnTo>
                <a:lnTo>
                  <a:pt x="36" y="816"/>
                </a:lnTo>
                <a:lnTo>
                  <a:pt x="50" y="826"/>
                </a:lnTo>
                <a:lnTo>
                  <a:pt x="68" y="836"/>
                </a:lnTo>
                <a:lnTo>
                  <a:pt x="90" y="846"/>
                </a:lnTo>
                <a:lnTo>
                  <a:pt x="114" y="852"/>
                </a:lnTo>
                <a:lnTo>
                  <a:pt x="140" y="858"/>
                </a:lnTo>
                <a:lnTo>
                  <a:pt x="170" y="862"/>
                </a:lnTo>
                <a:lnTo>
                  <a:pt x="200" y="864"/>
                </a:lnTo>
                <a:lnTo>
                  <a:pt x="234" y="864"/>
                </a:lnTo>
                <a:lnTo>
                  <a:pt x="268" y="862"/>
                </a:lnTo>
                <a:lnTo>
                  <a:pt x="304" y="858"/>
                </a:lnTo>
                <a:lnTo>
                  <a:pt x="342" y="852"/>
                </a:lnTo>
                <a:lnTo>
                  <a:pt x="380" y="844"/>
                </a:lnTo>
                <a:lnTo>
                  <a:pt x="420" y="832"/>
                </a:lnTo>
                <a:lnTo>
                  <a:pt x="458" y="818"/>
                </a:lnTo>
                <a:lnTo>
                  <a:pt x="458" y="818"/>
                </a:lnTo>
                <a:lnTo>
                  <a:pt x="498" y="802"/>
                </a:lnTo>
                <a:lnTo>
                  <a:pt x="534" y="786"/>
                </a:lnTo>
                <a:lnTo>
                  <a:pt x="570" y="768"/>
                </a:lnTo>
                <a:lnTo>
                  <a:pt x="602" y="748"/>
                </a:lnTo>
                <a:lnTo>
                  <a:pt x="632" y="726"/>
                </a:lnTo>
                <a:lnTo>
                  <a:pt x="660" y="706"/>
                </a:lnTo>
                <a:lnTo>
                  <a:pt x="686" y="684"/>
                </a:lnTo>
                <a:lnTo>
                  <a:pt x="708" y="662"/>
                </a:lnTo>
                <a:lnTo>
                  <a:pt x="728" y="640"/>
                </a:lnTo>
                <a:lnTo>
                  <a:pt x="744" y="618"/>
                </a:lnTo>
                <a:lnTo>
                  <a:pt x="758" y="598"/>
                </a:lnTo>
                <a:lnTo>
                  <a:pt x="770" y="578"/>
                </a:lnTo>
                <a:lnTo>
                  <a:pt x="776" y="558"/>
                </a:lnTo>
                <a:lnTo>
                  <a:pt x="780" y="540"/>
                </a:lnTo>
                <a:lnTo>
                  <a:pt x="780" y="522"/>
                </a:lnTo>
                <a:lnTo>
                  <a:pt x="778" y="508"/>
                </a:lnTo>
                <a:lnTo>
                  <a:pt x="778" y="508"/>
                </a:lnTo>
                <a:lnTo>
                  <a:pt x="770" y="490"/>
                </a:lnTo>
                <a:lnTo>
                  <a:pt x="762" y="476"/>
                </a:lnTo>
                <a:lnTo>
                  <a:pt x="752" y="464"/>
                </a:lnTo>
                <a:lnTo>
                  <a:pt x="744" y="454"/>
                </a:lnTo>
                <a:lnTo>
                  <a:pt x="734" y="448"/>
                </a:lnTo>
                <a:lnTo>
                  <a:pt x="722" y="442"/>
                </a:lnTo>
                <a:lnTo>
                  <a:pt x="702" y="432"/>
                </a:lnTo>
                <a:lnTo>
                  <a:pt x="678" y="424"/>
                </a:lnTo>
                <a:lnTo>
                  <a:pt x="668" y="418"/>
                </a:lnTo>
                <a:lnTo>
                  <a:pt x="658" y="410"/>
                </a:lnTo>
                <a:lnTo>
                  <a:pt x="646" y="402"/>
                </a:lnTo>
                <a:lnTo>
                  <a:pt x="636" y="390"/>
                </a:lnTo>
                <a:lnTo>
                  <a:pt x="626" y="376"/>
                </a:lnTo>
                <a:lnTo>
                  <a:pt x="618" y="360"/>
                </a:lnTo>
                <a:lnTo>
                  <a:pt x="618" y="360"/>
                </a:lnTo>
                <a:close/>
                <a:moveTo>
                  <a:pt x="436" y="754"/>
                </a:moveTo>
                <a:lnTo>
                  <a:pt x="436" y="754"/>
                </a:lnTo>
                <a:lnTo>
                  <a:pt x="400" y="766"/>
                </a:lnTo>
                <a:lnTo>
                  <a:pt x="366" y="776"/>
                </a:lnTo>
                <a:lnTo>
                  <a:pt x="334" y="782"/>
                </a:lnTo>
                <a:lnTo>
                  <a:pt x="302" y="788"/>
                </a:lnTo>
                <a:lnTo>
                  <a:pt x="272" y="792"/>
                </a:lnTo>
                <a:lnTo>
                  <a:pt x="242" y="794"/>
                </a:lnTo>
                <a:lnTo>
                  <a:pt x="216" y="794"/>
                </a:lnTo>
                <a:lnTo>
                  <a:pt x="192" y="792"/>
                </a:lnTo>
                <a:lnTo>
                  <a:pt x="148" y="788"/>
                </a:lnTo>
                <a:lnTo>
                  <a:pt x="116" y="780"/>
                </a:lnTo>
                <a:lnTo>
                  <a:pt x="94" y="772"/>
                </a:lnTo>
                <a:lnTo>
                  <a:pt x="86" y="768"/>
                </a:lnTo>
                <a:lnTo>
                  <a:pt x="84" y="764"/>
                </a:lnTo>
                <a:lnTo>
                  <a:pt x="84" y="764"/>
                </a:lnTo>
                <a:lnTo>
                  <a:pt x="82" y="758"/>
                </a:lnTo>
                <a:lnTo>
                  <a:pt x="84" y="750"/>
                </a:lnTo>
                <a:lnTo>
                  <a:pt x="86" y="740"/>
                </a:lnTo>
                <a:lnTo>
                  <a:pt x="92" y="728"/>
                </a:lnTo>
                <a:lnTo>
                  <a:pt x="100" y="716"/>
                </a:lnTo>
                <a:lnTo>
                  <a:pt x="110" y="704"/>
                </a:lnTo>
                <a:lnTo>
                  <a:pt x="122" y="688"/>
                </a:lnTo>
                <a:lnTo>
                  <a:pt x="138" y="674"/>
                </a:lnTo>
                <a:lnTo>
                  <a:pt x="156" y="658"/>
                </a:lnTo>
                <a:lnTo>
                  <a:pt x="176" y="642"/>
                </a:lnTo>
                <a:lnTo>
                  <a:pt x="200" y="626"/>
                </a:lnTo>
                <a:lnTo>
                  <a:pt x="226" y="610"/>
                </a:lnTo>
                <a:lnTo>
                  <a:pt x="254" y="594"/>
                </a:lnTo>
                <a:lnTo>
                  <a:pt x="288" y="578"/>
                </a:lnTo>
                <a:lnTo>
                  <a:pt x="322" y="562"/>
                </a:lnTo>
                <a:lnTo>
                  <a:pt x="362" y="546"/>
                </a:lnTo>
                <a:lnTo>
                  <a:pt x="362" y="546"/>
                </a:lnTo>
                <a:lnTo>
                  <a:pt x="402" y="534"/>
                </a:lnTo>
                <a:lnTo>
                  <a:pt x="438" y="522"/>
                </a:lnTo>
                <a:lnTo>
                  <a:pt x="474" y="512"/>
                </a:lnTo>
                <a:lnTo>
                  <a:pt x="506" y="506"/>
                </a:lnTo>
                <a:lnTo>
                  <a:pt x="536" y="500"/>
                </a:lnTo>
                <a:lnTo>
                  <a:pt x="564" y="498"/>
                </a:lnTo>
                <a:lnTo>
                  <a:pt x="590" y="496"/>
                </a:lnTo>
                <a:lnTo>
                  <a:pt x="614" y="496"/>
                </a:lnTo>
                <a:lnTo>
                  <a:pt x="634" y="498"/>
                </a:lnTo>
                <a:lnTo>
                  <a:pt x="652" y="500"/>
                </a:lnTo>
                <a:lnTo>
                  <a:pt x="668" y="504"/>
                </a:lnTo>
                <a:lnTo>
                  <a:pt x="682" y="508"/>
                </a:lnTo>
                <a:lnTo>
                  <a:pt x="694" y="514"/>
                </a:lnTo>
                <a:lnTo>
                  <a:pt x="702" y="518"/>
                </a:lnTo>
                <a:lnTo>
                  <a:pt x="708" y="526"/>
                </a:lnTo>
                <a:lnTo>
                  <a:pt x="712" y="532"/>
                </a:lnTo>
                <a:lnTo>
                  <a:pt x="712" y="532"/>
                </a:lnTo>
                <a:lnTo>
                  <a:pt x="712" y="536"/>
                </a:lnTo>
                <a:lnTo>
                  <a:pt x="710" y="544"/>
                </a:lnTo>
                <a:lnTo>
                  <a:pt x="706" y="554"/>
                </a:lnTo>
                <a:lnTo>
                  <a:pt x="698" y="566"/>
                </a:lnTo>
                <a:lnTo>
                  <a:pt x="678" y="592"/>
                </a:lnTo>
                <a:lnTo>
                  <a:pt x="648" y="624"/>
                </a:lnTo>
                <a:lnTo>
                  <a:pt x="630" y="642"/>
                </a:lnTo>
                <a:lnTo>
                  <a:pt x="608" y="658"/>
                </a:lnTo>
                <a:lnTo>
                  <a:pt x="586" y="676"/>
                </a:lnTo>
                <a:lnTo>
                  <a:pt x="560" y="692"/>
                </a:lnTo>
                <a:lnTo>
                  <a:pt x="532" y="710"/>
                </a:lnTo>
                <a:lnTo>
                  <a:pt x="502" y="726"/>
                </a:lnTo>
                <a:lnTo>
                  <a:pt x="470" y="740"/>
                </a:lnTo>
                <a:lnTo>
                  <a:pt x="436" y="754"/>
                </a:lnTo>
                <a:lnTo>
                  <a:pt x="436" y="754"/>
                </a:lnTo>
                <a:close/>
                <a:moveTo>
                  <a:pt x="374" y="584"/>
                </a:moveTo>
                <a:lnTo>
                  <a:pt x="374" y="584"/>
                </a:lnTo>
                <a:lnTo>
                  <a:pt x="340" y="598"/>
                </a:lnTo>
                <a:lnTo>
                  <a:pt x="306" y="612"/>
                </a:lnTo>
                <a:lnTo>
                  <a:pt x="276" y="626"/>
                </a:lnTo>
                <a:lnTo>
                  <a:pt x="248" y="642"/>
                </a:lnTo>
                <a:lnTo>
                  <a:pt x="224" y="656"/>
                </a:lnTo>
                <a:lnTo>
                  <a:pt x="200" y="672"/>
                </a:lnTo>
                <a:lnTo>
                  <a:pt x="180" y="686"/>
                </a:lnTo>
                <a:lnTo>
                  <a:pt x="162" y="700"/>
                </a:lnTo>
                <a:lnTo>
                  <a:pt x="162" y="700"/>
                </a:lnTo>
                <a:lnTo>
                  <a:pt x="176" y="710"/>
                </a:lnTo>
                <a:lnTo>
                  <a:pt x="190" y="718"/>
                </a:lnTo>
                <a:lnTo>
                  <a:pt x="208" y="722"/>
                </a:lnTo>
                <a:lnTo>
                  <a:pt x="226" y="726"/>
                </a:lnTo>
                <a:lnTo>
                  <a:pt x="246" y="726"/>
                </a:lnTo>
                <a:lnTo>
                  <a:pt x="268" y="724"/>
                </a:lnTo>
                <a:lnTo>
                  <a:pt x="290" y="720"/>
                </a:lnTo>
                <a:lnTo>
                  <a:pt x="312" y="714"/>
                </a:lnTo>
                <a:lnTo>
                  <a:pt x="312" y="714"/>
                </a:lnTo>
                <a:lnTo>
                  <a:pt x="338" y="702"/>
                </a:lnTo>
                <a:lnTo>
                  <a:pt x="362" y="688"/>
                </a:lnTo>
                <a:lnTo>
                  <a:pt x="380" y="670"/>
                </a:lnTo>
                <a:lnTo>
                  <a:pt x="396" y="652"/>
                </a:lnTo>
                <a:lnTo>
                  <a:pt x="408" y="632"/>
                </a:lnTo>
                <a:lnTo>
                  <a:pt x="416" y="612"/>
                </a:lnTo>
                <a:lnTo>
                  <a:pt x="416" y="602"/>
                </a:lnTo>
                <a:lnTo>
                  <a:pt x="418" y="592"/>
                </a:lnTo>
                <a:lnTo>
                  <a:pt x="416" y="582"/>
                </a:lnTo>
                <a:lnTo>
                  <a:pt x="414" y="572"/>
                </a:lnTo>
                <a:lnTo>
                  <a:pt x="414" y="572"/>
                </a:lnTo>
                <a:lnTo>
                  <a:pt x="412" y="570"/>
                </a:lnTo>
                <a:lnTo>
                  <a:pt x="412" y="570"/>
                </a:lnTo>
                <a:lnTo>
                  <a:pt x="374" y="584"/>
                </a:lnTo>
                <a:lnTo>
                  <a:pt x="374" y="58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p>
            <a:endParaRPr lang="en-US" dirty="0"/>
          </a:p>
        </p:txBody>
      </p:sp>
      <p:sp>
        <p:nvSpPr>
          <p:cNvPr id="46" name="文本框 45"/>
          <p:cNvSpPr txBox="1"/>
          <p:nvPr/>
        </p:nvSpPr>
        <p:spPr>
          <a:xfrm>
            <a:off x="7088505" y="3714750"/>
            <a:ext cx="1033145" cy="277495"/>
          </a:xfrm>
          <a:prstGeom prst="rect">
            <a:avLst/>
          </a:prstGeom>
        </p:spPr>
        <p:txBody>
          <a:bodyPr vert="horz" wrap="square" lIns="91440" tIns="45720" rIns="91440" bIns="45720" rtlCol="0"/>
          <a:p>
            <a:pPr marL="106045" indent="0" algn="ctr">
              <a:buFont typeface="Arial" panose="020B0604020202090204" pitchFamily="34" charset="0"/>
              <a:buNone/>
            </a:pPr>
            <a:r>
              <a:rPr lang="zh-CN" altLang="en-US" sz="1400" dirty="0" smtClean="0"/>
              <a:t>特点：</a:t>
            </a:r>
            <a:endParaRPr lang="zh-CN" altLang="en-US" sz="1400" dirty="0" smtClean="0"/>
          </a:p>
        </p:txBody>
      </p:sp>
      <p:sp>
        <p:nvSpPr>
          <p:cNvPr id="47" name="Freeform 11"/>
          <p:cNvSpPr>
            <a:spLocks noEditPoints="1"/>
          </p:cNvSpPr>
          <p:nvPr/>
        </p:nvSpPr>
        <p:spPr bwMode="auto">
          <a:xfrm>
            <a:off x="6816725" y="3645535"/>
            <a:ext cx="381635" cy="422910"/>
          </a:xfrm>
          <a:custGeom>
            <a:avLst/>
            <a:gdLst>
              <a:gd name="T0" fmla="*/ 542 w 780"/>
              <a:gd name="T1" fmla="*/ 208 h 864"/>
              <a:gd name="T2" fmla="*/ 468 w 780"/>
              <a:gd name="T3" fmla="*/ 106 h 864"/>
              <a:gd name="T4" fmla="*/ 382 w 780"/>
              <a:gd name="T5" fmla="*/ 48 h 864"/>
              <a:gd name="T6" fmla="*/ 266 w 780"/>
              <a:gd name="T7" fmla="*/ 32 h 864"/>
              <a:gd name="T8" fmla="*/ 220 w 780"/>
              <a:gd name="T9" fmla="*/ 20 h 864"/>
              <a:gd name="T10" fmla="*/ 184 w 780"/>
              <a:gd name="T11" fmla="*/ 0 h 864"/>
              <a:gd name="T12" fmla="*/ 146 w 780"/>
              <a:gd name="T13" fmla="*/ 20 h 864"/>
              <a:gd name="T14" fmla="*/ 134 w 780"/>
              <a:gd name="T15" fmla="*/ 62 h 864"/>
              <a:gd name="T16" fmla="*/ 86 w 780"/>
              <a:gd name="T17" fmla="*/ 112 h 864"/>
              <a:gd name="T18" fmla="*/ 20 w 780"/>
              <a:gd name="T19" fmla="*/ 202 h 864"/>
              <a:gd name="T20" fmla="*/ 0 w 780"/>
              <a:gd name="T21" fmla="*/ 306 h 864"/>
              <a:gd name="T22" fmla="*/ 26 w 780"/>
              <a:gd name="T23" fmla="*/ 482 h 864"/>
              <a:gd name="T24" fmla="*/ 52 w 780"/>
              <a:gd name="T25" fmla="*/ 608 h 864"/>
              <a:gd name="T26" fmla="*/ 40 w 780"/>
              <a:gd name="T27" fmla="*/ 660 h 864"/>
              <a:gd name="T28" fmla="*/ 12 w 780"/>
              <a:gd name="T29" fmla="*/ 726 h 864"/>
              <a:gd name="T30" fmla="*/ 18 w 780"/>
              <a:gd name="T31" fmla="*/ 790 h 864"/>
              <a:gd name="T32" fmla="*/ 50 w 780"/>
              <a:gd name="T33" fmla="*/ 826 h 864"/>
              <a:gd name="T34" fmla="*/ 140 w 780"/>
              <a:gd name="T35" fmla="*/ 858 h 864"/>
              <a:gd name="T36" fmla="*/ 268 w 780"/>
              <a:gd name="T37" fmla="*/ 862 h 864"/>
              <a:gd name="T38" fmla="*/ 420 w 780"/>
              <a:gd name="T39" fmla="*/ 832 h 864"/>
              <a:gd name="T40" fmla="*/ 534 w 780"/>
              <a:gd name="T41" fmla="*/ 786 h 864"/>
              <a:gd name="T42" fmla="*/ 660 w 780"/>
              <a:gd name="T43" fmla="*/ 706 h 864"/>
              <a:gd name="T44" fmla="*/ 744 w 780"/>
              <a:gd name="T45" fmla="*/ 618 h 864"/>
              <a:gd name="T46" fmla="*/ 780 w 780"/>
              <a:gd name="T47" fmla="*/ 540 h 864"/>
              <a:gd name="T48" fmla="*/ 770 w 780"/>
              <a:gd name="T49" fmla="*/ 490 h 864"/>
              <a:gd name="T50" fmla="*/ 734 w 780"/>
              <a:gd name="T51" fmla="*/ 448 h 864"/>
              <a:gd name="T52" fmla="*/ 668 w 780"/>
              <a:gd name="T53" fmla="*/ 418 h 864"/>
              <a:gd name="T54" fmla="*/ 626 w 780"/>
              <a:gd name="T55" fmla="*/ 376 h 864"/>
              <a:gd name="T56" fmla="*/ 436 w 780"/>
              <a:gd name="T57" fmla="*/ 754 h 864"/>
              <a:gd name="T58" fmla="*/ 302 w 780"/>
              <a:gd name="T59" fmla="*/ 788 h 864"/>
              <a:gd name="T60" fmla="*/ 192 w 780"/>
              <a:gd name="T61" fmla="*/ 792 h 864"/>
              <a:gd name="T62" fmla="*/ 86 w 780"/>
              <a:gd name="T63" fmla="*/ 768 h 864"/>
              <a:gd name="T64" fmla="*/ 84 w 780"/>
              <a:gd name="T65" fmla="*/ 750 h 864"/>
              <a:gd name="T66" fmla="*/ 110 w 780"/>
              <a:gd name="T67" fmla="*/ 704 h 864"/>
              <a:gd name="T68" fmla="*/ 176 w 780"/>
              <a:gd name="T69" fmla="*/ 642 h 864"/>
              <a:gd name="T70" fmla="*/ 288 w 780"/>
              <a:gd name="T71" fmla="*/ 578 h 864"/>
              <a:gd name="T72" fmla="*/ 402 w 780"/>
              <a:gd name="T73" fmla="*/ 534 h 864"/>
              <a:gd name="T74" fmla="*/ 536 w 780"/>
              <a:gd name="T75" fmla="*/ 500 h 864"/>
              <a:gd name="T76" fmla="*/ 634 w 780"/>
              <a:gd name="T77" fmla="*/ 498 h 864"/>
              <a:gd name="T78" fmla="*/ 694 w 780"/>
              <a:gd name="T79" fmla="*/ 514 h 864"/>
              <a:gd name="T80" fmla="*/ 712 w 780"/>
              <a:gd name="T81" fmla="*/ 532 h 864"/>
              <a:gd name="T82" fmla="*/ 698 w 780"/>
              <a:gd name="T83" fmla="*/ 566 h 864"/>
              <a:gd name="T84" fmla="*/ 608 w 780"/>
              <a:gd name="T85" fmla="*/ 658 h 864"/>
              <a:gd name="T86" fmla="*/ 502 w 780"/>
              <a:gd name="T87" fmla="*/ 726 h 864"/>
              <a:gd name="T88" fmla="*/ 374 w 780"/>
              <a:gd name="T89" fmla="*/ 584 h 864"/>
              <a:gd name="T90" fmla="*/ 276 w 780"/>
              <a:gd name="T91" fmla="*/ 626 h 864"/>
              <a:gd name="T92" fmla="*/ 180 w 780"/>
              <a:gd name="T93" fmla="*/ 686 h 864"/>
              <a:gd name="T94" fmla="*/ 190 w 780"/>
              <a:gd name="T95" fmla="*/ 718 h 864"/>
              <a:gd name="T96" fmla="*/ 268 w 780"/>
              <a:gd name="T97" fmla="*/ 724 h 864"/>
              <a:gd name="T98" fmla="*/ 338 w 780"/>
              <a:gd name="T99" fmla="*/ 702 h 864"/>
              <a:gd name="T100" fmla="*/ 408 w 780"/>
              <a:gd name="T101" fmla="*/ 632 h 864"/>
              <a:gd name="T102" fmla="*/ 416 w 780"/>
              <a:gd name="T103" fmla="*/ 582 h 864"/>
              <a:gd name="T104" fmla="*/ 412 w 780"/>
              <a:gd name="T105" fmla="*/ 570 h 8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780" h="864">
                <a:moveTo>
                  <a:pt x="618" y="360"/>
                </a:moveTo>
                <a:lnTo>
                  <a:pt x="618" y="360"/>
                </a:lnTo>
                <a:lnTo>
                  <a:pt x="578" y="276"/>
                </a:lnTo>
                <a:lnTo>
                  <a:pt x="542" y="208"/>
                </a:lnTo>
                <a:lnTo>
                  <a:pt x="524" y="178"/>
                </a:lnTo>
                <a:lnTo>
                  <a:pt x="506" y="150"/>
                </a:lnTo>
                <a:lnTo>
                  <a:pt x="488" y="126"/>
                </a:lnTo>
                <a:lnTo>
                  <a:pt x="468" y="106"/>
                </a:lnTo>
                <a:lnTo>
                  <a:pt x="448" y="86"/>
                </a:lnTo>
                <a:lnTo>
                  <a:pt x="428" y="72"/>
                </a:lnTo>
                <a:lnTo>
                  <a:pt x="406" y="58"/>
                </a:lnTo>
                <a:lnTo>
                  <a:pt x="382" y="48"/>
                </a:lnTo>
                <a:lnTo>
                  <a:pt x="358" y="42"/>
                </a:lnTo>
                <a:lnTo>
                  <a:pt x="330" y="36"/>
                </a:lnTo>
                <a:lnTo>
                  <a:pt x="300" y="34"/>
                </a:lnTo>
                <a:lnTo>
                  <a:pt x="266" y="32"/>
                </a:lnTo>
                <a:lnTo>
                  <a:pt x="266" y="32"/>
                </a:lnTo>
                <a:lnTo>
                  <a:pt x="246" y="32"/>
                </a:lnTo>
                <a:lnTo>
                  <a:pt x="230" y="26"/>
                </a:lnTo>
                <a:lnTo>
                  <a:pt x="220" y="20"/>
                </a:lnTo>
                <a:lnTo>
                  <a:pt x="212" y="12"/>
                </a:lnTo>
                <a:lnTo>
                  <a:pt x="204" y="6"/>
                </a:lnTo>
                <a:lnTo>
                  <a:pt x="196" y="2"/>
                </a:lnTo>
                <a:lnTo>
                  <a:pt x="184" y="0"/>
                </a:lnTo>
                <a:lnTo>
                  <a:pt x="168" y="4"/>
                </a:lnTo>
                <a:lnTo>
                  <a:pt x="168" y="4"/>
                </a:lnTo>
                <a:lnTo>
                  <a:pt x="154" y="12"/>
                </a:lnTo>
                <a:lnTo>
                  <a:pt x="146" y="20"/>
                </a:lnTo>
                <a:lnTo>
                  <a:pt x="142" y="28"/>
                </a:lnTo>
                <a:lnTo>
                  <a:pt x="140" y="38"/>
                </a:lnTo>
                <a:lnTo>
                  <a:pt x="138" y="50"/>
                </a:lnTo>
                <a:lnTo>
                  <a:pt x="134" y="62"/>
                </a:lnTo>
                <a:lnTo>
                  <a:pt x="126" y="76"/>
                </a:lnTo>
                <a:lnTo>
                  <a:pt x="110" y="90"/>
                </a:lnTo>
                <a:lnTo>
                  <a:pt x="110" y="90"/>
                </a:lnTo>
                <a:lnTo>
                  <a:pt x="86" y="112"/>
                </a:lnTo>
                <a:lnTo>
                  <a:pt x="64" y="134"/>
                </a:lnTo>
                <a:lnTo>
                  <a:pt x="46" y="156"/>
                </a:lnTo>
                <a:lnTo>
                  <a:pt x="32" y="178"/>
                </a:lnTo>
                <a:lnTo>
                  <a:pt x="20" y="202"/>
                </a:lnTo>
                <a:lnTo>
                  <a:pt x="12" y="226"/>
                </a:lnTo>
                <a:lnTo>
                  <a:pt x="4" y="252"/>
                </a:lnTo>
                <a:lnTo>
                  <a:pt x="2" y="278"/>
                </a:lnTo>
                <a:lnTo>
                  <a:pt x="0" y="306"/>
                </a:lnTo>
                <a:lnTo>
                  <a:pt x="2" y="338"/>
                </a:lnTo>
                <a:lnTo>
                  <a:pt x="4" y="370"/>
                </a:lnTo>
                <a:lnTo>
                  <a:pt x="10" y="404"/>
                </a:lnTo>
                <a:lnTo>
                  <a:pt x="26" y="482"/>
                </a:lnTo>
                <a:lnTo>
                  <a:pt x="48" y="572"/>
                </a:lnTo>
                <a:lnTo>
                  <a:pt x="48" y="572"/>
                </a:lnTo>
                <a:lnTo>
                  <a:pt x="52" y="590"/>
                </a:lnTo>
                <a:lnTo>
                  <a:pt x="52" y="608"/>
                </a:lnTo>
                <a:lnTo>
                  <a:pt x="52" y="622"/>
                </a:lnTo>
                <a:lnTo>
                  <a:pt x="50" y="636"/>
                </a:lnTo>
                <a:lnTo>
                  <a:pt x="46" y="648"/>
                </a:lnTo>
                <a:lnTo>
                  <a:pt x="40" y="660"/>
                </a:lnTo>
                <a:lnTo>
                  <a:pt x="30" y="682"/>
                </a:lnTo>
                <a:lnTo>
                  <a:pt x="18" y="702"/>
                </a:lnTo>
                <a:lnTo>
                  <a:pt x="14" y="714"/>
                </a:lnTo>
                <a:lnTo>
                  <a:pt x="12" y="726"/>
                </a:lnTo>
                <a:lnTo>
                  <a:pt x="10" y="740"/>
                </a:lnTo>
                <a:lnTo>
                  <a:pt x="10" y="754"/>
                </a:lnTo>
                <a:lnTo>
                  <a:pt x="12" y="770"/>
                </a:lnTo>
                <a:lnTo>
                  <a:pt x="18" y="790"/>
                </a:lnTo>
                <a:lnTo>
                  <a:pt x="18" y="790"/>
                </a:lnTo>
                <a:lnTo>
                  <a:pt x="26" y="802"/>
                </a:lnTo>
                <a:lnTo>
                  <a:pt x="36" y="816"/>
                </a:lnTo>
                <a:lnTo>
                  <a:pt x="50" y="826"/>
                </a:lnTo>
                <a:lnTo>
                  <a:pt x="68" y="836"/>
                </a:lnTo>
                <a:lnTo>
                  <a:pt x="90" y="846"/>
                </a:lnTo>
                <a:lnTo>
                  <a:pt x="114" y="852"/>
                </a:lnTo>
                <a:lnTo>
                  <a:pt x="140" y="858"/>
                </a:lnTo>
                <a:lnTo>
                  <a:pt x="170" y="862"/>
                </a:lnTo>
                <a:lnTo>
                  <a:pt x="200" y="864"/>
                </a:lnTo>
                <a:lnTo>
                  <a:pt x="234" y="864"/>
                </a:lnTo>
                <a:lnTo>
                  <a:pt x="268" y="862"/>
                </a:lnTo>
                <a:lnTo>
                  <a:pt x="304" y="858"/>
                </a:lnTo>
                <a:lnTo>
                  <a:pt x="342" y="852"/>
                </a:lnTo>
                <a:lnTo>
                  <a:pt x="380" y="844"/>
                </a:lnTo>
                <a:lnTo>
                  <a:pt x="420" y="832"/>
                </a:lnTo>
                <a:lnTo>
                  <a:pt x="458" y="818"/>
                </a:lnTo>
                <a:lnTo>
                  <a:pt x="458" y="818"/>
                </a:lnTo>
                <a:lnTo>
                  <a:pt x="498" y="802"/>
                </a:lnTo>
                <a:lnTo>
                  <a:pt x="534" y="786"/>
                </a:lnTo>
                <a:lnTo>
                  <a:pt x="570" y="768"/>
                </a:lnTo>
                <a:lnTo>
                  <a:pt x="602" y="748"/>
                </a:lnTo>
                <a:lnTo>
                  <a:pt x="632" y="726"/>
                </a:lnTo>
                <a:lnTo>
                  <a:pt x="660" y="706"/>
                </a:lnTo>
                <a:lnTo>
                  <a:pt x="686" y="684"/>
                </a:lnTo>
                <a:lnTo>
                  <a:pt x="708" y="662"/>
                </a:lnTo>
                <a:lnTo>
                  <a:pt x="728" y="640"/>
                </a:lnTo>
                <a:lnTo>
                  <a:pt x="744" y="618"/>
                </a:lnTo>
                <a:lnTo>
                  <a:pt x="758" y="598"/>
                </a:lnTo>
                <a:lnTo>
                  <a:pt x="770" y="578"/>
                </a:lnTo>
                <a:lnTo>
                  <a:pt x="776" y="558"/>
                </a:lnTo>
                <a:lnTo>
                  <a:pt x="780" y="540"/>
                </a:lnTo>
                <a:lnTo>
                  <a:pt x="780" y="522"/>
                </a:lnTo>
                <a:lnTo>
                  <a:pt x="778" y="508"/>
                </a:lnTo>
                <a:lnTo>
                  <a:pt x="778" y="508"/>
                </a:lnTo>
                <a:lnTo>
                  <a:pt x="770" y="490"/>
                </a:lnTo>
                <a:lnTo>
                  <a:pt x="762" y="476"/>
                </a:lnTo>
                <a:lnTo>
                  <a:pt x="752" y="464"/>
                </a:lnTo>
                <a:lnTo>
                  <a:pt x="744" y="454"/>
                </a:lnTo>
                <a:lnTo>
                  <a:pt x="734" y="448"/>
                </a:lnTo>
                <a:lnTo>
                  <a:pt x="722" y="442"/>
                </a:lnTo>
                <a:lnTo>
                  <a:pt x="702" y="432"/>
                </a:lnTo>
                <a:lnTo>
                  <a:pt x="678" y="424"/>
                </a:lnTo>
                <a:lnTo>
                  <a:pt x="668" y="418"/>
                </a:lnTo>
                <a:lnTo>
                  <a:pt x="658" y="410"/>
                </a:lnTo>
                <a:lnTo>
                  <a:pt x="646" y="402"/>
                </a:lnTo>
                <a:lnTo>
                  <a:pt x="636" y="390"/>
                </a:lnTo>
                <a:lnTo>
                  <a:pt x="626" y="376"/>
                </a:lnTo>
                <a:lnTo>
                  <a:pt x="618" y="360"/>
                </a:lnTo>
                <a:lnTo>
                  <a:pt x="618" y="360"/>
                </a:lnTo>
                <a:close/>
                <a:moveTo>
                  <a:pt x="436" y="754"/>
                </a:moveTo>
                <a:lnTo>
                  <a:pt x="436" y="754"/>
                </a:lnTo>
                <a:lnTo>
                  <a:pt x="400" y="766"/>
                </a:lnTo>
                <a:lnTo>
                  <a:pt x="366" y="776"/>
                </a:lnTo>
                <a:lnTo>
                  <a:pt x="334" y="782"/>
                </a:lnTo>
                <a:lnTo>
                  <a:pt x="302" y="788"/>
                </a:lnTo>
                <a:lnTo>
                  <a:pt x="272" y="792"/>
                </a:lnTo>
                <a:lnTo>
                  <a:pt x="242" y="794"/>
                </a:lnTo>
                <a:lnTo>
                  <a:pt x="216" y="794"/>
                </a:lnTo>
                <a:lnTo>
                  <a:pt x="192" y="792"/>
                </a:lnTo>
                <a:lnTo>
                  <a:pt x="148" y="788"/>
                </a:lnTo>
                <a:lnTo>
                  <a:pt x="116" y="780"/>
                </a:lnTo>
                <a:lnTo>
                  <a:pt x="94" y="772"/>
                </a:lnTo>
                <a:lnTo>
                  <a:pt x="86" y="768"/>
                </a:lnTo>
                <a:lnTo>
                  <a:pt x="84" y="764"/>
                </a:lnTo>
                <a:lnTo>
                  <a:pt x="84" y="764"/>
                </a:lnTo>
                <a:lnTo>
                  <a:pt x="82" y="758"/>
                </a:lnTo>
                <a:lnTo>
                  <a:pt x="84" y="750"/>
                </a:lnTo>
                <a:lnTo>
                  <a:pt x="86" y="740"/>
                </a:lnTo>
                <a:lnTo>
                  <a:pt x="92" y="728"/>
                </a:lnTo>
                <a:lnTo>
                  <a:pt x="100" y="716"/>
                </a:lnTo>
                <a:lnTo>
                  <a:pt x="110" y="704"/>
                </a:lnTo>
                <a:lnTo>
                  <a:pt x="122" y="688"/>
                </a:lnTo>
                <a:lnTo>
                  <a:pt x="138" y="674"/>
                </a:lnTo>
                <a:lnTo>
                  <a:pt x="156" y="658"/>
                </a:lnTo>
                <a:lnTo>
                  <a:pt x="176" y="642"/>
                </a:lnTo>
                <a:lnTo>
                  <a:pt x="200" y="626"/>
                </a:lnTo>
                <a:lnTo>
                  <a:pt x="226" y="610"/>
                </a:lnTo>
                <a:lnTo>
                  <a:pt x="254" y="594"/>
                </a:lnTo>
                <a:lnTo>
                  <a:pt x="288" y="578"/>
                </a:lnTo>
                <a:lnTo>
                  <a:pt x="322" y="562"/>
                </a:lnTo>
                <a:lnTo>
                  <a:pt x="362" y="546"/>
                </a:lnTo>
                <a:lnTo>
                  <a:pt x="362" y="546"/>
                </a:lnTo>
                <a:lnTo>
                  <a:pt x="402" y="534"/>
                </a:lnTo>
                <a:lnTo>
                  <a:pt x="438" y="522"/>
                </a:lnTo>
                <a:lnTo>
                  <a:pt x="474" y="512"/>
                </a:lnTo>
                <a:lnTo>
                  <a:pt x="506" y="506"/>
                </a:lnTo>
                <a:lnTo>
                  <a:pt x="536" y="500"/>
                </a:lnTo>
                <a:lnTo>
                  <a:pt x="564" y="498"/>
                </a:lnTo>
                <a:lnTo>
                  <a:pt x="590" y="496"/>
                </a:lnTo>
                <a:lnTo>
                  <a:pt x="614" y="496"/>
                </a:lnTo>
                <a:lnTo>
                  <a:pt x="634" y="498"/>
                </a:lnTo>
                <a:lnTo>
                  <a:pt x="652" y="500"/>
                </a:lnTo>
                <a:lnTo>
                  <a:pt x="668" y="504"/>
                </a:lnTo>
                <a:lnTo>
                  <a:pt x="682" y="508"/>
                </a:lnTo>
                <a:lnTo>
                  <a:pt x="694" y="514"/>
                </a:lnTo>
                <a:lnTo>
                  <a:pt x="702" y="518"/>
                </a:lnTo>
                <a:lnTo>
                  <a:pt x="708" y="526"/>
                </a:lnTo>
                <a:lnTo>
                  <a:pt x="712" y="532"/>
                </a:lnTo>
                <a:lnTo>
                  <a:pt x="712" y="532"/>
                </a:lnTo>
                <a:lnTo>
                  <a:pt x="712" y="536"/>
                </a:lnTo>
                <a:lnTo>
                  <a:pt x="710" y="544"/>
                </a:lnTo>
                <a:lnTo>
                  <a:pt x="706" y="554"/>
                </a:lnTo>
                <a:lnTo>
                  <a:pt x="698" y="566"/>
                </a:lnTo>
                <a:lnTo>
                  <a:pt x="678" y="592"/>
                </a:lnTo>
                <a:lnTo>
                  <a:pt x="648" y="624"/>
                </a:lnTo>
                <a:lnTo>
                  <a:pt x="630" y="642"/>
                </a:lnTo>
                <a:lnTo>
                  <a:pt x="608" y="658"/>
                </a:lnTo>
                <a:lnTo>
                  <a:pt x="586" y="676"/>
                </a:lnTo>
                <a:lnTo>
                  <a:pt x="560" y="692"/>
                </a:lnTo>
                <a:lnTo>
                  <a:pt x="532" y="710"/>
                </a:lnTo>
                <a:lnTo>
                  <a:pt x="502" y="726"/>
                </a:lnTo>
                <a:lnTo>
                  <a:pt x="470" y="740"/>
                </a:lnTo>
                <a:lnTo>
                  <a:pt x="436" y="754"/>
                </a:lnTo>
                <a:lnTo>
                  <a:pt x="436" y="754"/>
                </a:lnTo>
                <a:close/>
                <a:moveTo>
                  <a:pt x="374" y="584"/>
                </a:moveTo>
                <a:lnTo>
                  <a:pt x="374" y="584"/>
                </a:lnTo>
                <a:lnTo>
                  <a:pt x="340" y="598"/>
                </a:lnTo>
                <a:lnTo>
                  <a:pt x="306" y="612"/>
                </a:lnTo>
                <a:lnTo>
                  <a:pt x="276" y="626"/>
                </a:lnTo>
                <a:lnTo>
                  <a:pt x="248" y="642"/>
                </a:lnTo>
                <a:lnTo>
                  <a:pt x="224" y="656"/>
                </a:lnTo>
                <a:lnTo>
                  <a:pt x="200" y="672"/>
                </a:lnTo>
                <a:lnTo>
                  <a:pt x="180" y="686"/>
                </a:lnTo>
                <a:lnTo>
                  <a:pt x="162" y="700"/>
                </a:lnTo>
                <a:lnTo>
                  <a:pt x="162" y="700"/>
                </a:lnTo>
                <a:lnTo>
                  <a:pt x="176" y="710"/>
                </a:lnTo>
                <a:lnTo>
                  <a:pt x="190" y="718"/>
                </a:lnTo>
                <a:lnTo>
                  <a:pt x="208" y="722"/>
                </a:lnTo>
                <a:lnTo>
                  <a:pt x="226" y="726"/>
                </a:lnTo>
                <a:lnTo>
                  <a:pt x="246" y="726"/>
                </a:lnTo>
                <a:lnTo>
                  <a:pt x="268" y="724"/>
                </a:lnTo>
                <a:lnTo>
                  <a:pt x="290" y="720"/>
                </a:lnTo>
                <a:lnTo>
                  <a:pt x="312" y="714"/>
                </a:lnTo>
                <a:lnTo>
                  <a:pt x="312" y="714"/>
                </a:lnTo>
                <a:lnTo>
                  <a:pt x="338" y="702"/>
                </a:lnTo>
                <a:lnTo>
                  <a:pt x="362" y="688"/>
                </a:lnTo>
                <a:lnTo>
                  <a:pt x="380" y="670"/>
                </a:lnTo>
                <a:lnTo>
                  <a:pt x="396" y="652"/>
                </a:lnTo>
                <a:lnTo>
                  <a:pt x="408" y="632"/>
                </a:lnTo>
                <a:lnTo>
                  <a:pt x="416" y="612"/>
                </a:lnTo>
                <a:lnTo>
                  <a:pt x="416" y="602"/>
                </a:lnTo>
                <a:lnTo>
                  <a:pt x="418" y="592"/>
                </a:lnTo>
                <a:lnTo>
                  <a:pt x="416" y="582"/>
                </a:lnTo>
                <a:lnTo>
                  <a:pt x="414" y="572"/>
                </a:lnTo>
                <a:lnTo>
                  <a:pt x="414" y="572"/>
                </a:lnTo>
                <a:lnTo>
                  <a:pt x="412" y="570"/>
                </a:lnTo>
                <a:lnTo>
                  <a:pt x="412" y="570"/>
                </a:lnTo>
                <a:lnTo>
                  <a:pt x="374" y="584"/>
                </a:lnTo>
                <a:lnTo>
                  <a:pt x="374" y="58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p>
            <a:endParaRPr lang="en-US" dirty="0"/>
          </a:p>
        </p:txBody>
      </p:sp>
      <p:sp>
        <p:nvSpPr>
          <p:cNvPr id="290" name="Freeform 13"/>
          <p:cNvSpPr>
            <a:spLocks noEditPoints="1"/>
          </p:cNvSpPr>
          <p:nvPr/>
        </p:nvSpPr>
        <p:spPr bwMode="auto">
          <a:xfrm>
            <a:off x="8281670" y="2238375"/>
            <a:ext cx="431165" cy="495935"/>
          </a:xfrm>
          <a:custGeom>
            <a:avLst/>
            <a:gdLst>
              <a:gd name="T0" fmla="*/ 27 w 94"/>
              <a:gd name="T1" fmla="*/ 39 h 108"/>
              <a:gd name="T2" fmla="*/ 52 w 94"/>
              <a:gd name="T3" fmla="*/ 37 h 108"/>
              <a:gd name="T4" fmla="*/ 93 w 94"/>
              <a:gd name="T5" fmla="*/ 58 h 108"/>
              <a:gd name="T6" fmla="*/ 90 w 94"/>
              <a:gd name="T7" fmla="*/ 50 h 108"/>
              <a:gd name="T8" fmla="*/ 88 w 94"/>
              <a:gd name="T9" fmla="*/ 43 h 108"/>
              <a:gd name="T10" fmla="*/ 89 w 94"/>
              <a:gd name="T11" fmla="*/ 39 h 108"/>
              <a:gd name="T12" fmla="*/ 87 w 94"/>
              <a:gd name="T13" fmla="*/ 32 h 108"/>
              <a:gd name="T14" fmla="*/ 84 w 94"/>
              <a:gd name="T15" fmla="*/ 25 h 108"/>
              <a:gd name="T16" fmla="*/ 84 w 94"/>
              <a:gd name="T17" fmla="*/ 19 h 108"/>
              <a:gd name="T18" fmla="*/ 80 w 94"/>
              <a:gd name="T19" fmla="*/ 14 h 108"/>
              <a:gd name="T20" fmla="*/ 76 w 94"/>
              <a:gd name="T21" fmla="*/ 10 h 108"/>
              <a:gd name="T22" fmla="*/ 75 w 94"/>
              <a:gd name="T23" fmla="*/ 7 h 108"/>
              <a:gd name="T24" fmla="*/ 70 w 94"/>
              <a:gd name="T25" fmla="*/ 4 h 108"/>
              <a:gd name="T26" fmla="*/ 65 w 94"/>
              <a:gd name="T27" fmla="*/ 2 h 108"/>
              <a:gd name="T28" fmla="*/ 58 w 94"/>
              <a:gd name="T29" fmla="*/ 1 h 108"/>
              <a:gd name="T30" fmla="*/ 51 w 94"/>
              <a:gd name="T31" fmla="*/ 0 h 108"/>
              <a:gd name="T32" fmla="*/ 45 w 94"/>
              <a:gd name="T33" fmla="*/ 0 h 108"/>
              <a:gd name="T34" fmla="*/ 38 w 94"/>
              <a:gd name="T35" fmla="*/ 1 h 108"/>
              <a:gd name="T36" fmla="*/ 31 w 94"/>
              <a:gd name="T37" fmla="*/ 2 h 108"/>
              <a:gd name="T38" fmla="*/ 24 w 94"/>
              <a:gd name="T39" fmla="*/ 4 h 108"/>
              <a:gd name="T40" fmla="*/ 18 w 94"/>
              <a:gd name="T41" fmla="*/ 8 h 108"/>
              <a:gd name="T42" fmla="*/ 13 w 94"/>
              <a:gd name="T43" fmla="*/ 12 h 108"/>
              <a:gd name="T44" fmla="*/ 8 w 94"/>
              <a:gd name="T45" fmla="*/ 17 h 108"/>
              <a:gd name="T46" fmla="*/ 5 w 94"/>
              <a:gd name="T47" fmla="*/ 22 h 108"/>
              <a:gd name="T48" fmla="*/ 2 w 94"/>
              <a:gd name="T49" fmla="*/ 28 h 108"/>
              <a:gd name="T50" fmla="*/ 0 w 94"/>
              <a:gd name="T51" fmla="*/ 36 h 108"/>
              <a:gd name="T52" fmla="*/ 1 w 94"/>
              <a:gd name="T53" fmla="*/ 49 h 108"/>
              <a:gd name="T54" fmla="*/ 24 w 94"/>
              <a:gd name="T55" fmla="*/ 97 h 108"/>
              <a:gd name="T56" fmla="*/ 71 w 94"/>
              <a:gd name="T57" fmla="*/ 107 h 108"/>
              <a:gd name="T58" fmla="*/ 72 w 94"/>
              <a:gd name="T59" fmla="*/ 93 h 108"/>
              <a:gd name="T60" fmla="*/ 73 w 94"/>
              <a:gd name="T61" fmla="*/ 90 h 108"/>
              <a:gd name="T62" fmla="*/ 76 w 94"/>
              <a:gd name="T63" fmla="*/ 89 h 108"/>
              <a:gd name="T64" fmla="*/ 79 w 94"/>
              <a:gd name="T65" fmla="*/ 89 h 108"/>
              <a:gd name="T66" fmla="*/ 82 w 94"/>
              <a:gd name="T67" fmla="*/ 90 h 108"/>
              <a:gd name="T68" fmla="*/ 83 w 94"/>
              <a:gd name="T69" fmla="*/ 90 h 108"/>
              <a:gd name="T70" fmla="*/ 86 w 94"/>
              <a:gd name="T71" fmla="*/ 90 h 108"/>
              <a:gd name="T72" fmla="*/ 89 w 94"/>
              <a:gd name="T73" fmla="*/ 88 h 108"/>
              <a:gd name="T74" fmla="*/ 89 w 94"/>
              <a:gd name="T75" fmla="*/ 84 h 108"/>
              <a:gd name="T76" fmla="*/ 90 w 94"/>
              <a:gd name="T77" fmla="*/ 81 h 108"/>
              <a:gd name="T78" fmla="*/ 91 w 94"/>
              <a:gd name="T79" fmla="*/ 79 h 108"/>
              <a:gd name="T80" fmla="*/ 90 w 94"/>
              <a:gd name="T81" fmla="*/ 77 h 108"/>
              <a:gd name="T82" fmla="*/ 89 w 94"/>
              <a:gd name="T83" fmla="*/ 75 h 108"/>
              <a:gd name="T84" fmla="*/ 90 w 94"/>
              <a:gd name="T85" fmla="*/ 73 h 108"/>
              <a:gd name="T86" fmla="*/ 91 w 94"/>
              <a:gd name="T87" fmla="*/ 71 h 108"/>
              <a:gd name="T88" fmla="*/ 90 w 94"/>
              <a:gd name="T89" fmla="*/ 66 h 108"/>
              <a:gd name="T90" fmla="*/ 92 w 94"/>
              <a:gd name="T91" fmla="*/ 63 h 108"/>
              <a:gd name="T92" fmla="*/ 94 w 94"/>
              <a:gd name="T93" fmla="*/ 61 h 108"/>
              <a:gd name="T94" fmla="*/ 28 w 94"/>
              <a:gd name="T95" fmla="*/ 46 h 108"/>
              <a:gd name="T96" fmla="*/ 22 w 94"/>
              <a:gd name="T97" fmla="*/ 47 h 108"/>
              <a:gd name="T98" fmla="*/ 18 w 94"/>
              <a:gd name="T99" fmla="*/ 44 h 108"/>
              <a:gd name="T100" fmla="*/ 17 w 94"/>
              <a:gd name="T101" fmla="*/ 38 h 108"/>
              <a:gd name="T102" fmla="*/ 20 w 94"/>
              <a:gd name="T103" fmla="*/ 33 h 108"/>
              <a:gd name="T104" fmla="*/ 26 w 94"/>
              <a:gd name="T105" fmla="*/ 33 h 108"/>
              <a:gd name="T106" fmla="*/ 30 w 94"/>
              <a:gd name="T107" fmla="*/ 36 h 108"/>
              <a:gd name="T108" fmla="*/ 31 w 94"/>
              <a:gd name="T109" fmla="*/ 42 h 108"/>
              <a:gd name="T110" fmla="*/ 67 w 94"/>
              <a:gd name="T111" fmla="*/ 35 h 108"/>
              <a:gd name="T112" fmla="*/ 59 w 94"/>
              <a:gd name="T113" fmla="*/ 44 h 108"/>
              <a:gd name="T114" fmla="*/ 47 w 94"/>
              <a:gd name="T115" fmla="*/ 45 h 108"/>
              <a:gd name="T116" fmla="*/ 38 w 94"/>
              <a:gd name="T117" fmla="*/ 37 h 108"/>
              <a:gd name="T118" fmla="*/ 37 w 94"/>
              <a:gd name="T119" fmla="*/ 25 h 108"/>
              <a:gd name="T120" fmla="*/ 45 w 94"/>
              <a:gd name="T121" fmla="*/ 16 h 108"/>
              <a:gd name="T122" fmla="*/ 57 w 94"/>
              <a:gd name="T123" fmla="*/ 15 h 108"/>
              <a:gd name="T124" fmla="*/ 66 w 94"/>
              <a:gd name="T125" fmla="*/ 23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94" h="108">
                <a:moveTo>
                  <a:pt x="25" y="43"/>
                </a:moveTo>
                <a:cubicBezTo>
                  <a:pt x="23" y="43"/>
                  <a:pt x="22" y="42"/>
                  <a:pt x="21" y="41"/>
                </a:cubicBezTo>
                <a:cubicBezTo>
                  <a:pt x="21" y="39"/>
                  <a:pt x="22" y="37"/>
                  <a:pt x="23" y="37"/>
                </a:cubicBezTo>
                <a:cubicBezTo>
                  <a:pt x="25" y="36"/>
                  <a:pt x="27" y="37"/>
                  <a:pt x="27" y="39"/>
                </a:cubicBezTo>
                <a:cubicBezTo>
                  <a:pt x="28" y="41"/>
                  <a:pt x="27" y="43"/>
                  <a:pt x="25" y="43"/>
                </a:cubicBezTo>
                <a:close/>
                <a:moveTo>
                  <a:pt x="52" y="24"/>
                </a:moveTo>
                <a:cubicBezTo>
                  <a:pt x="48" y="24"/>
                  <a:pt x="45" y="26"/>
                  <a:pt x="45" y="30"/>
                </a:cubicBezTo>
                <a:cubicBezTo>
                  <a:pt x="45" y="34"/>
                  <a:pt x="48" y="37"/>
                  <a:pt x="52" y="37"/>
                </a:cubicBezTo>
                <a:cubicBezTo>
                  <a:pt x="56" y="37"/>
                  <a:pt x="59" y="34"/>
                  <a:pt x="59" y="30"/>
                </a:cubicBezTo>
                <a:cubicBezTo>
                  <a:pt x="59" y="26"/>
                  <a:pt x="56" y="24"/>
                  <a:pt x="52" y="24"/>
                </a:cubicBezTo>
                <a:close/>
                <a:moveTo>
                  <a:pt x="94" y="61"/>
                </a:moveTo>
                <a:cubicBezTo>
                  <a:pt x="93" y="58"/>
                  <a:pt x="93" y="58"/>
                  <a:pt x="93" y="58"/>
                </a:cubicBezTo>
                <a:cubicBezTo>
                  <a:pt x="92" y="56"/>
                  <a:pt x="92" y="56"/>
                  <a:pt x="92" y="56"/>
                </a:cubicBezTo>
                <a:cubicBezTo>
                  <a:pt x="92" y="54"/>
                  <a:pt x="92" y="54"/>
                  <a:pt x="92" y="54"/>
                </a:cubicBezTo>
                <a:cubicBezTo>
                  <a:pt x="91" y="52"/>
                  <a:pt x="91" y="52"/>
                  <a:pt x="91" y="52"/>
                </a:cubicBezTo>
                <a:cubicBezTo>
                  <a:pt x="90" y="50"/>
                  <a:pt x="90" y="50"/>
                  <a:pt x="90" y="50"/>
                </a:cubicBezTo>
                <a:cubicBezTo>
                  <a:pt x="89" y="48"/>
                  <a:pt x="89" y="48"/>
                  <a:pt x="89" y="48"/>
                </a:cubicBezTo>
                <a:cubicBezTo>
                  <a:pt x="89" y="46"/>
                  <a:pt x="89" y="46"/>
                  <a:pt x="89" y="46"/>
                </a:cubicBezTo>
                <a:cubicBezTo>
                  <a:pt x="88" y="44"/>
                  <a:pt x="88" y="44"/>
                  <a:pt x="88" y="44"/>
                </a:cubicBezTo>
                <a:cubicBezTo>
                  <a:pt x="88" y="43"/>
                  <a:pt x="88" y="43"/>
                  <a:pt x="88" y="43"/>
                </a:cubicBezTo>
                <a:cubicBezTo>
                  <a:pt x="89" y="43"/>
                  <a:pt x="89" y="43"/>
                  <a:pt x="89" y="43"/>
                </a:cubicBezTo>
                <a:cubicBezTo>
                  <a:pt x="89" y="42"/>
                  <a:pt x="89" y="42"/>
                  <a:pt x="89" y="42"/>
                </a:cubicBezTo>
                <a:cubicBezTo>
                  <a:pt x="89" y="41"/>
                  <a:pt x="89" y="41"/>
                  <a:pt x="89" y="41"/>
                </a:cubicBezTo>
                <a:cubicBezTo>
                  <a:pt x="89" y="39"/>
                  <a:pt x="89" y="39"/>
                  <a:pt x="89" y="39"/>
                </a:cubicBezTo>
                <a:cubicBezTo>
                  <a:pt x="89" y="37"/>
                  <a:pt x="89" y="37"/>
                  <a:pt x="89" y="37"/>
                </a:cubicBezTo>
                <a:cubicBezTo>
                  <a:pt x="88" y="36"/>
                  <a:pt x="88" y="36"/>
                  <a:pt x="88" y="36"/>
                </a:cubicBezTo>
                <a:cubicBezTo>
                  <a:pt x="87" y="34"/>
                  <a:pt x="87" y="34"/>
                  <a:pt x="87" y="34"/>
                </a:cubicBezTo>
                <a:cubicBezTo>
                  <a:pt x="87" y="32"/>
                  <a:pt x="87" y="32"/>
                  <a:pt x="87" y="32"/>
                </a:cubicBezTo>
                <a:cubicBezTo>
                  <a:pt x="86" y="30"/>
                  <a:pt x="86" y="30"/>
                  <a:pt x="86" y="30"/>
                </a:cubicBezTo>
                <a:cubicBezTo>
                  <a:pt x="86" y="29"/>
                  <a:pt x="86" y="29"/>
                  <a:pt x="86" y="29"/>
                </a:cubicBezTo>
                <a:cubicBezTo>
                  <a:pt x="85" y="27"/>
                  <a:pt x="85" y="27"/>
                  <a:pt x="85" y="27"/>
                </a:cubicBezTo>
                <a:cubicBezTo>
                  <a:pt x="84" y="25"/>
                  <a:pt x="84" y="25"/>
                  <a:pt x="84" y="25"/>
                </a:cubicBezTo>
                <a:cubicBezTo>
                  <a:pt x="83" y="24"/>
                  <a:pt x="83" y="24"/>
                  <a:pt x="83" y="24"/>
                </a:cubicBezTo>
                <a:cubicBezTo>
                  <a:pt x="83" y="22"/>
                  <a:pt x="83" y="22"/>
                  <a:pt x="83" y="22"/>
                </a:cubicBezTo>
                <a:cubicBezTo>
                  <a:pt x="85" y="21"/>
                  <a:pt x="85" y="21"/>
                  <a:pt x="85" y="21"/>
                </a:cubicBezTo>
                <a:cubicBezTo>
                  <a:pt x="84" y="19"/>
                  <a:pt x="84" y="19"/>
                  <a:pt x="84" y="19"/>
                </a:cubicBezTo>
                <a:cubicBezTo>
                  <a:pt x="83" y="18"/>
                  <a:pt x="83" y="18"/>
                  <a:pt x="83" y="18"/>
                </a:cubicBezTo>
                <a:cubicBezTo>
                  <a:pt x="82" y="16"/>
                  <a:pt x="82" y="16"/>
                  <a:pt x="82" y="16"/>
                </a:cubicBezTo>
                <a:cubicBezTo>
                  <a:pt x="81" y="15"/>
                  <a:pt x="81" y="15"/>
                  <a:pt x="81" y="15"/>
                </a:cubicBezTo>
                <a:cubicBezTo>
                  <a:pt x="80" y="14"/>
                  <a:pt x="80" y="14"/>
                  <a:pt x="80" y="14"/>
                </a:cubicBezTo>
                <a:cubicBezTo>
                  <a:pt x="79" y="13"/>
                  <a:pt x="79" y="13"/>
                  <a:pt x="79" y="13"/>
                </a:cubicBezTo>
                <a:cubicBezTo>
                  <a:pt x="78" y="12"/>
                  <a:pt x="78" y="12"/>
                  <a:pt x="78" y="12"/>
                </a:cubicBezTo>
                <a:cubicBezTo>
                  <a:pt x="77" y="11"/>
                  <a:pt x="77" y="11"/>
                  <a:pt x="77" y="11"/>
                </a:cubicBezTo>
                <a:cubicBezTo>
                  <a:pt x="76" y="10"/>
                  <a:pt x="76" y="10"/>
                  <a:pt x="76" y="10"/>
                </a:cubicBezTo>
                <a:cubicBezTo>
                  <a:pt x="79" y="9"/>
                  <a:pt x="79" y="9"/>
                  <a:pt x="79" y="9"/>
                </a:cubicBezTo>
                <a:cubicBezTo>
                  <a:pt x="78" y="8"/>
                  <a:pt x="78" y="8"/>
                  <a:pt x="78" y="8"/>
                </a:cubicBezTo>
                <a:cubicBezTo>
                  <a:pt x="76" y="7"/>
                  <a:pt x="76" y="7"/>
                  <a:pt x="76" y="7"/>
                </a:cubicBezTo>
                <a:cubicBezTo>
                  <a:pt x="75" y="7"/>
                  <a:pt x="75" y="7"/>
                  <a:pt x="75" y="7"/>
                </a:cubicBezTo>
                <a:cubicBezTo>
                  <a:pt x="74" y="6"/>
                  <a:pt x="74" y="6"/>
                  <a:pt x="74" y="6"/>
                </a:cubicBezTo>
                <a:cubicBezTo>
                  <a:pt x="73" y="5"/>
                  <a:pt x="73" y="5"/>
                  <a:pt x="73" y="5"/>
                </a:cubicBezTo>
                <a:cubicBezTo>
                  <a:pt x="72" y="5"/>
                  <a:pt x="72" y="5"/>
                  <a:pt x="72" y="5"/>
                </a:cubicBezTo>
                <a:cubicBezTo>
                  <a:pt x="70" y="4"/>
                  <a:pt x="70" y="4"/>
                  <a:pt x="70" y="4"/>
                </a:cubicBezTo>
                <a:cubicBezTo>
                  <a:pt x="69" y="4"/>
                  <a:pt x="69" y="4"/>
                  <a:pt x="69" y="4"/>
                </a:cubicBezTo>
                <a:cubicBezTo>
                  <a:pt x="68" y="3"/>
                  <a:pt x="68" y="3"/>
                  <a:pt x="68" y="3"/>
                </a:cubicBezTo>
                <a:cubicBezTo>
                  <a:pt x="66" y="3"/>
                  <a:pt x="66" y="3"/>
                  <a:pt x="66" y="3"/>
                </a:cubicBezTo>
                <a:cubicBezTo>
                  <a:pt x="65" y="2"/>
                  <a:pt x="65" y="2"/>
                  <a:pt x="65" y="2"/>
                </a:cubicBezTo>
                <a:cubicBezTo>
                  <a:pt x="63" y="2"/>
                  <a:pt x="63" y="2"/>
                  <a:pt x="63" y="2"/>
                </a:cubicBezTo>
                <a:cubicBezTo>
                  <a:pt x="61" y="1"/>
                  <a:pt x="61" y="1"/>
                  <a:pt x="61" y="1"/>
                </a:cubicBezTo>
                <a:cubicBezTo>
                  <a:pt x="60" y="1"/>
                  <a:pt x="60" y="1"/>
                  <a:pt x="60" y="1"/>
                </a:cubicBezTo>
                <a:cubicBezTo>
                  <a:pt x="58" y="1"/>
                  <a:pt x="58" y="1"/>
                  <a:pt x="58" y="1"/>
                </a:cubicBezTo>
                <a:cubicBezTo>
                  <a:pt x="56" y="0"/>
                  <a:pt x="56" y="0"/>
                  <a:pt x="56" y="0"/>
                </a:cubicBezTo>
                <a:cubicBezTo>
                  <a:pt x="55" y="0"/>
                  <a:pt x="55" y="0"/>
                  <a:pt x="55" y="0"/>
                </a:cubicBezTo>
                <a:cubicBezTo>
                  <a:pt x="53" y="0"/>
                  <a:pt x="53" y="0"/>
                  <a:pt x="53" y="0"/>
                </a:cubicBezTo>
                <a:cubicBezTo>
                  <a:pt x="51" y="0"/>
                  <a:pt x="51" y="0"/>
                  <a:pt x="51" y="0"/>
                </a:cubicBezTo>
                <a:cubicBezTo>
                  <a:pt x="50" y="0"/>
                  <a:pt x="50" y="0"/>
                  <a:pt x="50" y="0"/>
                </a:cubicBezTo>
                <a:cubicBezTo>
                  <a:pt x="48" y="0"/>
                  <a:pt x="48" y="0"/>
                  <a:pt x="48" y="0"/>
                </a:cubicBezTo>
                <a:cubicBezTo>
                  <a:pt x="46" y="0"/>
                  <a:pt x="46" y="0"/>
                  <a:pt x="46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43" y="0"/>
                  <a:pt x="43" y="0"/>
                  <a:pt x="43" y="0"/>
                </a:cubicBezTo>
                <a:cubicBezTo>
                  <a:pt x="41" y="0"/>
                  <a:pt x="41" y="0"/>
                  <a:pt x="41" y="0"/>
                </a:cubicBezTo>
                <a:cubicBezTo>
                  <a:pt x="40" y="0"/>
                  <a:pt x="40" y="0"/>
                  <a:pt x="40" y="0"/>
                </a:cubicBezTo>
                <a:cubicBezTo>
                  <a:pt x="38" y="1"/>
                  <a:pt x="38" y="1"/>
                  <a:pt x="38" y="1"/>
                </a:cubicBezTo>
                <a:cubicBezTo>
                  <a:pt x="36" y="1"/>
                  <a:pt x="36" y="1"/>
                  <a:pt x="36" y="1"/>
                </a:cubicBezTo>
                <a:cubicBezTo>
                  <a:pt x="35" y="1"/>
                  <a:pt x="35" y="1"/>
                  <a:pt x="35" y="1"/>
                </a:cubicBezTo>
                <a:cubicBezTo>
                  <a:pt x="33" y="2"/>
                  <a:pt x="33" y="2"/>
                  <a:pt x="33" y="2"/>
                </a:cubicBezTo>
                <a:cubicBezTo>
                  <a:pt x="31" y="2"/>
                  <a:pt x="31" y="2"/>
                  <a:pt x="31" y="2"/>
                </a:cubicBezTo>
                <a:cubicBezTo>
                  <a:pt x="29" y="3"/>
                  <a:pt x="29" y="3"/>
                  <a:pt x="29" y="3"/>
                </a:cubicBezTo>
                <a:cubicBezTo>
                  <a:pt x="28" y="3"/>
                  <a:pt x="28" y="3"/>
                  <a:pt x="28" y="3"/>
                </a:cubicBezTo>
                <a:cubicBezTo>
                  <a:pt x="26" y="4"/>
                  <a:pt x="26" y="4"/>
                  <a:pt x="26" y="4"/>
                </a:cubicBezTo>
                <a:cubicBezTo>
                  <a:pt x="24" y="4"/>
                  <a:pt x="24" y="4"/>
                  <a:pt x="24" y="4"/>
                </a:cubicBezTo>
                <a:cubicBezTo>
                  <a:pt x="23" y="5"/>
                  <a:pt x="23" y="5"/>
                  <a:pt x="23" y="5"/>
                </a:cubicBezTo>
                <a:cubicBezTo>
                  <a:pt x="21" y="6"/>
                  <a:pt x="21" y="6"/>
                  <a:pt x="21" y="6"/>
                </a:cubicBezTo>
                <a:cubicBezTo>
                  <a:pt x="20" y="7"/>
                  <a:pt x="20" y="7"/>
                  <a:pt x="20" y="7"/>
                </a:cubicBezTo>
                <a:cubicBezTo>
                  <a:pt x="18" y="8"/>
                  <a:pt x="18" y="8"/>
                  <a:pt x="18" y="8"/>
                </a:cubicBezTo>
                <a:cubicBezTo>
                  <a:pt x="17" y="9"/>
                  <a:pt x="17" y="9"/>
                  <a:pt x="17" y="9"/>
                </a:cubicBezTo>
                <a:cubicBezTo>
                  <a:pt x="15" y="10"/>
                  <a:pt x="15" y="10"/>
                  <a:pt x="15" y="10"/>
                </a:cubicBezTo>
                <a:cubicBezTo>
                  <a:pt x="14" y="11"/>
                  <a:pt x="14" y="11"/>
                  <a:pt x="14" y="11"/>
                </a:cubicBezTo>
                <a:cubicBezTo>
                  <a:pt x="13" y="12"/>
                  <a:pt x="13" y="12"/>
                  <a:pt x="13" y="12"/>
                </a:cubicBezTo>
                <a:cubicBezTo>
                  <a:pt x="12" y="13"/>
                  <a:pt x="12" y="13"/>
                  <a:pt x="12" y="13"/>
                </a:cubicBezTo>
                <a:cubicBezTo>
                  <a:pt x="10" y="14"/>
                  <a:pt x="10" y="14"/>
                  <a:pt x="10" y="14"/>
                </a:cubicBezTo>
                <a:cubicBezTo>
                  <a:pt x="9" y="15"/>
                  <a:pt x="9" y="15"/>
                  <a:pt x="9" y="15"/>
                </a:cubicBezTo>
                <a:cubicBezTo>
                  <a:pt x="8" y="17"/>
                  <a:pt x="8" y="17"/>
                  <a:pt x="8" y="17"/>
                </a:cubicBezTo>
                <a:cubicBezTo>
                  <a:pt x="7" y="18"/>
                  <a:pt x="7" y="18"/>
                  <a:pt x="7" y="18"/>
                </a:cubicBezTo>
                <a:cubicBezTo>
                  <a:pt x="6" y="19"/>
                  <a:pt x="6" y="19"/>
                  <a:pt x="6" y="19"/>
                </a:cubicBezTo>
                <a:cubicBezTo>
                  <a:pt x="5" y="21"/>
                  <a:pt x="5" y="21"/>
                  <a:pt x="5" y="21"/>
                </a:cubicBezTo>
                <a:cubicBezTo>
                  <a:pt x="5" y="22"/>
                  <a:pt x="5" y="22"/>
                  <a:pt x="5" y="22"/>
                </a:cubicBezTo>
                <a:cubicBezTo>
                  <a:pt x="4" y="24"/>
                  <a:pt x="4" y="24"/>
                  <a:pt x="4" y="24"/>
                </a:cubicBezTo>
                <a:cubicBezTo>
                  <a:pt x="3" y="25"/>
                  <a:pt x="3" y="25"/>
                  <a:pt x="3" y="25"/>
                </a:cubicBezTo>
                <a:cubicBezTo>
                  <a:pt x="3" y="27"/>
                  <a:pt x="3" y="27"/>
                  <a:pt x="3" y="27"/>
                </a:cubicBezTo>
                <a:cubicBezTo>
                  <a:pt x="2" y="28"/>
                  <a:pt x="2" y="28"/>
                  <a:pt x="2" y="28"/>
                </a:cubicBezTo>
                <a:cubicBezTo>
                  <a:pt x="2" y="30"/>
                  <a:pt x="2" y="30"/>
                  <a:pt x="2" y="30"/>
                </a:cubicBezTo>
                <a:cubicBezTo>
                  <a:pt x="1" y="31"/>
                  <a:pt x="1" y="31"/>
                  <a:pt x="1" y="31"/>
                </a:cubicBezTo>
                <a:cubicBezTo>
                  <a:pt x="1" y="33"/>
                  <a:pt x="1" y="33"/>
                  <a:pt x="1" y="33"/>
                </a:cubicBezTo>
                <a:cubicBezTo>
                  <a:pt x="0" y="36"/>
                  <a:pt x="0" y="36"/>
                  <a:pt x="0" y="36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6"/>
                  <a:pt x="1" y="46"/>
                  <a:pt x="1" y="46"/>
                </a:cubicBezTo>
                <a:cubicBezTo>
                  <a:pt x="1" y="49"/>
                  <a:pt x="1" y="49"/>
                  <a:pt x="1" y="49"/>
                </a:cubicBezTo>
                <a:cubicBezTo>
                  <a:pt x="2" y="52"/>
                  <a:pt x="2" y="52"/>
                  <a:pt x="2" y="52"/>
                </a:cubicBezTo>
                <a:cubicBezTo>
                  <a:pt x="3" y="56"/>
                  <a:pt x="3" y="56"/>
                  <a:pt x="3" y="56"/>
                </a:cubicBezTo>
                <a:cubicBezTo>
                  <a:pt x="11" y="69"/>
                  <a:pt x="11" y="69"/>
                  <a:pt x="11" y="69"/>
                </a:cubicBezTo>
                <a:cubicBezTo>
                  <a:pt x="25" y="83"/>
                  <a:pt x="24" y="97"/>
                  <a:pt x="24" y="97"/>
                </a:cubicBezTo>
                <a:cubicBezTo>
                  <a:pt x="24" y="100"/>
                  <a:pt x="24" y="100"/>
                  <a:pt x="24" y="100"/>
                </a:cubicBezTo>
                <a:cubicBezTo>
                  <a:pt x="24" y="108"/>
                  <a:pt x="24" y="108"/>
                  <a:pt x="24" y="108"/>
                </a:cubicBezTo>
                <a:cubicBezTo>
                  <a:pt x="71" y="108"/>
                  <a:pt x="71" y="108"/>
                  <a:pt x="71" y="108"/>
                </a:cubicBezTo>
                <a:cubicBezTo>
                  <a:pt x="71" y="107"/>
                  <a:pt x="71" y="107"/>
                  <a:pt x="71" y="107"/>
                </a:cubicBezTo>
                <a:cubicBezTo>
                  <a:pt x="71" y="105"/>
                  <a:pt x="71" y="105"/>
                  <a:pt x="71" y="105"/>
                </a:cubicBezTo>
                <a:cubicBezTo>
                  <a:pt x="71" y="102"/>
                  <a:pt x="71" y="102"/>
                  <a:pt x="71" y="102"/>
                </a:cubicBezTo>
                <a:cubicBezTo>
                  <a:pt x="72" y="96"/>
                  <a:pt x="72" y="96"/>
                  <a:pt x="72" y="96"/>
                </a:cubicBezTo>
                <a:cubicBezTo>
                  <a:pt x="72" y="93"/>
                  <a:pt x="72" y="93"/>
                  <a:pt x="72" y="93"/>
                </a:cubicBezTo>
                <a:cubicBezTo>
                  <a:pt x="72" y="92"/>
                  <a:pt x="72" y="92"/>
                  <a:pt x="72" y="92"/>
                </a:cubicBezTo>
                <a:cubicBezTo>
                  <a:pt x="72" y="91"/>
                  <a:pt x="72" y="91"/>
                  <a:pt x="72" y="91"/>
                </a:cubicBezTo>
                <a:cubicBezTo>
                  <a:pt x="73" y="91"/>
                  <a:pt x="73" y="91"/>
                  <a:pt x="73" y="91"/>
                </a:cubicBezTo>
                <a:cubicBezTo>
                  <a:pt x="73" y="90"/>
                  <a:pt x="73" y="90"/>
                  <a:pt x="73" y="90"/>
                </a:cubicBezTo>
                <a:cubicBezTo>
                  <a:pt x="74" y="90"/>
                  <a:pt x="74" y="90"/>
                  <a:pt x="74" y="90"/>
                </a:cubicBezTo>
                <a:cubicBezTo>
                  <a:pt x="74" y="90"/>
                  <a:pt x="74" y="90"/>
                  <a:pt x="74" y="90"/>
                </a:cubicBezTo>
                <a:cubicBezTo>
                  <a:pt x="75" y="90"/>
                  <a:pt x="75" y="90"/>
                  <a:pt x="75" y="90"/>
                </a:cubicBezTo>
                <a:cubicBezTo>
                  <a:pt x="76" y="89"/>
                  <a:pt x="76" y="89"/>
                  <a:pt x="76" y="89"/>
                </a:cubicBezTo>
                <a:cubicBezTo>
                  <a:pt x="77" y="89"/>
                  <a:pt x="77" y="89"/>
                  <a:pt x="77" y="89"/>
                </a:cubicBezTo>
                <a:cubicBezTo>
                  <a:pt x="78" y="89"/>
                  <a:pt x="78" y="89"/>
                  <a:pt x="78" y="89"/>
                </a:cubicBezTo>
                <a:cubicBezTo>
                  <a:pt x="78" y="89"/>
                  <a:pt x="78" y="89"/>
                  <a:pt x="78" y="89"/>
                </a:cubicBezTo>
                <a:cubicBezTo>
                  <a:pt x="79" y="89"/>
                  <a:pt x="79" y="89"/>
                  <a:pt x="79" y="89"/>
                </a:cubicBezTo>
                <a:cubicBezTo>
                  <a:pt x="80" y="89"/>
                  <a:pt x="80" y="89"/>
                  <a:pt x="80" y="89"/>
                </a:cubicBezTo>
                <a:cubicBezTo>
                  <a:pt x="81" y="90"/>
                  <a:pt x="81" y="90"/>
                  <a:pt x="81" y="90"/>
                </a:cubicBezTo>
                <a:cubicBezTo>
                  <a:pt x="81" y="90"/>
                  <a:pt x="81" y="90"/>
                  <a:pt x="81" y="90"/>
                </a:cubicBezTo>
                <a:cubicBezTo>
                  <a:pt x="82" y="90"/>
                  <a:pt x="82" y="90"/>
                  <a:pt x="82" y="90"/>
                </a:cubicBezTo>
                <a:cubicBezTo>
                  <a:pt x="83" y="90"/>
                  <a:pt x="83" y="90"/>
                  <a:pt x="83" y="90"/>
                </a:cubicBezTo>
                <a:cubicBezTo>
                  <a:pt x="81" y="90"/>
                  <a:pt x="81" y="90"/>
                  <a:pt x="81" y="90"/>
                </a:cubicBezTo>
                <a:cubicBezTo>
                  <a:pt x="82" y="90"/>
                  <a:pt x="82" y="90"/>
                  <a:pt x="82" y="90"/>
                </a:cubicBezTo>
                <a:cubicBezTo>
                  <a:pt x="83" y="90"/>
                  <a:pt x="83" y="90"/>
                  <a:pt x="83" y="90"/>
                </a:cubicBezTo>
                <a:cubicBezTo>
                  <a:pt x="84" y="90"/>
                  <a:pt x="84" y="90"/>
                  <a:pt x="84" y="90"/>
                </a:cubicBezTo>
                <a:cubicBezTo>
                  <a:pt x="85" y="90"/>
                  <a:pt x="85" y="90"/>
                  <a:pt x="85" y="90"/>
                </a:cubicBezTo>
                <a:cubicBezTo>
                  <a:pt x="86" y="90"/>
                  <a:pt x="86" y="90"/>
                  <a:pt x="86" y="90"/>
                </a:cubicBezTo>
                <a:cubicBezTo>
                  <a:pt x="86" y="90"/>
                  <a:pt x="86" y="90"/>
                  <a:pt x="86" y="90"/>
                </a:cubicBezTo>
                <a:cubicBezTo>
                  <a:pt x="87" y="89"/>
                  <a:pt x="87" y="89"/>
                  <a:pt x="87" y="89"/>
                </a:cubicBezTo>
                <a:cubicBezTo>
                  <a:pt x="88" y="89"/>
                  <a:pt x="88" y="89"/>
                  <a:pt x="88" y="89"/>
                </a:cubicBezTo>
                <a:cubicBezTo>
                  <a:pt x="88" y="88"/>
                  <a:pt x="88" y="88"/>
                  <a:pt x="88" y="88"/>
                </a:cubicBezTo>
                <a:cubicBezTo>
                  <a:pt x="89" y="88"/>
                  <a:pt x="89" y="88"/>
                  <a:pt x="89" y="88"/>
                </a:cubicBezTo>
                <a:cubicBezTo>
                  <a:pt x="89" y="87"/>
                  <a:pt x="89" y="87"/>
                  <a:pt x="89" y="87"/>
                </a:cubicBezTo>
                <a:cubicBezTo>
                  <a:pt x="89" y="86"/>
                  <a:pt x="89" y="86"/>
                  <a:pt x="89" y="86"/>
                </a:cubicBezTo>
                <a:cubicBezTo>
                  <a:pt x="89" y="85"/>
                  <a:pt x="89" y="85"/>
                  <a:pt x="89" y="85"/>
                </a:cubicBezTo>
                <a:cubicBezTo>
                  <a:pt x="89" y="84"/>
                  <a:pt x="89" y="84"/>
                  <a:pt x="89" y="84"/>
                </a:cubicBezTo>
                <a:cubicBezTo>
                  <a:pt x="89" y="82"/>
                  <a:pt x="89" y="82"/>
                  <a:pt x="89" y="82"/>
                </a:cubicBezTo>
                <a:cubicBezTo>
                  <a:pt x="89" y="82"/>
                  <a:pt x="89" y="82"/>
                  <a:pt x="89" y="82"/>
                </a:cubicBezTo>
                <a:cubicBezTo>
                  <a:pt x="89" y="81"/>
                  <a:pt x="89" y="81"/>
                  <a:pt x="89" y="81"/>
                </a:cubicBezTo>
                <a:cubicBezTo>
                  <a:pt x="90" y="81"/>
                  <a:pt x="90" y="81"/>
                  <a:pt x="90" y="81"/>
                </a:cubicBezTo>
                <a:cubicBezTo>
                  <a:pt x="90" y="80"/>
                  <a:pt x="90" y="80"/>
                  <a:pt x="90" y="80"/>
                </a:cubicBezTo>
                <a:cubicBezTo>
                  <a:pt x="90" y="80"/>
                  <a:pt x="90" y="80"/>
                  <a:pt x="90" y="80"/>
                </a:cubicBezTo>
                <a:cubicBezTo>
                  <a:pt x="90" y="79"/>
                  <a:pt x="90" y="79"/>
                  <a:pt x="90" y="79"/>
                </a:cubicBezTo>
                <a:cubicBezTo>
                  <a:pt x="91" y="79"/>
                  <a:pt x="91" y="79"/>
                  <a:pt x="91" y="79"/>
                </a:cubicBezTo>
                <a:cubicBezTo>
                  <a:pt x="91" y="78"/>
                  <a:pt x="91" y="78"/>
                  <a:pt x="91" y="78"/>
                </a:cubicBezTo>
                <a:cubicBezTo>
                  <a:pt x="91" y="78"/>
                  <a:pt x="91" y="78"/>
                  <a:pt x="91" y="78"/>
                </a:cubicBezTo>
                <a:cubicBezTo>
                  <a:pt x="91" y="77"/>
                  <a:pt x="91" y="77"/>
                  <a:pt x="91" y="77"/>
                </a:cubicBezTo>
                <a:cubicBezTo>
                  <a:pt x="90" y="77"/>
                  <a:pt x="90" y="77"/>
                  <a:pt x="90" y="77"/>
                </a:cubicBezTo>
                <a:cubicBezTo>
                  <a:pt x="90" y="76"/>
                  <a:pt x="90" y="76"/>
                  <a:pt x="90" y="76"/>
                </a:cubicBezTo>
                <a:cubicBezTo>
                  <a:pt x="90" y="76"/>
                  <a:pt x="90" y="76"/>
                  <a:pt x="90" y="76"/>
                </a:cubicBezTo>
                <a:cubicBezTo>
                  <a:pt x="89" y="75"/>
                  <a:pt x="89" y="75"/>
                  <a:pt x="89" y="75"/>
                </a:cubicBezTo>
                <a:cubicBezTo>
                  <a:pt x="89" y="75"/>
                  <a:pt x="89" y="75"/>
                  <a:pt x="89" y="75"/>
                </a:cubicBezTo>
                <a:cubicBezTo>
                  <a:pt x="88" y="75"/>
                  <a:pt x="88" y="75"/>
                  <a:pt x="88" y="75"/>
                </a:cubicBezTo>
                <a:cubicBezTo>
                  <a:pt x="89" y="74"/>
                  <a:pt x="89" y="74"/>
                  <a:pt x="89" y="74"/>
                </a:cubicBezTo>
                <a:cubicBezTo>
                  <a:pt x="89" y="74"/>
                  <a:pt x="89" y="74"/>
                  <a:pt x="89" y="74"/>
                </a:cubicBezTo>
                <a:cubicBezTo>
                  <a:pt x="90" y="73"/>
                  <a:pt x="90" y="73"/>
                  <a:pt x="90" y="73"/>
                </a:cubicBezTo>
                <a:cubicBezTo>
                  <a:pt x="90" y="73"/>
                  <a:pt x="90" y="73"/>
                  <a:pt x="90" y="73"/>
                </a:cubicBezTo>
                <a:cubicBezTo>
                  <a:pt x="91" y="72"/>
                  <a:pt x="91" y="72"/>
                  <a:pt x="91" y="72"/>
                </a:cubicBezTo>
                <a:cubicBezTo>
                  <a:pt x="91" y="72"/>
                  <a:pt x="91" y="72"/>
                  <a:pt x="91" y="72"/>
                </a:cubicBezTo>
                <a:cubicBezTo>
                  <a:pt x="91" y="71"/>
                  <a:pt x="91" y="71"/>
                  <a:pt x="91" y="71"/>
                </a:cubicBezTo>
                <a:cubicBezTo>
                  <a:pt x="91" y="71"/>
                  <a:pt x="91" y="71"/>
                  <a:pt x="91" y="71"/>
                </a:cubicBezTo>
                <a:cubicBezTo>
                  <a:pt x="90" y="69"/>
                  <a:pt x="90" y="69"/>
                  <a:pt x="90" y="69"/>
                </a:cubicBezTo>
                <a:cubicBezTo>
                  <a:pt x="90" y="67"/>
                  <a:pt x="90" y="67"/>
                  <a:pt x="90" y="67"/>
                </a:cubicBezTo>
                <a:cubicBezTo>
                  <a:pt x="90" y="66"/>
                  <a:pt x="90" y="66"/>
                  <a:pt x="90" y="66"/>
                </a:cubicBezTo>
                <a:cubicBezTo>
                  <a:pt x="90" y="64"/>
                  <a:pt x="90" y="64"/>
                  <a:pt x="90" y="64"/>
                </a:cubicBezTo>
                <a:cubicBezTo>
                  <a:pt x="91" y="64"/>
                  <a:pt x="91" y="64"/>
                  <a:pt x="91" y="64"/>
                </a:cubicBezTo>
                <a:cubicBezTo>
                  <a:pt x="92" y="63"/>
                  <a:pt x="92" y="63"/>
                  <a:pt x="92" y="63"/>
                </a:cubicBezTo>
                <a:cubicBezTo>
                  <a:pt x="92" y="63"/>
                  <a:pt x="92" y="63"/>
                  <a:pt x="92" y="63"/>
                </a:cubicBezTo>
                <a:cubicBezTo>
                  <a:pt x="93" y="63"/>
                  <a:pt x="93" y="63"/>
                  <a:pt x="93" y="63"/>
                </a:cubicBezTo>
                <a:cubicBezTo>
                  <a:pt x="93" y="62"/>
                  <a:pt x="93" y="62"/>
                  <a:pt x="93" y="62"/>
                </a:cubicBezTo>
                <a:cubicBezTo>
                  <a:pt x="94" y="62"/>
                  <a:pt x="94" y="62"/>
                  <a:pt x="94" y="62"/>
                </a:cubicBezTo>
                <a:cubicBezTo>
                  <a:pt x="94" y="61"/>
                  <a:pt x="94" y="61"/>
                  <a:pt x="94" y="61"/>
                </a:cubicBezTo>
                <a:close/>
                <a:moveTo>
                  <a:pt x="33" y="44"/>
                </a:moveTo>
                <a:cubicBezTo>
                  <a:pt x="32" y="46"/>
                  <a:pt x="32" y="46"/>
                  <a:pt x="32" y="46"/>
                </a:cubicBezTo>
                <a:cubicBezTo>
                  <a:pt x="32" y="46"/>
                  <a:pt x="29" y="46"/>
                  <a:pt x="29" y="46"/>
                </a:cubicBezTo>
                <a:cubicBezTo>
                  <a:pt x="28" y="46"/>
                  <a:pt x="28" y="46"/>
                  <a:pt x="28" y="46"/>
                </a:cubicBezTo>
                <a:cubicBezTo>
                  <a:pt x="28" y="46"/>
                  <a:pt x="28" y="49"/>
                  <a:pt x="28" y="49"/>
                </a:cubicBezTo>
                <a:cubicBezTo>
                  <a:pt x="25" y="50"/>
                  <a:pt x="25" y="50"/>
                  <a:pt x="25" y="50"/>
                </a:cubicBezTo>
                <a:cubicBezTo>
                  <a:pt x="25" y="50"/>
                  <a:pt x="24" y="47"/>
                  <a:pt x="24" y="47"/>
                </a:cubicBezTo>
                <a:cubicBezTo>
                  <a:pt x="22" y="47"/>
                  <a:pt x="22" y="47"/>
                  <a:pt x="22" y="47"/>
                </a:cubicBezTo>
                <a:cubicBezTo>
                  <a:pt x="22" y="47"/>
                  <a:pt x="20" y="49"/>
                  <a:pt x="20" y="49"/>
                </a:cubicBezTo>
                <a:cubicBezTo>
                  <a:pt x="18" y="48"/>
                  <a:pt x="18" y="48"/>
                  <a:pt x="18" y="48"/>
                </a:cubicBezTo>
                <a:cubicBezTo>
                  <a:pt x="18" y="48"/>
                  <a:pt x="19" y="45"/>
                  <a:pt x="19" y="45"/>
                </a:cubicBezTo>
                <a:cubicBezTo>
                  <a:pt x="18" y="44"/>
                  <a:pt x="18" y="44"/>
                  <a:pt x="18" y="44"/>
                </a:cubicBezTo>
                <a:cubicBezTo>
                  <a:pt x="18" y="44"/>
                  <a:pt x="15" y="43"/>
                  <a:pt x="15" y="43"/>
                </a:cubicBezTo>
                <a:cubicBezTo>
                  <a:pt x="14" y="41"/>
                  <a:pt x="14" y="41"/>
                  <a:pt x="14" y="41"/>
                </a:cubicBezTo>
                <a:cubicBezTo>
                  <a:pt x="14" y="41"/>
                  <a:pt x="17" y="39"/>
                  <a:pt x="17" y="39"/>
                </a:cubicBezTo>
                <a:cubicBezTo>
                  <a:pt x="17" y="38"/>
                  <a:pt x="17" y="38"/>
                  <a:pt x="17" y="38"/>
                </a:cubicBezTo>
                <a:cubicBezTo>
                  <a:pt x="17" y="38"/>
                  <a:pt x="15" y="36"/>
                  <a:pt x="15" y="36"/>
                </a:cubicBezTo>
                <a:cubicBezTo>
                  <a:pt x="16" y="34"/>
                  <a:pt x="16" y="34"/>
                  <a:pt x="16" y="34"/>
                </a:cubicBezTo>
                <a:cubicBezTo>
                  <a:pt x="16" y="34"/>
                  <a:pt x="19" y="34"/>
                  <a:pt x="19" y="34"/>
                </a:cubicBezTo>
                <a:cubicBezTo>
                  <a:pt x="20" y="33"/>
                  <a:pt x="20" y="33"/>
                  <a:pt x="20" y="33"/>
                </a:cubicBezTo>
                <a:cubicBezTo>
                  <a:pt x="20" y="33"/>
                  <a:pt x="21" y="31"/>
                  <a:pt x="21" y="31"/>
                </a:cubicBezTo>
                <a:cubicBezTo>
                  <a:pt x="23" y="30"/>
                  <a:pt x="23" y="30"/>
                  <a:pt x="23" y="30"/>
                </a:cubicBezTo>
                <a:cubicBezTo>
                  <a:pt x="23" y="30"/>
                  <a:pt x="25" y="32"/>
                  <a:pt x="25" y="32"/>
                </a:cubicBezTo>
                <a:cubicBezTo>
                  <a:pt x="26" y="33"/>
                  <a:pt x="26" y="33"/>
                  <a:pt x="26" y="33"/>
                </a:cubicBezTo>
                <a:cubicBezTo>
                  <a:pt x="26" y="33"/>
                  <a:pt x="28" y="31"/>
                  <a:pt x="28" y="31"/>
                </a:cubicBezTo>
                <a:cubicBezTo>
                  <a:pt x="30" y="32"/>
                  <a:pt x="30" y="32"/>
                  <a:pt x="30" y="32"/>
                </a:cubicBezTo>
                <a:cubicBezTo>
                  <a:pt x="30" y="32"/>
                  <a:pt x="30" y="35"/>
                  <a:pt x="30" y="35"/>
                </a:cubicBezTo>
                <a:cubicBezTo>
                  <a:pt x="30" y="36"/>
                  <a:pt x="30" y="36"/>
                  <a:pt x="30" y="36"/>
                </a:cubicBezTo>
                <a:cubicBezTo>
                  <a:pt x="30" y="36"/>
                  <a:pt x="33" y="36"/>
                  <a:pt x="33" y="37"/>
                </a:cubicBezTo>
                <a:cubicBezTo>
                  <a:pt x="34" y="39"/>
                  <a:pt x="34" y="39"/>
                  <a:pt x="34" y="39"/>
                </a:cubicBezTo>
                <a:cubicBezTo>
                  <a:pt x="34" y="39"/>
                  <a:pt x="32" y="40"/>
                  <a:pt x="32" y="40"/>
                </a:cubicBezTo>
                <a:cubicBezTo>
                  <a:pt x="31" y="42"/>
                  <a:pt x="31" y="42"/>
                  <a:pt x="31" y="42"/>
                </a:cubicBezTo>
                <a:cubicBezTo>
                  <a:pt x="31" y="42"/>
                  <a:pt x="33" y="44"/>
                  <a:pt x="33" y="44"/>
                </a:cubicBezTo>
                <a:close/>
                <a:moveTo>
                  <a:pt x="73" y="32"/>
                </a:moveTo>
                <a:cubicBezTo>
                  <a:pt x="73" y="32"/>
                  <a:pt x="73" y="32"/>
                  <a:pt x="73" y="32"/>
                </a:cubicBezTo>
                <a:cubicBezTo>
                  <a:pt x="73" y="33"/>
                  <a:pt x="67" y="35"/>
                  <a:pt x="67" y="35"/>
                </a:cubicBezTo>
                <a:cubicBezTo>
                  <a:pt x="66" y="37"/>
                  <a:pt x="66" y="37"/>
                  <a:pt x="66" y="37"/>
                </a:cubicBezTo>
                <a:cubicBezTo>
                  <a:pt x="66" y="37"/>
                  <a:pt x="69" y="43"/>
                  <a:pt x="68" y="43"/>
                </a:cubicBezTo>
                <a:cubicBezTo>
                  <a:pt x="65" y="46"/>
                  <a:pt x="65" y="46"/>
                  <a:pt x="65" y="46"/>
                </a:cubicBezTo>
                <a:cubicBezTo>
                  <a:pt x="65" y="46"/>
                  <a:pt x="59" y="44"/>
                  <a:pt x="59" y="44"/>
                </a:cubicBezTo>
                <a:cubicBezTo>
                  <a:pt x="57" y="45"/>
                  <a:pt x="57" y="45"/>
                  <a:pt x="57" y="45"/>
                </a:cubicBezTo>
                <a:cubicBezTo>
                  <a:pt x="57" y="45"/>
                  <a:pt x="55" y="50"/>
                  <a:pt x="54" y="50"/>
                </a:cubicBezTo>
                <a:cubicBezTo>
                  <a:pt x="50" y="50"/>
                  <a:pt x="50" y="50"/>
                  <a:pt x="50" y="50"/>
                </a:cubicBezTo>
                <a:cubicBezTo>
                  <a:pt x="49" y="50"/>
                  <a:pt x="47" y="45"/>
                  <a:pt x="47" y="45"/>
                </a:cubicBezTo>
                <a:cubicBezTo>
                  <a:pt x="45" y="44"/>
                  <a:pt x="45" y="44"/>
                  <a:pt x="45" y="44"/>
                </a:cubicBezTo>
                <a:cubicBezTo>
                  <a:pt x="45" y="44"/>
                  <a:pt x="39" y="46"/>
                  <a:pt x="39" y="46"/>
                </a:cubicBezTo>
                <a:cubicBezTo>
                  <a:pt x="36" y="43"/>
                  <a:pt x="36" y="43"/>
                  <a:pt x="36" y="43"/>
                </a:cubicBezTo>
                <a:cubicBezTo>
                  <a:pt x="36" y="43"/>
                  <a:pt x="38" y="37"/>
                  <a:pt x="38" y="37"/>
                </a:cubicBezTo>
                <a:cubicBezTo>
                  <a:pt x="37" y="35"/>
                  <a:pt x="37" y="35"/>
                  <a:pt x="37" y="35"/>
                </a:cubicBezTo>
                <a:cubicBezTo>
                  <a:pt x="37" y="35"/>
                  <a:pt x="31" y="32"/>
                  <a:pt x="31" y="32"/>
                </a:cubicBezTo>
                <a:cubicBezTo>
                  <a:pt x="31" y="28"/>
                  <a:pt x="31" y="28"/>
                  <a:pt x="31" y="28"/>
                </a:cubicBezTo>
                <a:cubicBezTo>
                  <a:pt x="31" y="27"/>
                  <a:pt x="37" y="25"/>
                  <a:pt x="37" y="25"/>
                </a:cubicBezTo>
                <a:cubicBezTo>
                  <a:pt x="38" y="23"/>
                  <a:pt x="38" y="23"/>
                  <a:pt x="38" y="23"/>
                </a:cubicBezTo>
                <a:cubicBezTo>
                  <a:pt x="38" y="23"/>
                  <a:pt x="36" y="17"/>
                  <a:pt x="36" y="17"/>
                </a:cubicBezTo>
                <a:cubicBezTo>
                  <a:pt x="39" y="14"/>
                  <a:pt x="39" y="14"/>
                  <a:pt x="39" y="14"/>
                </a:cubicBezTo>
                <a:cubicBezTo>
                  <a:pt x="39" y="14"/>
                  <a:pt x="45" y="16"/>
                  <a:pt x="45" y="16"/>
                </a:cubicBezTo>
                <a:cubicBezTo>
                  <a:pt x="47" y="15"/>
                  <a:pt x="47" y="15"/>
                  <a:pt x="47" y="15"/>
                </a:cubicBezTo>
                <a:cubicBezTo>
                  <a:pt x="47" y="15"/>
                  <a:pt x="50" y="10"/>
                  <a:pt x="50" y="10"/>
                </a:cubicBezTo>
                <a:cubicBezTo>
                  <a:pt x="55" y="10"/>
                  <a:pt x="55" y="10"/>
                  <a:pt x="55" y="10"/>
                </a:cubicBezTo>
                <a:cubicBezTo>
                  <a:pt x="55" y="10"/>
                  <a:pt x="57" y="15"/>
                  <a:pt x="57" y="15"/>
                </a:cubicBezTo>
                <a:cubicBezTo>
                  <a:pt x="59" y="16"/>
                  <a:pt x="59" y="16"/>
                  <a:pt x="59" y="16"/>
                </a:cubicBezTo>
                <a:cubicBezTo>
                  <a:pt x="59" y="16"/>
                  <a:pt x="65" y="14"/>
                  <a:pt x="65" y="14"/>
                </a:cubicBezTo>
                <a:cubicBezTo>
                  <a:pt x="69" y="17"/>
                  <a:pt x="69" y="17"/>
                  <a:pt x="69" y="17"/>
                </a:cubicBezTo>
                <a:cubicBezTo>
                  <a:pt x="69" y="18"/>
                  <a:pt x="66" y="23"/>
                  <a:pt x="66" y="23"/>
                </a:cubicBezTo>
                <a:cubicBezTo>
                  <a:pt x="67" y="25"/>
                  <a:pt x="67" y="25"/>
                  <a:pt x="67" y="25"/>
                </a:cubicBezTo>
                <a:cubicBezTo>
                  <a:pt x="67" y="25"/>
                  <a:pt x="73" y="28"/>
                  <a:pt x="73" y="28"/>
                </a:cubicBezTo>
                <a:cubicBezTo>
                  <a:pt x="73" y="32"/>
                  <a:pt x="73" y="32"/>
                  <a:pt x="73" y="3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p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组合 63"/>
          <p:cNvGrpSpPr/>
          <p:nvPr/>
        </p:nvGrpSpPr>
        <p:grpSpPr>
          <a:xfrm>
            <a:off x="660401" y="1462204"/>
            <a:ext cx="10858500" cy="4179857"/>
            <a:chOff x="660400" y="1938454"/>
            <a:chExt cx="10858500" cy="4179856"/>
          </a:xfrm>
        </p:grpSpPr>
        <p:sp>
          <p:nvSpPr>
            <p:cNvPr id="7" name="任意多边形: 形状 6"/>
            <p:cNvSpPr/>
            <p:nvPr/>
          </p:nvSpPr>
          <p:spPr bwMode="auto">
            <a:xfrm rot="18204882" flipH="1">
              <a:off x="4216584" y="2591447"/>
              <a:ext cx="2174286" cy="1054528"/>
            </a:xfrm>
            <a:custGeom>
              <a:avLst/>
              <a:gdLst>
                <a:gd name="T0" fmla="*/ 13 w 241"/>
                <a:gd name="T1" fmla="*/ 117 h 117"/>
                <a:gd name="T2" fmla="*/ 103 w 241"/>
                <a:gd name="T3" fmla="*/ 104 h 117"/>
                <a:gd name="T4" fmla="*/ 76 w 241"/>
                <a:gd name="T5" fmla="*/ 84 h 117"/>
                <a:gd name="T6" fmla="*/ 152 w 241"/>
                <a:gd name="T7" fmla="*/ 58 h 117"/>
                <a:gd name="T8" fmla="*/ 204 w 241"/>
                <a:gd name="T9" fmla="*/ 70 h 117"/>
                <a:gd name="T10" fmla="*/ 205 w 241"/>
                <a:gd name="T11" fmla="*/ 71 h 117"/>
                <a:gd name="T12" fmla="*/ 200 w 241"/>
                <a:gd name="T13" fmla="*/ 32 h 117"/>
                <a:gd name="T14" fmla="*/ 241 w 241"/>
                <a:gd name="T15" fmla="*/ 26 h 117"/>
                <a:gd name="T16" fmla="*/ 228 w 241"/>
                <a:gd name="T17" fmla="*/ 19 h 117"/>
                <a:gd name="T18" fmla="*/ 137 w 241"/>
                <a:gd name="T19" fmla="*/ 2 h 117"/>
                <a:gd name="T20" fmla="*/ 29 w 241"/>
                <a:gd name="T21" fmla="*/ 49 h 117"/>
                <a:gd name="T22" fmla="*/ 0 w 241"/>
                <a:gd name="T23" fmla="*/ 27 h 117"/>
                <a:gd name="T24" fmla="*/ 13 w 241"/>
                <a:gd name="T25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1" h="117">
                  <a:moveTo>
                    <a:pt x="13" y="117"/>
                  </a:moveTo>
                  <a:cubicBezTo>
                    <a:pt x="103" y="104"/>
                    <a:pt x="103" y="104"/>
                    <a:pt x="103" y="104"/>
                  </a:cubicBezTo>
                  <a:cubicBezTo>
                    <a:pt x="76" y="84"/>
                    <a:pt x="76" y="84"/>
                    <a:pt x="76" y="84"/>
                  </a:cubicBezTo>
                  <a:cubicBezTo>
                    <a:pt x="97" y="67"/>
                    <a:pt x="124" y="58"/>
                    <a:pt x="152" y="58"/>
                  </a:cubicBezTo>
                  <a:cubicBezTo>
                    <a:pt x="169" y="58"/>
                    <a:pt x="187" y="62"/>
                    <a:pt x="204" y="70"/>
                  </a:cubicBezTo>
                  <a:cubicBezTo>
                    <a:pt x="205" y="70"/>
                    <a:pt x="205" y="70"/>
                    <a:pt x="205" y="71"/>
                  </a:cubicBezTo>
                  <a:cubicBezTo>
                    <a:pt x="200" y="32"/>
                    <a:pt x="200" y="32"/>
                    <a:pt x="200" y="32"/>
                  </a:cubicBezTo>
                  <a:cubicBezTo>
                    <a:pt x="241" y="26"/>
                    <a:pt x="241" y="26"/>
                    <a:pt x="241" y="26"/>
                  </a:cubicBezTo>
                  <a:cubicBezTo>
                    <a:pt x="237" y="24"/>
                    <a:pt x="233" y="21"/>
                    <a:pt x="228" y="19"/>
                  </a:cubicBezTo>
                  <a:cubicBezTo>
                    <a:pt x="199" y="5"/>
                    <a:pt x="168" y="0"/>
                    <a:pt x="137" y="2"/>
                  </a:cubicBezTo>
                  <a:cubicBezTo>
                    <a:pt x="97" y="6"/>
                    <a:pt x="59" y="22"/>
                    <a:pt x="29" y="49"/>
                  </a:cubicBezTo>
                  <a:cubicBezTo>
                    <a:pt x="0" y="27"/>
                    <a:pt x="0" y="27"/>
                    <a:pt x="0" y="27"/>
                  </a:cubicBezTo>
                  <a:lnTo>
                    <a:pt x="13" y="117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108000" tIns="108000" rIns="108000" bIns="108000" rtlCol="0" anchor="ctr" anchorCtr="0">
              <a:noAutofit/>
            </a:bodyPr>
            <a:lstStyle/>
            <a:p>
              <a:pPr algn="ctr"/>
              <a:endParaRPr kumimoji="1" lang="zh-CN" altLang="en-US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8" name="任意多边形: 形状 7"/>
            <p:cNvSpPr/>
            <p:nvPr/>
          </p:nvSpPr>
          <p:spPr bwMode="auto">
            <a:xfrm rot="18204882" flipH="1">
              <a:off x="6396855" y="2096449"/>
              <a:ext cx="1054529" cy="2174285"/>
            </a:xfrm>
            <a:custGeom>
              <a:avLst/>
              <a:gdLst>
                <a:gd name="T0" fmla="*/ 117 w 117"/>
                <a:gd name="T1" fmla="*/ 228 h 241"/>
                <a:gd name="T2" fmla="*/ 104 w 117"/>
                <a:gd name="T3" fmla="*/ 139 h 241"/>
                <a:gd name="T4" fmla="*/ 83 w 117"/>
                <a:gd name="T5" fmla="*/ 166 h 241"/>
                <a:gd name="T6" fmla="*/ 58 w 117"/>
                <a:gd name="T7" fmla="*/ 99 h 241"/>
                <a:gd name="T8" fmla="*/ 70 w 117"/>
                <a:gd name="T9" fmla="*/ 37 h 241"/>
                <a:gd name="T10" fmla="*/ 70 w 117"/>
                <a:gd name="T11" fmla="*/ 36 h 241"/>
                <a:gd name="T12" fmla="*/ 31 w 117"/>
                <a:gd name="T13" fmla="*/ 42 h 241"/>
                <a:gd name="T14" fmla="*/ 26 w 117"/>
                <a:gd name="T15" fmla="*/ 0 h 241"/>
                <a:gd name="T16" fmla="*/ 19 w 117"/>
                <a:gd name="T17" fmla="*/ 13 h 241"/>
                <a:gd name="T18" fmla="*/ 2 w 117"/>
                <a:gd name="T19" fmla="*/ 102 h 241"/>
                <a:gd name="T20" fmla="*/ 49 w 117"/>
                <a:gd name="T21" fmla="*/ 212 h 241"/>
                <a:gd name="T22" fmla="*/ 27 w 117"/>
                <a:gd name="T23" fmla="*/ 241 h 241"/>
                <a:gd name="T24" fmla="*/ 117 w 117"/>
                <a:gd name="T25" fmla="*/ 228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7" h="241">
                  <a:moveTo>
                    <a:pt x="117" y="228"/>
                  </a:moveTo>
                  <a:cubicBezTo>
                    <a:pt x="104" y="139"/>
                    <a:pt x="104" y="139"/>
                    <a:pt x="104" y="139"/>
                  </a:cubicBezTo>
                  <a:cubicBezTo>
                    <a:pt x="83" y="166"/>
                    <a:pt x="83" y="166"/>
                    <a:pt x="83" y="166"/>
                  </a:cubicBezTo>
                  <a:cubicBezTo>
                    <a:pt x="69" y="146"/>
                    <a:pt x="60" y="123"/>
                    <a:pt x="58" y="99"/>
                  </a:cubicBezTo>
                  <a:cubicBezTo>
                    <a:pt x="57" y="78"/>
                    <a:pt x="60" y="57"/>
                    <a:pt x="70" y="37"/>
                  </a:cubicBezTo>
                  <a:cubicBezTo>
                    <a:pt x="70" y="37"/>
                    <a:pt x="70" y="37"/>
                    <a:pt x="70" y="36"/>
                  </a:cubicBezTo>
                  <a:cubicBezTo>
                    <a:pt x="31" y="42"/>
                    <a:pt x="31" y="42"/>
                    <a:pt x="31" y="42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3" y="5"/>
                    <a:pt x="21" y="9"/>
                    <a:pt x="19" y="13"/>
                  </a:cubicBezTo>
                  <a:cubicBezTo>
                    <a:pt x="5" y="42"/>
                    <a:pt x="0" y="73"/>
                    <a:pt x="2" y="102"/>
                  </a:cubicBezTo>
                  <a:cubicBezTo>
                    <a:pt x="5" y="143"/>
                    <a:pt x="21" y="182"/>
                    <a:pt x="49" y="212"/>
                  </a:cubicBezTo>
                  <a:cubicBezTo>
                    <a:pt x="27" y="241"/>
                    <a:pt x="27" y="241"/>
                    <a:pt x="27" y="241"/>
                  </a:cubicBezTo>
                  <a:lnTo>
                    <a:pt x="117" y="228"/>
                  </a:lnTo>
                  <a:close/>
                </a:path>
              </a:pathLst>
            </a:custGeom>
            <a:solidFill>
              <a:schemeClr val="accent2">
                <a:lumMod val="100000"/>
              </a:schemeClr>
            </a:solidFill>
          </p:spPr>
          <p:txBody>
            <a:bodyPr wrap="none" lIns="108000" tIns="108000" rIns="108000" bIns="108000" rtlCol="0" anchor="ctr" anchorCtr="0">
              <a:noAutofit/>
            </a:bodyPr>
            <a:lstStyle/>
            <a:p>
              <a:pPr algn="ctr"/>
              <a:endParaRPr kumimoji="1" lang="zh-CN" altLang="en-US" sz="1200" b="1">
                <a:solidFill>
                  <a:srgbClr val="FFFFFF"/>
                </a:solidFill>
              </a:endParaRPr>
            </a:p>
          </p:txBody>
        </p:sp>
        <p:sp>
          <p:nvSpPr>
            <p:cNvPr id="9" name="任意多边形: 形状 8"/>
            <p:cNvSpPr/>
            <p:nvPr/>
          </p:nvSpPr>
          <p:spPr bwMode="auto">
            <a:xfrm rot="18204882" flipH="1">
              <a:off x="5783892" y="4279069"/>
              <a:ext cx="2174286" cy="1065399"/>
            </a:xfrm>
            <a:custGeom>
              <a:avLst/>
              <a:gdLst>
                <a:gd name="T0" fmla="*/ 241 w 241"/>
                <a:gd name="T1" fmla="*/ 90 h 118"/>
                <a:gd name="T2" fmla="*/ 228 w 241"/>
                <a:gd name="T3" fmla="*/ 0 h 118"/>
                <a:gd name="T4" fmla="*/ 138 w 241"/>
                <a:gd name="T5" fmla="*/ 13 h 118"/>
                <a:gd name="T6" fmla="*/ 165 w 241"/>
                <a:gd name="T7" fmla="*/ 33 h 118"/>
                <a:gd name="T8" fmla="*/ 96 w 241"/>
                <a:gd name="T9" fmla="*/ 59 h 118"/>
                <a:gd name="T10" fmla="*/ 37 w 241"/>
                <a:gd name="T11" fmla="*/ 47 h 118"/>
                <a:gd name="T12" fmla="*/ 36 w 241"/>
                <a:gd name="T13" fmla="*/ 46 h 118"/>
                <a:gd name="T14" fmla="*/ 42 w 241"/>
                <a:gd name="T15" fmla="*/ 85 h 118"/>
                <a:gd name="T16" fmla="*/ 0 w 241"/>
                <a:gd name="T17" fmla="*/ 91 h 118"/>
                <a:gd name="T18" fmla="*/ 13 w 241"/>
                <a:gd name="T19" fmla="*/ 98 h 118"/>
                <a:gd name="T20" fmla="*/ 112 w 241"/>
                <a:gd name="T21" fmla="*/ 114 h 118"/>
                <a:gd name="T22" fmla="*/ 212 w 241"/>
                <a:gd name="T23" fmla="*/ 68 h 118"/>
                <a:gd name="T24" fmla="*/ 241 w 241"/>
                <a:gd name="T25" fmla="*/ 9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1" h="118">
                  <a:moveTo>
                    <a:pt x="241" y="90"/>
                  </a:moveTo>
                  <a:cubicBezTo>
                    <a:pt x="228" y="0"/>
                    <a:pt x="228" y="0"/>
                    <a:pt x="228" y="0"/>
                  </a:cubicBezTo>
                  <a:cubicBezTo>
                    <a:pt x="138" y="13"/>
                    <a:pt x="138" y="13"/>
                    <a:pt x="138" y="13"/>
                  </a:cubicBezTo>
                  <a:cubicBezTo>
                    <a:pt x="165" y="33"/>
                    <a:pt x="165" y="33"/>
                    <a:pt x="165" y="33"/>
                  </a:cubicBezTo>
                  <a:cubicBezTo>
                    <a:pt x="145" y="48"/>
                    <a:pt x="121" y="57"/>
                    <a:pt x="96" y="59"/>
                  </a:cubicBezTo>
                  <a:cubicBezTo>
                    <a:pt x="76" y="60"/>
                    <a:pt x="56" y="56"/>
                    <a:pt x="37" y="47"/>
                  </a:cubicBezTo>
                  <a:cubicBezTo>
                    <a:pt x="36" y="47"/>
                    <a:pt x="36" y="47"/>
                    <a:pt x="36" y="46"/>
                  </a:cubicBezTo>
                  <a:cubicBezTo>
                    <a:pt x="42" y="85"/>
                    <a:pt x="42" y="85"/>
                    <a:pt x="42" y="85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4" y="93"/>
                    <a:pt x="8" y="96"/>
                    <a:pt x="13" y="98"/>
                  </a:cubicBezTo>
                  <a:cubicBezTo>
                    <a:pt x="45" y="113"/>
                    <a:pt x="79" y="118"/>
                    <a:pt x="112" y="114"/>
                  </a:cubicBezTo>
                  <a:cubicBezTo>
                    <a:pt x="149" y="109"/>
                    <a:pt x="184" y="93"/>
                    <a:pt x="212" y="68"/>
                  </a:cubicBezTo>
                  <a:lnTo>
                    <a:pt x="241" y="9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</p:spPr>
          <p:txBody>
            <a:bodyPr wrap="none" lIns="108000" tIns="108000" rIns="108000" bIns="108000" rtlCol="0" anchor="ctr" anchorCtr="0">
              <a:noAutofit/>
            </a:bodyPr>
            <a:lstStyle/>
            <a:p>
              <a:pPr algn="ctr"/>
              <a:endParaRPr kumimoji="1" lang="zh-CN" altLang="en-US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10" name="任意多边形: 形状 9"/>
            <p:cNvSpPr/>
            <p:nvPr/>
          </p:nvSpPr>
          <p:spPr bwMode="auto">
            <a:xfrm rot="18204882" flipH="1">
              <a:off x="4715212" y="3658707"/>
              <a:ext cx="1054529" cy="2165587"/>
            </a:xfrm>
            <a:custGeom>
              <a:avLst/>
              <a:gdLst>
                <a:gd name="T0" fmla="*/ 0 w 117"/>
                <a:gd name="T1" fmla="*/ 13 h 240"/>
                <a:gd name="T2" fmla="*/ 13 w 117"/>
                <a:gd name="T3" fmla="*/ 102 h 240"/>
                <a:gd name="T4" fmla="*/ 34 w 117"/>
                <a:gd name="T5" fmla="*/ 75 h 240"/>
                <a:gd name="T6" fmla="*/ 59 w 117"/>
                <a:gd name="T7" fmla="*/ 143 h 240"/>
                <a:gd name="T8" fmla="*/ 47 w 117"/>
                <a:gd name="T9" fmla="*/ 204 h 240"/>
                <a:gd name="T10" fmla="*/ 47 w 117"/>
                <a:gd name="T11" fmla="*/ 205 h 240"/>
                <a:gd name="T12" fmla="*/ 86 w 117"/>
                <a:gd name="T13" fmla="*/ 199 h 240"/>
                <a:gd name="T14" fmla="*/ 92 w 117"/>
                <a:gd name="T15" fmla="*/ 240 h 240"/>
                <a:gd name="T16" fmla="*/ 98 w 117"/>
                <a:gd name="T17" fmla="*/ 228 h 240"/>
                <a:gd name="T18" fmla="*/ 115 w 117"/>
                <a:gd name="T19" fmla="*/ 139 h 240"/>
                <a:gd name="T20" fmla="*/ 68 w 117"/>
                <a:gd name="T21" fmla="*/ 29 h 240"/>
                <a:gd name="T22" fmla="*/ 90 w 117"/>
                <a:gd name="T23" fmla="*/ 0 h 240"/>
                <a:gd name="T24" fmla="*/ 0 w 117"/>
                <a:gd name="T25" fmla="*/ 13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7" h="240">
                  <a:moveTo>
                    <a:pt x="0" y="13"/>
                  </a:moveTo>
                  <a:cubicBezTo>
                    <a:pt x="13" y="102"/>
                    <a:pt x="13" y="102"/>
                    <a:pt x="13" y="102"/>
                  </a:cubicBezTo>
                  <a:cubicBezTo>
                    <a:pt x="34" y="75"/>
                    <a:pt x="34" y="75"/>
                    <a:pt x="34" y="75"/>
                  </a:cubicBezTo>
                  <a:cubicBezTo>
                    <a:pt x="49" y="95"/>
                    <a:pt x="58" y="118"/>
                    <a:pt x="59" y="143"/>
                  </a:cubicBezTo>
                  <a:cubicBezTo>
                    <a:pt x="60" y="163"/>
                    <a:pt x="57" y="184"/>
                    <a:pt x="47" y="204"/>
                  </a:cubicBezTo>
                  <a:cubicBezTo>
                    <a:pt x="47" y="204"/>
                    <a:pt x="47" y="204"/>
                    <a:pt x="47" y="205"/>
                  </a:cubicBezTo>
                  <a:cubicBezTo>
                    <a:pt x="86" y="199"/>
                    <a:pt x="86" y="199"/>
                    <a:pt x="86" y="199"/>
                  </a:cubicBezTo>
                  <a:cubicBezTo>
                    <a:pt x="92" y="240"/>
                    <a:pt x="92" y="240"/>
                    <a:pt x="92" y="240"/>
                  </a:cubicBezTo>
                  <a:cubicBezTo>
                    <a:pt x="94" y="236"/>
                    <a:pt x="96" y="232"/>
                    <a:pt x="98" y="228"/>
                  </a:cubicBezTo>
                  <a:cubicBezTo>
                    <a:pt x="112" y="199"/>
                    <a:pt x="117" y="168"/>
                    <a:pt x="115" y="139"/>
                  </a:cubicBezTo>
                  <a:cubicBezTo>
                    <a:pt x="112" y="98"/>
                    <a:pt x="96" y="59"/>
                    <a:pt x="68" y="29"/>
                  </a:cubicBezTo>
                  <a:cubicBezTo>
                    <a:pt x="90" y="0"/>
                    <a:pt x="90" y="0"/>
                    <a:pt x="90" y="0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chemeClr val="accent2">
                <a:lumMod val="100000"/>
              </a:schemeClr>
            </a:solidFill>
          </p:spPr>
          <p:txBody>
            <a:bodyPr wrap="none" lIns="108000" tIns="108000" rIns="108000" bIns="108000" rtlCol="0" anchor="ctr" anchorCtr="0">
              <a:noAutofit/>
            </a:bodyPr>
            <a:lstStyle/>
            <a:p>
              <a:pPr algn="ctr"/>
              <a:endParaRPr kumimoji="1" lang="zh-CN" altLang="en-US" sz="1200" b="1">
                <a:solidFill>
                  <a:srgbClr val="FFFFFF"/>
                </a:solidFill>
              </a:endParaRPr>
            </a:p>
          </p:txBody>
        </p:sp>
        <p:cxnSp>
          <p:nvCxnSpPr>
            <p:cNvPr id="17" name="直接连接符 16"/>
            <p:cNvCxnSpPr>
              <a:stCxn id="12" idx="1"/>
            </p:cNvCxnSpPr>
            <p:nvPr/>
          </p:nvCxnSpPr>
          <p:spPr>
            <a:xfrm flipH="1" flipV="1">
              <a:off x="4444666" y="2329369"/>
              <a:ext cx="418437" cy="418437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直接连接符 19"/>
            <p:cNvCxnSpPr/>
            <p:nvPr/>
          </p:nvCxnSpPr>
          <p:spPr>
            <a:xfrm flipH="1">
              <a:off x="3671147" y="2330187"/>
              <a:ext cx="774401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直接连接符 27"/>
            <p:cNvCxnSpPr>
              <a:stCxn id="27" idx="1"/>
            </p:cNvCxnSpPr>
            <p:nvPr/>
          </p:nvCxnSpPr>
          <p:spPr>
            <a:xfrm flipV="1">
              <a:off x="7274183" y="2329369"/>
              <a:ext cx="418437" cy="418437"/>
            </a:xfrm>
            <a:prstGeom prst="line">
              <a:avLst/>
            </a:prstGeom>
            <a:ln>
              <a:solidFill>
                <a:schemeClr val="accent2">
                  <a:lumMod val="10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直接连接符 28"/>
            <p:cNvCxnSpPr/>
            <p:nvPr/>
          </p:nvCxnSpPr>
          <p:spPr>
            <a:xfrm>
              <a:off x="7691738" y="2330187"/>
              <a:ext cx="774401" cy="0"/>
            </a:xfrm>
            <a:prstGeom prst="line">
              <a:avLst/>
            </a:prstGeom>
            <a:ln>
              <a:solidFill>
                <a:schemeClr val="accent2">
                  <a:lumMod val="10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直接连接符 31"/>
            <p:cNvCxnSpPr>
              <a:stCxn id="31" idx="1"/>
            </p:cNvCxnSpPr>
            <p:nvPr/>
          </p:nvCxnSpPr>
          <p:spPr>
            <a:xfrm flipH="1">
              <a:off x="4444666" y="5132381"/>
              <a:ext cx="418437" cy="418437"/>
            </a:xfrm>
            <a:prstGeom prst="line">
              <a:avLst/>
            </a:prstGeom>
            <a:ln>
              <a:solidFill>
                <a:schemeClr val="accent2">
                  <a:lumMod val="10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直接连接符 32"/>
            <p:cNvCxnSpPr/>
            <p:nvPr/>
          </p:nvCxnSpPr>
          <p:spPr>
            <a:xfrm flipH="1" flipV="1">
              <a:off x="3671147" y="5550000"/>
              <a:ext cx="774401" cy="0"/>
            </a:xfrm>
            <a:prstGeom prst="line">
              <a:avLst/>
            </a:prstGeom>
            <a:ln>
              <a:solidFill>
                <a:schemeClr val="accent2">
                  <a:lumMod val="10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直接连接符 35"/>
            <p:cNvCxnSpPr>
              <a:stCxn id="35" idx="1"/>
            </p:cNvCxnSpPr>
            <p:nvPr/>
          </p:nvCxnSpPr>
          <p:spPr>
            <a:xfrm>
              <a:off x="7274183" y="5132381"/>
              <a:ext cx="418437" cy="418437"/>
            </a:xfrm>
            <a:prstGeom prst="line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直接连接符 36"/>
            <p:cNvCxnSpPr/>
            <p:nvPr/>
          </p:nvCxnSpPr>
          <p:spPr>
            <a:xfrm flipV="1">
              <a:off x="7691738" y="5550000"/>
              <a:ext cx="774401" cy="0"/>
            </a:xfrm>
            <a:prstGeom prst="line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7" name="组合 46"/>
            <p:cNvGrpSpPr/>
            <p:nvPr/>
          </p:nvGrpSpPr>
          <p:grpSpPr>
            <a:xfrm>
              <a:off x="660400" y="1938454"/>
              <a:ext cx="6197121" cy="2525486"/>
              <a:chOff x="660400" y="1938454"/>
              <a:chExt cx="6197121" cy="2525486"/>
            </a:xfrm>
          </p:grpSpPr>
          <p:sp>
            <p:nvSpPr>
              <p:cNvPr id="6" name="矩形: 圆角 5"/>
              <p:cNvSpPr/>
              <p:nvPr/>
            </p:nvSpPr>
            <p:spPr>
              <a:xfrm>
                <a:off x="5321778" y="3469533"/>
                <a:ext cx="1535743" cy="994407"/>
              </a:xfrm>
              <a:prstGeom prst="roundRect">
                <a:avLst>
                  <a:gd name="adj" fmla="val 0"/>
                </a:avLst>
              </a:prstGeom>
              <a:noFill/>
              <a:ln w="50800" cap="flat" cmpd="sng" algn="ctr">
                <a:noFill/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r>
                  <a:rPr kumimoji="1" lang="zh-CN" altLang="en-US" sz="2800" b="1" dirty="0">
                    <a:solidFill>
                      <a:schemeClr val="tx1"/>
                    </a:solidFill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五挑战</a:t>
                </a:r>
                <a:endParaRPr kumimoji="1" lang="zh-CN" altLang="en-US" sz="2800" b="1" dirty="0">
                  <a:solidFill>
                    <a:schemeClr val="tx1"/>
                  </a:solidFill>
                  <a:latin typeface="华文楷体" panose="02010600040101010101" pitchFamily="2" charset="-122"/>
                  <a:ea typeface="华文楷体" panose="02010600040101010101" pitchFamily="2" charset="-122"/>
                </a:endParaRPr>
              </a:p>
            </p:txBody>
          </p:sp>
          <p:sp>
            <p:nvSpPr>
              <p:cNvPr id="12" name="椭圆 11"/>
              <p:cNvSpPr/>
              <p:nvPr/>
            </p:nvSpPr>
            <p:spPr>
              <a:xfrm>
                <a:off x="4840366" y="2725069"/>
                <a:ext cx="155256" cy="155256"/>
              </a:xfrm>
              <a:prstGeom prst="ellipse">
                <a:avLst/>
              </a:prstGeom>
              <a:ln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3" name="文本框 42"/>
              <p:cNvSpPr txBox="1"/>
              <p:nvPr/>
            </p:nvSpPr>
            <p:spPr>
              <a:xfrm>
                <a:off x="660400" y="1938454"/>
                <a:ext cx="2894619" cy="598540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b" anchorCtr="0">
                <a:normAutofit/>
              </a:bodyPr>
              <a:lstStyle/>
              <a:p>
                <a:pPr algn="r"/>
                <a:r>
                  <a:rPr lang="zh-CN" altLang="en-US" b="1"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模型应用</a:t>
                </a:r>
                <a:endParaRPr lang="zh-CN" altLang="en-US" b="1" dirty="0">
                  <a:latin typeface="华文楷体" panose="02010600040101010101" pitchFamily="2" charset="-122"/>
                  <a:ea typeface="华文楷体" panose="02010600040101010101" pitchFamily="2" charset="-122"/>
                </a:endParaRPr>
              </a:p>
            </p:txBody>
          </p:sp>
          <p:sp>
            <p:nvSpPr>
              <p:cNvPr id="44" name="文本框 43"/>
              <p:cNvSpPr txBox="1"/>
              <p:nvPr/>
            </p:nvSpPr>
            <p:spPr>
              <a:xfrm>
                <a:off x="660400" y="2536996"/>
                <a:ext cx="2894619" cy="686657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 anchorCtr="0">
                <a:normAutofit/>
              </a:bodyPr>
              <a:lstStyle/>
              <a:p>
                <a:pPr marL="171450" indent="-171450" algn="r">
                  <a:lnSpc>
                    <a:spcPct val="120000"/>
                  </a:lnSpc>
                  <a:buFont typeface="Arial" panose="020B0604020202090204" pitchFamily="34" charset="0"/>
                  <a:buChar char="•"/>
                </a:pPr>
                <a:r>
                  <a:rPr lang="zh-CN" altLang="it-IT" sz="1200" b="1">
                    <a:solidFill>
                      <a:srgbClr val="F05A23"/>
                    </a:solidFill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挑战</a:t>
                </a:r>
                <a:r>
                  <a:rPr lang="en-US" altLang="zh-CN" sz="1200" b="1">
                    <a:solidFill>
                      <a:srgbClr val="F05A23"/>
                    </a:solidFill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5</a:t>
                </a:r>
                <a:r>
                  <a:rPr lang="zh-CN" altLang="en-US" sz="1200"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：</a:t>
                </a:r>
                <a:r>
                  <a:rPr lang="zh-CN" altLang="it-IT" sz="1200"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风险解释难</a:t>
                </a:r>
                <a:endParaRPr lang="zh-CN" altLang="it-IT" sz="1200" dirty="0">
                  <a:latin typeface="华文楷体" panose="02010600040101010101" pitchFamily="2" charset="-122"/>
                  <a:ea typeface="华文楷体" panose="02010600040101010101" pitchFamily="2" charset="-122"/>
                </a:endParaRPr>
              </a:p>
            </p:txBody>
          </p:sp>
        </p:grpSp>
        <p:grpSp>
          <p:nvGrpSpPr>
            <p:cNvPr id="48" name="组合 47"/>
            <p:cNvGrpSpPr/>
            <p:nvPr/>
          </p:nvGrpSpPr>
          <p:grpSpPr>
            <a:xfrm>
              <a:off x="7141664" y="1938454"/>
              <a:ext cx="4377236" cy="1285199"/>
              <a:chOff x="7141664" y="1938454"/>
              <a:chExt cx="4377236" cy="1285199"/>
            </a:xfrm>
          </p:grpSpPr>
          <p:sp>
            <p:nvSpPr>
              <p:cNvPr id="27" name="椭圆 26"/>
              <p:cNvSpPr/>
              <p:nvPr/>
            </p:nvSpPr>
            <p:spPr>
              <a:xfrm flipH="1">
                <a:off x="7141664" y="2725069"/>
                <a:ext cx="155256" cy="155256"/>
              </a:xfrm>
              <a:prstGeom prst="ellipse">
                <a:avLst/>
              </a:prstGeom>
              <a:solidFill>
                <a:schemeClr val="accent2">
                  <a:lumMod val="100000"/>
                </a:schemeClr>
              </a:solidFill>
              <a:ln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9" name="文本框 38"/>
              <p:cNvSpPr txBox="1"/>
              <p:nvPr/>
            </p:nvSpPr>
            <p:spPr>
              <a:xfrm>
                <a:off x="8624281" y="1938454"/>
                <a:ext cx="2894619" cy="598540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b" anchorCtr="0">
                <a:normAutofit/>
              </a:bodyPr>
              <a:lstStyle/>
              <a:p>
                <a:r>
                  <a:rPr lang="zh-CN" altLang="en-US" b="1"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数据准备</a:t>
                </a:r>
                <a:endParaRPr lang="zh-CN" altLang="en-US" b="1" dirty="0">
                  <a:latin typeface="华文楷体" panose="02010600040101010101" pitchFamily="2" charset="-122"/>
                  <a:ea typeface="华文楷体" panose="02010600040101010101" pitchFamily="2" charset="-122"/>
                </a:endParaRPr>
              </a:p>
            </p:txBody>
          </p:sp>
          <p:sp>
            <p:nvSpPr>
              <p:cNvPr id="40" name="文本框 39"/>
              <p:cNvSpPr txBox="1"/>
              <p:nvPr/>
            </p:nvSpPr>
            <p:spPr>
              <a:xfrm>
                <a:off x="8624281" y="2536996"/>
                <a:ext cx="2894619" cy="686657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 anchorCtr="0">
                <a:normAutofit lnSpcReduction="20000"/>
              </a:bodyPr>
              <a:lstStyle/>
              <a:p>
                <a:pPr marL="171450" indent="-171450">
                  <a:lnSpc>
                    <a:spcPct val="120000"/>
                  </a:lnSpc>
                  <a:buFont typeface="Arial" panose="020B0604020202090204" pitchFamily="34" charset="0"/>
                  <a:buChar char="•"/>
                </a:pPr>
                <a:r>
                  <a:rPr lang="zh-CN" altLang="en-US" sz="1200" b="1" dirty="0">
                    <a:solidFill>
                      <a:srgbClr val="F05A23"/>
                    </a:solidFill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挑战</a:t>
                </a:r>
                <a:r>
                  <a:rPr lang="en-US" altLang="zh-CN" sz="1200" b="1" dirty="0">
                    <a:solidFill>
                      <a:srgbClr val="F05A23"/>
                    </a:solidFill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1</a:t>
                </a:r>
                <a:r>
                  <a:rPr lang="zh-CN" altLang="en-US" sz="1200" dirty="0"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：</a:t>
                </a:r>
                <a:r>
                  <a:rPr lang="zh-CN" altLang="en-US" sz="1200" dirty="0">
                    <a:latin typeface="华文楷体" panose="02010600040101010101" pitchFamily="2" charset="-122"/>
                    <a:ea typeface="华文楷体" panose="02010600040101010101" pitchFamily="2" charset="-122"/>
                    <a:sym typeface="+mn-ea"/>
                  </a:rPr>
                  <a:t>数据不平衡（小样本）</a:t>
                </a:r>
                <a:endParaRPr lang="zh-CN" altLang="en-US" sz="1200" dirty="0">
                  <a:latin typeface="华文楷体" panose="02010600040101010101" pitchFamily="2" charset="-122"/>
                  <a:ea typeface="华文楷体" panose="02010600040101010101" pitchFamily="2" charset="-122"/>
                  <a:sym typeface="+mn-ea"/>
                </a:endParaRPr>
              </a:p>
              <a:p>
                <a:pPr marL="171450" indent="-171450">
                  <a:lnSpc>
                    <a:spcPct val="120000"/>
                  </a:lnSpc>
                  <a:buFont typeface="Arial" panose="020B0604020202090204" pitchFamily="34" charset="0"/>
                  <a:buChar char="•"/>
                </a:pPr>
                <a:r>
                  <a:rPr lang="zh-CN" altLang="en-US" sz="1200" b="1" dirty="0">
                    <a:solidFill>
                      <a:srgbClr val="F05A23"/>
                    </a:solidFill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挑战</a:t>
                </a:r>
                <a:r>
                  <a:rPr lang="en-US" altLang="zh-CN" sz="1200" b="1" dirty="0">
                    <a:solidFill>
                      <a:srgbClr val="F05A23"/>
                    </a:solidFill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2</a:t>
                </a:r>
                <a:r>
                  <a:rPr lang="zh-CN" altLang="en-US" sz="1200" dirty="0"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：</a:t>
                </a:r>
                <a:r>
                  <a:rPr lang="zh-CN" altLang="en-US" sz="1200" dirty="0">
                    <a:latin typeface="华文楷体" panose="02010600040101010101" pitchFamily="2" charset="-122"/>
                    <a:ea typeface="华文楷体" panose="02010600040101010101" pitchFamily="2" charset="-122"/>
                    <a:sym typeface="+mn-ea"/>
                  </a:rPr>
                  <a:t>线上行为数据少</a:t>
                </a:r>
                <a:endParaRPr lang="zh-CN" altLang="en-US" sz="1200" dirty="0">
                  <a:latin typeface="华文楷体" panose="02010600040101010101" pitchFamily="2" charset="-122"/>
                  <a:ea typeface="华文楷体" panose="02010600040101010101" pitchFamily="2" charset="-122"/>
                </a:endParaRPr>
              </a:p>
            </p:txBody>
          </p:sp>
        </p:grpSp>
        <p:grpSp>
          <p:nvGrpSpPr>
            <p:cNvPr id="50" name="组合 49"/>
            <p:cNvGrpSpPr/>
            <p:nvPr/>
          </p:nvGrpSpPr>
          <p:grpSpPr>
            <a:xfrm>
              <a:off x="7141664" y="4833111"/>
              <a:ext cx="4377236" cy="1285199"/>
              <a:chOff x="7141664" y="4833111"/>
              <a:chExt cx="4377236" cy="1285199"/>
            </a:xfrm>
          </p:grpSpPr>
          <p:sp>
            <p:nvSpPr>
              <p:cNvPr id="35" name="椭圆 34"/>
              <p:cNvSpPr/>
              <p:nvPr/>
            </p:nvSpPr>
            <p:spPr>
              <a:xfrm flipH="1" flipV="1">
                <a:off x="7141664" y="4999862"/>
                <a:ext cx="155256" cy="155256"/>
              </a:xfrm>
              <a:prstGeom prst="ellipse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1" name="文本框 40"/>
              <p:cNvSpPr txBox="1"/>
              <p:nvPr/>
            </p:nvSpPr>
            <p:spPr>
              <a:xfrm>
                <a:off x="8624281" y="4833111"/>
                <a:ext cx="2894619" cy="598540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b" anchorCtr="0">
                <a:normAutofit/>
              </a:bodyPr>
              <a:lstStyle/>
              <a:p>
                <a:r>
                  <a:rPr lang="zh-CN" altLang="en-US" b="1">
                    <a:solidFill>
                      <a:schemeClr val="bg1">
                        <a:lumMod val="65000"/>
                      </a:schemeClr>
                    </a:solidFill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模型训练</a:t>
                </a:r>
                <a:endParaRPr lang="zh-CN" altLang="en-US" b="1" dirty="0">
                  <a:solidFill>
                    <a:schemeClr val="bg1">
                      <a:lumMod val="65000"/>
                    </a:schemeClr>
                  </a:solidFill>
                  <a:latin typeface="华文楷体" panose="02010600040101010101" pitchFamily="2" charset="-122"/>
                  <a:ea typeface="华文楷体" panose="02010600040101010101" pitchFamily="2" charset="-122"/>
                </a:endParaRPr>
              </a:p>
            </p:txBody>
          </p:sp>
          <p:sp>
            <p:nvSpPr>
              <p:cNvPr id="42" name="文本框 41"/>
              <p:cNvSpPr txBox="1"/>
              <p:nvPr/>
            </p:nvSpPr>
            <p:spPr>
              <a:xfrm>
                <a:off x="8624281" y="5431653"/>
                <a:ext cx="2894619" cy="686657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 anchorCtr="0">
                <a:normAutofit/>
              </a:bodyPr>
              <a:lstStyle/>
              <a:p>
                <a:pPr marL="171450" indent="-171450">
                  <a:lnSpc>
                    <a:spcPct val="120000"/>
                  </a:lnSpc>
                  <a:buFont typeface="Arial" panose="020B0604020202090204" pitchFamily="34" charset="0"/>
                  <a:buChar char="•"/>
                </a:pPr>
                <a:r>
                  <a:rPr lang="zh-CN" altLang="sv-SE" sz="1200">
                    <a:solidFill>
                      <a:schemeClr val="bg1">
                        <a:lumMod val="65000"/>
                      </a:schemeClr>
                    </a:solidFill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算法选择</a:t>
                </a:r>
                <a:endParaRPr lang="zh-CN" altLang="sv-SE" sz="1200">
                  <a:solidFill>
                    <a:schemeClr val="bg1">
                      <a:lumMod val="65000"/>
                    </a:schemeClr>
                  </a:solidFill>
                  <a:latin typeface="华文楷体" panose="02010600040101010101" pitchFamily="2" charset="-122"/>
                  <a:ea typeface="华文楷体" panose="02010600040101010101" pitchFamily="2" charset="-122"/>
                </a:endParaRPr>
              </a:p>
              <a:p>
                <a:pPr marL="171450" indent="-171450">
                  <a:lnSpc>
                    <a:spcPct val="120000"/>
                  </a:lnSpc>
                  <a:buFont typeface="Arial" panose="020B0604020202090204" pitchFamily="34" charset="0"/>
                  <a:buChar char="•"/>
                </a:pPr>
                <a:r>
                  <a:rPr lang="zh-CN" altLang="sv-SE" sz="1200" dirty="0">
                    <a:solidFill>
                      <a:schemeClr val="bg1">
                        <a:lumMod val="65000"/>
                      </a:schemeClr>
                    </a:solidFill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调参</a:t>
                </a:r>
                <a:endParaRPr lang="zh-CN" altLang="sv-SE" sz="1200" dirty="0">
                  <a:solidFill>
                    <a:schemeClr val="bg1">
                      <a:lumMod val="65000"/>
                    </a:schemeClr>
                  </a:solidFill>
                  <a:latin typeface="华文楷体" panose="02010600040101010101" pitchFamily="2" charset="-122"/>
                  <a:ea typeface="华文楷体" panose="02010600040101010101" pitchFamily="2" charset="-122"/>
                </a:endParaRPr>
              </a:p>
            </p:txBody>
          </p:sp>
        </p:grpSp>
        <p:grpSp>
          <p:nvGrpSpPr>
            <p:cNvPr id="49" name="组合 48"/>
            <p:cNvGrpSpPr/>
            <p:nvPr/>
          </p:nvGrpSpPr>
          <p:grpSpPr>
            <a:xfrm>
              <a:off x="660400" y="4833111"/>
              <a:ext cx="4335222" cy="1285199"/>
              <a:chOff x="660400" y="4833111"/>
              <a:chExt cx="4335222" cy="1285199"/>
            </a:xfrm>
          </p:grpSpPr>
          <p:sp>
            <p:nvSpPr>
              <p:cNvPr id="31" name="椭圆 30"/>
              <p:cNvSpPr/>
              <p:nvPr/>
            </p:nvSpPr>
            <p:spPr>
              <a:xfrm flipV="1">
                <a:off x="4840366" y="4999862"/>
                <a:ext cx="155256" cy="155256"/>
              </a:xfrm>
              <a:prstGeom prst="ellipse">
                <a:avLst/>
              </a:prstGeom>
              <a:solidFill>
                <a:schemeClr val="accent2">
                  <a:lumMod val="100000"/>
                </a:schemeClr>
              </a:solidFill>
              <a:ln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5" name="文本框 44"/>
              <p:cNvSpPr txBox="1"/>
              <p:nvPr/>
            </p:nvSpPr>
            <p:spPr>
              <a:xfrm>
                <a:off x="660400" y="4833111"/>
                <a:ext cx="2894619" cy="598540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b" anchorCtr="0">
                <a:normAutofit/>
              </a:bodyPr>
              <a:lstStyle/>
              <a:p>
                <a:pPr algn="r"/>
                <a:r>
                  <a:rPr lang="zh-CN" altLang="en-US" b="1"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效果验证</a:t>
                </a:r>
                <a:endParaRPr lang="zh-CN" altLang="en-US" b="1" dirty="0">
                  <a:latin typeface="华文楷体" panose="02010600040101010101" pitchFamily="2" charset="-122"/>
                  <a:ea typeface="华文楷体" panose="02010600040101010101" pitchFamily="2" charset="-122"/>
                </a:endParaRPr>
              </a:p>
            </p:txBody>
          </p:sp>
          <p:sp>
            <p:nvSpPr>
              <p:cNvPr id="46" name="文本框 45"/>
              <p:cNvSpPr txBox="1"/>
              <p:nvPr/>
            </p:nvSpPr>
            <p:spPr>
              <a:xfrm>
                <a:off x="660400" y="5431653"/>
                <a:ext cx="2894619" cy="686657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 anchorCtr="0">
                <a:normAutofit/>
              </a:bodyPr>
              <a:lstStyle/>
              <a:p>
                <a:pPr marL="171450" indent="-171450" algn="r">
                  <a:lnSpc>
                    <a:spcPct val="120000"/>
                  </a:lnSpc>
                  <a:buFont typeface="Arial" panose="020B0604020202090204" pitchFamily="34" charset="0"/>
                  <a:buChar char="•"/>
                </a:pPr>
                <a:r>
                  <a:rPr lang="zh-CN" altLang="sv-SE" sz="1200" b="1">
                    <a:solidFill>
                      <a:srgbClr val="F05A23"/>
                    </a:solidFill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挑战</a:t>
                </a:r>
                <a:r>
                  <a:rPr lang="en-US" altLang="zh-CN" sz="1200" b="1">
                    <a:solidFill>
                      <a:srgbClr val="F05A23"/>
                    </a:solidFill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3</a:t>
                </a:r>
                <a:r>
                  <a:rPr lang="zh-CN" altLang="en-US" sz="1200"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：</a:t>
                </a:r>
                <a:r>
                  <a:rPr lang="zh-CN" altLang="sv-SE" sz="1200"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追踪周期长</a:t>
                </a:r>
                <a:endParaRPr lang="zh-CN" altLang="sv-SE" sz="1200">
                  <a:latin typeface="华文楷体" panose="02010600040101010101" pitchFamily="2" charset="-122"/>
                  <a:ea typeface="华文楷体" panose="02010600040101010101" pitchFamily="2" charset="-122"/>
                </a:endParaRPr>
              </a:p>
              <a:p>
                <a:pPr marL="171450" indent="-171450" algn="r">
                  <a:lnSpc>
                    <a:spcPct val="120000"/>
                  </a:lnSpc>
                  <a:buFont typeface="Arial" panose="020B0604020202090204" pitchFamily="34" charset="0"/>
                  <a:buChar char="•"/>
                </a:pPr>
                <a:r>
                  <a:rPr lang="zh-CN" altLang="sv-SE" sz="1200" b="1" dirty="0">
                    <a:solidFill>
                      <a:srgbClr val="F05A23"/>
                    </a:solidFill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挑战</a:t>
                </a:r>
                <a:r>
                  <a:rPr lang="en-US" altLang="zh-CN" sz="1200" b="1" dirty="0">
                    <a:solidFill>
                      <a:srgbClr val="F05A23"/>
                    </a:solidFill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4</a:t>
                </a:r>
                <a:r>
                  <a:rPr lang="zh-CN" altLang="en-US" sz="1200" dirty="0"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：</a:t>
                </a:r>
                <a:r>
                  <a:rPr lang="zh-CN" altLang="sv-SE" sz="1200" dirty="0"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效果验证难</a:t>
                </a:r>
                <a:endParaRPr lang="zh-CN" altLang="sv-SE" sz="1200" dirty="0">
                  <a:latin typeface="华文楷体" panose="02010600040101010101" pitchFamily="2" charset="-122"/>
                  <a:ea typeface="华文楷体" panose="02010600040101010101" pitchFamily="2" charset="-122"/>
                </a:endParaRPr>
              </a:p>
            </p:txBody>
          </p:sp>
        </p:grpSp>
      </p:grpSp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直面难点：风控模型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“</a:t>
            </a: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五挑战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”</a:t>
            </a:r>
            <a:endParaRPr lang="en-US" altLang="zh-CN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赋能场景：数据挖掘在寿险风控场景的应用</a:t>
            </a:r>
            <a:endParaRPr lang="en-US" altLang="zh-CN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C913308-F349-4B6D-A68A-DD1791B4A57B}" type="slidenum">
              <a:rPr kumimoji="0" lang="zh-CN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</a:fld>
            <a:endParaRPr kumimoji="0" lang="zh-CN" alt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</p:txBody>
      </p:sp>
      <p:sp>
        <p:nvSpPr>
          <p:cNvPr id="48" name="椭圆 47"/>
          <p:cNvSpPr/>
          <p:nvPr/>
        </p:nvSpPr>
        <p:spPr>
          <a:xfrm>
            <a:off x="3766735" y="2803568"/>
            <a:ext cx="74817" cy="74817"/>
          </a:xfrm>
          <a:prstGeom prst="ellipse">
            <a:avLst/>
          </a:prstGeom>
          <a:solidFill>
            <a:srgbClr val="F05A23"/>
          </a:solidFill>
          <a:ln>
            <a:solidFill>
              <a:srgbClr val="F05A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9" name="文本框 48"/>
          <p:cNvSpPr txBox="1"/>
          <p:nvPr/>
        </p:nvSpPr>
        <p:spPr>
          <a:xfrm>
            <a:off x="3205406" y="2911637"/>
            <a:ext cx="1626870" cy="6299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lnSpc>
                <a:spcPts val="2100"/>
              </a:lnSpc>
              <a:buFont typeface="Arial" panose="020B0604020202090204" pitchFamily="34" charset="0"/>
              <a:buChar char="•"/>
            </a:pPr>
            <a:r>
              <a:rPr lang="zh-CN" altLang="en-US" sz="1400" b="1" smtClean="0">
                <a:solidFill>
                  <a:srgbClr val="F05A23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投诉</a:t>
            </a:r>
            <a:r>
              <a:rPr lang="zh-CN" altLang="en-US" sz="1400">
                <a:latin typeface="楷体" panose="02010609060101010101" pitchFamily="49" charset="-122"/>
                <a:ea typeface="楷体" panose="02010609060101010101" pitchFamily="49" charset="-122"/>
              </a:rPr>
              <a:t>：</a:t>
            </a:r>
            <a:r>
              <a:rPr lang="en-US" altLang="zh-CN" sz="1400" smtClean="0">
                <a:latin typeface="楷体" panose="02010609060101010101" pitchFamily="49" charset="-122"/>
                <a:ea typeface="楷体" panose="02010609060101010101" pitchFamily="49" charset="-122"/>
              </a:rPr>
              <a:t>T+0</a:t>
            </a:r>
            <a:r>
              <a:rPr lang="zh-CN" altLang="en-US" sz="1400" smtClean="0">
                <a:latin typeface="楷体" panose="02010609060101010101" pitchFamily="49" charset="-122"/>
                <a:ea typeface="楷体" panose="02010609060101010101" pitchFamily="49" charset="-122"/>
              </a:rPr>
              <a:t>模型</a:t>
            </a:r>
            <a:endParaRPr lang="en-US" altLang="zh-CN" sz="1400" smtClean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pPr>
              <a:lnSpc>
                <a:spcPts val="2100"/>
              </a:lnSpc>
            </a:pPr>
            <a:r>
              <a:rPr lang="zh-CN" altLang="en-US" sz="1200" smtClean="0">
                <a:solidFill>
                  <a:schemeClr val="bg1">
                    <a:lumMod val="65000"/>
                  </a:schemeClr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是否投诉</a:t>
            </a:r>
            <a:endParaRPr lang="en-US" altLang="zh-CN" sz="1200" smtClean="0">
              <a:solidFill>
                <a:schemeClr val="bg1">
                  <a:lumMod val="65000"/>
                </a:schemeClr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50" name="椭圆 49"/>
          <p:cNvSpPr/>
          <p:nvPr/>
        </p:nvSpPr>
        <p:spPr>
          <a:xfrm>
            <a:off x="8389087" y="2803568"/>
            <a:ext cx="74817" cy="74817"/>
          </a:xfrm>
          <a:prstGeom prst="ellipse">
            <a:avLst/>
          </a:prstGeom>
          <a:solidFill>
            <a:srgbClr val="F05A23"/>
          </a:solidFill>
          <a:ln>
            <a:solidFill>
              <a:srgbClr val="F05A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1" name="文本框 50"/>
          <p:cNvSpPr txBox="1"/>
          <p:nvPr/>
        </p:nvSpPr>
        <p:spPr>
          <a:xfrm>
            <a:off x="6885971" y="2241496"/>
            <a:ext cx="1351652" cy="63094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ts val="2100"/>
              </a:lnSpc>
            </a:pPr>
            <a:r>
              <a:rPr lang="zh-CN" altLang="en-US" sz="1400" b="1" smtClean="0">
                <a:solidFill>
                  <a:srgbClr val="F05A23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投诉</a:t>
            </a:r>
            <a:r>
              <a:rPr lang="zh-CN" altLang="en-US" sz="1400">
                <a:latin typeface="楷体" panose="02010609060101010101" pitchFamily="49" charset="-122"/>
                <a:ea typeface="楷体" panose="02010609060101010101" pitchFamily="49" charset="-122"/>
              </a:rPr>
              <a:t>：</a:t>
            </a:r>
            <a:r>
              <a:rPr lang="en-US" altLang="zh-CN" sz="1400" smtClean="0">
                <a:latin typeface="楷体" panose="02010609060101010101" pitchFamily="49" charset="-122"/>
                <a:ea typeface="楷体" panose="02010609060101010101" pitchFamily="49" charset="-122"/>
              </a:rPr>
              <a:t>T+1</a:t>
            </a:r>
            <a:r>
              <a:rPr lang="zh-CN" altLang="en-US" sz="1400" smtClean="0">
                <a:latin typeface="楷体" panose="02010609060101010101" pitchFamily="49" charset="-122"/>
                <a:ea typeface="楷体" panose="02010609060101010101" pitchFamily="49" charset="-122"/>
              </a:rPr>
              <a:t>模型</a:t>
            </a:r>
            <a:endParaRPr lang="en-US" altLang="zh-CN" sz="1400" smtClean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pPr>
              <a:lnSpc>
                <a:spcPts val="2100"/>
              </a:lnSpc>
            </a:pPr>
            <a:r>
              <a:rPr lang="zh-CN" altLang="en-US" sz="1200" smtClean="0">
                <a:solidFill>
                  <a:schemeClr val="bg1">
                    <a:lumMod val="65000"/>
                  </a:schemeClr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是否投诉</a:t>
            </a:r>
            <a:endParaRPr lang="en-US" altLang="zh-CN" sz="1200" smtClean="0">
              <a:solidFill>
                <a:schemeClr val="bg1">
                  <a:lumMod val="65000"/>
                </a:schemeClr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52" name="椭圆 51"/>
          <p:cNvSpPr/>
          <p:nvPr/>
        </p:nvSpPr>
        <p:spPr>
          <a:xfrm>
            <a:off x="4384647" y="2803568"/>
            <a:ext cx="74817" cy="74817"/>
          </a:xfrm>
          <a:prstGeom prst="ellipse">
            <a:avLst/>
          </a:prstGeom>
          <a:solidFill>
            <a:srgbClr val="F05A23"/>
          </a:solidFill>
          <a:ln>
            <a:solidFill>
              <a:srgbClr val="F05A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3" name="文本框 52"/>
          <p:cNvSpPr txBox="1"/>
          <p:nvPr/>
        </p:nvSpPr>
        <p:spPr>
          <a:xfrm>
            <a:off x="4052481" y="2241496"/>
            <a:ext cx="1402080" cy="6299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ts val="2100"/>
              </a:lnSpc>
            </a:pPr>
            <a:r>
              <a:rPr lang="zh-CN" altLang="en-US" sz="1400" b="1" smtClean="0">
                <a:solidFill>
                  <a:srgbClr val="F05A23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重疾核保</a:t>
            </a:r>
            <a:r>
              <a:rPr lang="zh-CN" altLang="en-US" sz="1400" smtClean="0">
                <a:latin typeface="楷体" panose="02010609060101010101" pitchFamily="49" charset="-122"/>
                <a:ea typeface="楷体" panose="02010609060101010101" pitchFamily="49" charset="-122"/>
              </a:rPr>
              <a:t>模型</a:t>
            </a:r>
            <a:endParaRPr lang="en-US" altLang="zh-CN" sz="1400" smtClean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pPr>
              <a:lnSpc>
                <a:spcPts val="2100"/>
              </a:lnSpc>
            </a:pPr>
            <a:r>
              <a:rPr lang="zh-CN" altLang="en-US" sz="1200" smtClean="0">
                <a:solidFill>
                  <a:schemeClr val="bg1">
                    <a:lumMod val="65000"/>
                  </a:schemeClr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是否需要下发体检</a:t>
            </a:r>
            <a:endParaRPr lang="en-US" altLang="zh-CN" sz="1200" smtClean="0">
              <a:solidFill>
                <a:schemeClr val="bg1">
                  <a:lumMod val="65000"/>
                </a:schemeClr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54" name="椭圆 53"/>
          <p:cNvSpPr/>
          <p:nvPr/>
        </p:nvSpPr>
        <p:spPr>
          <a:xfrm>
            <a:off x="5210377" y="2803568"/>
            <a:ext cx="74817" cy="74817"/>
          </a:xfrm>
          <a:prstGeom prst="ellipse">
            <a:avLst/>
          </a:prstGeom>
          <a:solidFill>
            <a:srgbClr val="F05A23"/>
          </a:solidFill>
          <a:ln>
            <a:solidFill>
              <a:srgbClr val="F05A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5" name="文本框 54"/>
          <p:cNvSpPr txBox="1"/>
          <p:nvPr/>
        </p:nvSpPr>
        <p:spPr>
          <a:xfrm>
            <a:off x="4909893" y="2931030"/>
            <a:ext cx="1800493" cy="63094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ts val="2100"/>
              </a:lnSpc>
            </a:pPr>
            <a:r>
              <a:rPr lang="zh-CN" altLang="en-US" sz="1400" b="1" smtClean="0">
                <a:solidFill>
                  <a:srgbClr val="F05A23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体检</a:t>
            </a:r>
            <a:r>
              <a:rPr lang="zh-CN" altLang="en-US" sz="1400" smtClean="0">
                <a:latin typeface="楷体" panose="02010609060101010101" pitchFamily="49" charset="-122"/>
                <a:ea typeface="楷体" panose="02010609060101010101" pitchFamily="49" charset="-122"/>
              </a:rPr>
              <a:t>模型</a:t>
            </a:r>
            <a:endParaRPr lang="en-US" altLang="zh-CN" sz="1400" smtClean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pPr>
              <a:lnSpc>
                <a:spcPts val="2100"/>
              </a:lnSpc>
            </a:pPr>
            <a:r>
              <a:rPr lang="zh-CN" altLang="en-US" sz="1200" smtClean="0">
                <a:solidFill>
                  <a:schemeClr val="bg1">
                    <a:lumMod val="65000"/>
                  </a:schemeClr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投产维度</a:t>
            </a:r>
            <a:r>
              <a:rPr lang="en-US" altLang="zh-CN" sz="1200" smtClean="0">
                <a:solidFill>
                  <a:schemeClr val="bg1">
                    <a:lumMod val="65000"/>
                  </a:schemeClr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-</a:t>
            </a:r>
            <a:r>
              <a:rPr lang="zh-CN" altLang="en-US" sz="1200" smtClean="0">
                <a:solidFill>
                  <a:schemeClr val="bg1">
                    <a:lumMod val="65000"/>
                  </a:schemeClr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下发什么体检</a:t>
            </a:r>
            <a:endParaRPr lang="en-US" altLang="zh-CN" sz="1200" smtClean="0">
              <a:solidFill>
                <a:schemeClr val="bg1">
                  <a:lumMod val="65000"/>
                </a:schemeClr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62" name="文本框 61"/>
          <p:cNvSpPr txBox="1"/>
          <p:nvPr/>
        </p:nvSpPr>
        <p:spPr>
          <a:xfrm>
            <a:off x="7683889" y="2931030"/>
            <a:ext cx="1982470" cy="19761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lnSpc>
                <a:spcPts val="2100"/>
              </a:lnSpc>
              <a:buFont typeface="Arial" panose="020B0604020202090204" pitchFamily="34" charset="0"/>
              <a:buChar char="•"/>
            </a:pPr>
            <a:r>
              <a:rPr lang="zh-CN" altLang="en-US" sz="1400" b="1" smtClean="0">
                <a:solidFill>
                  <a:srgbClr val="F05A23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投诉</a:t>
            </a:r>
            <a:r>
              <a:rPr lang="zh-CN" altLang="en-US" sz="1400" smtClean="0">
                <a:latin typeface="楷体" panose="02010609060101010101" pitchFamily="49" charset="-122"/>
                <a:ea typeface="楷体" panose="02010609060101010101" pitchFamily="49" charset="-122"/>
              </a:rPr>
              <a:t>：</a:t>
            </a:r>
            <a:r>
              <a:rPr lang="en-US" altLang="zh-CN" sz="1400" smtClean="0">
                <a:latin typeface="楷体" panose="02010609060101010101" pitchFamily="49" charset="-122"/>
                <a:ea typeface="楷体" panose="02010609060101010101" pitchFamily="49" charset="-122"/>
              </a:rPr>
              <a:t>T+90</a:t>
            </a:r>
            <a:r>
              <a:rPr lang="zh-CN" altLang="en-US" sz="1400" smtClean="0">
                <a:latin typeface="楷体" panose="02010609060101010101" pitchFamily="49" charset="-122"/>
                <a:ea typeface="楷体" panose="02010609060101010101" pitchFamily="49" charset="-122"/>
              </a:rPr>
              <a:t>模型</a:t>
            </a:r>
            <a:endParaRPr lang="en-US" altLang="zh-CN" sz="1400" smtClean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pPr marL="285750" indent="-285750">
              <a:lnSpc>
                <a:spcPts val="2100"/>
              </a:lnSpc>
              <a:buFont typeface="Arial" panose="020B0604020202090204" pitchFamily="34" charset="0"/>
              <a:buChar char="•"/>
            </a:pPr>
            <a:r>
              <a:rPr lang="zh-CN" altLang="en-US" sz="1400" b="1" smtClean="0">
                <a:solidFill>
                  <a:srgbClr val="F05A23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保全</a:t>
            </a:r>
            <a:r>
              <a:rPr lang="zh-CN" altLang="en-US" sz="1400" smtClean="0">
                <a:latin typeface="楷体" panose="02010609060101010101" pitchFamily="49" charset="-122"/>
                <a:ea typeface="楷体" panose="02010609060101010101" pitchFamily="49" charset="-122"/>
              </a:rPr>
              <a:t>风控模型</a:t>
            </a:r>
            <a:endParaRPr lang="en-US" altLang="zh-CN" sz="1400" smtClean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pPr marL="285750" indent="-285750">
              <a:lnSpc>
                <a:spcPts val="2100"/>
              </a:lnSpc>
              <a:buFont typeface="Arial" panose="020B0604020202090204" pitchFamily="34" charset="0"/>
              <a:buChar char="•"/>
            </a:pPr>
            <a:r>
              <a:rPr lang="zh-CN" altLang="en-US" sz="1400" b="1" smtClean="0">
                <a:solidFill>
                  <a:srgbClr val="F05A23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理赔</a:t>
            </a:r>
            <a:r>
              <a:rPr lang="zh-CN" altLang="en-US" sz="1400" smtClean="0">
                <a:latin typeface="楷体" panose="02010609060101010101" pitchFamily="49" charset="-122"/>
                <a:ea typeface="楷体" panose="02010609060101010101" pitchFamily="49" charset="-122"/>
              </a:rPr>
              <a:t>风控模型</a:t>
            </a:r>
            <a:endParaRPr lang="en-US" altLang="zh-CN" sz="1400" smtClean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pPr marL="285750" indent="-285750">
              <a:lnSpc>
                <a:spcPts val="2100"/>
              </a:lnSpc>
              <a:buFont typeface="Arial" panose="020B0604020202090204" pitchFamily="34" charset="0"/>
              <a:buChar char="•"/>
            </a:pPr>
            <a:r>
              <a:rPr lang="zh-CN" altLang="en-US" sz="1400" b="1">
                <a:solidFill>
                  <a:srgbClr val="F05A23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服</a:t>
            </a:r>
            <a:r>
              <a:rPr lang="zh-CN" altLang="en-US" sz="1400" b="1" smtClean="0">
                <a:solidFill>
                  <a:srgbClr val="F05A23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销</a:t>
            </a:r>
            <a:r>
              <a:rPr lang="zh-CN" altLang="en-US" sz="1400" smtClean="0">
                <a:latin typeface="楷体" panose="02010609060101010101" pitchFamily="49" charset="-122"/>
                <a:ea typeface="楷体" panose="02010609060101010101" pitchFamily="49" charset="-122"/>
              </a:rPr>
              <a:t>模型</a:t>
            </a:r>
            <a:r>
              <a:rPr lang="en-US" altLang="zh-CN" sz="1400" smtClean="0">
                <a:latin typeface="楷体" panose="02010609060101010101" pitchFamily="49" charset="-122"/>
                <a:ea typeface="楷体" panose="02010609060101010101" pitchFamily="49" charset="-122"/>
              </a:rPr>
              <a:t>-</a:t>
            </a:r>
            <a:r>
              <a:rPr lang="zh-CN" altLang="en-US" sz="1400" smtClean="0">
                <a:latin typeface="楷体" panose="02010609060101010101" pitchFamily="49" charset="-122"/>
                <a:ea typeface="楷体" panose="02010609060101010101" pitchFamily="49" charset="-122"/>
              </a:rPr>
              <a:t>触点经营</a:t>
            </a:r>
            <a:endParaRPr lang="en-US" altLang="zh-CN" sz="1400" smtClean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pPr marL="285750" indent="-285750">
              <a:lnSpc>
                <a:spcPts val="2100"/>
              </a:lnSpc>
              <a:buFont typeface="Arial" panose="020B0604020202090204" pitchFamily="34" charset="0"/>
              <a:buChar char="•"/>
            </a:pPr>
            <a:r>
              <a:rPr lang="zh-CN" altLang="en-US" sz="1400" b="1">
                <a:solidFill>
                  <a:srgbClr val="F05A23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黑</a:t>
            </a:r>
            <a:r>
              <a:rPr lang="zh-CN" altLang="en-US" sz="1400" b="1" smtClean="0">
                <a:solidFill>
                  <a:srgbClr val="F05A23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产</a:t>
            </a:r>
            <a:r>
              <a:rPr lang="zh-CN" altLang="en-US" sz="1400" smtClean="0">
                <a:latin typeface="楷体" panose="02010609060101010101" pitchFamily="49" charset="-122"/>
                <a:ea typeface="楷体" panose="02010609060101010101" pitchFamily="49" charset="-122"/>
              </a:rPr>
              <a:t>模型</a:t>
            </a:r>
            <a:endParaRPr lang="en-US" altLang="zh-CN" sz="1400" smtClean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pPr marL="285750" indent="-285750">
              <a:lnSpc>
                <a:spcPts val="2100"/>
              </a:lnSpc>
              <a:buFont typeface="Arial" panose="020B0604020202090204" pitchFamily="34" charset="0"/>
              <a:buChar char="•"/>
            </a:pPr>
            <a:r>
              <a:rPr lang="zh-CN" altLang="en-US" sz="1400" b="1" smtClean="0">
                <a:solidFill>
                  <a:srgbClr val="F05A23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反欺诈</a:t>
            </a:r>
            <a:r>
              <a:rPr lang="en-US" altLang="zh-CN" sz="1400" b="1" smtClean="0">
                <a:solidFill>
                  <a:srgbClr val="F05A23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sna</a:t>
            </a:r>
            <a:endParaRPr lang="en-US" altLang="zh-CN" sz="1400" b="1" smtClean="0">
              <a:solidFill>
                <a:srgbClr val="F05A23"/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pPr marL="285750" indent="-285750">
              <a:lnSpc>
                <a:spcPts val="2100"/>
              </a:lnSpc>
              <a:buFont typeface="Arial" panose="020B0604020202090204" pitchFamily="34" charset="0"/>
              <a:buChar char="•"/>
            </a:pPr>
            <a:r>
              <a:rPr lang="zh-CN" altLang="en-US" sz="1400" smtClean="0">
                <a:latin typeface="楷体" panose="02010609060101010101" pitchFamily="49" charset="-122"/>
                <a:ea typeface="楷体" panose="02010609060101010101" pitchFamily="49" charset="-122"/>
              </a:rPr>
              <a:t>承保后</a:t>
            </a:r>
            <a:r>
              <a:rPr lang="zh-CN" altLang="en-US" sz="1400" b="1" smtClean="0">
                <a:solidFill>
                  <a:srgbClr val="F05A23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调查</a:t>
            </a:r>
            <a:r>
              <a:rPr lang="zh-CN" altLang="en-US" sz="1400" smtClean="0">
                <a:latin typeface="楷体" panose="02010609060101010101" pitchFamily="49" charset="-122"/>
                <a:ea typeface="楷体" panose="02010609060101010101" pitchFamily="49" charset="-122"/>
              </a:rPr>
              <a:t>模型</a:t>
            </a:r>
            <a:endParaRPr lang="zh-CN" altLang="en-US" sz="1400" smtClean="0"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63" name="椭圆 62"/>
          <p:cNvSpPr/>
          <p:nvPr/>
        </p:nvSpPr>
        <p:spPr>
          <a:xfrm>
            <a:off x="7269636" y="2803568"/>
            <a:ext cx="74817" cy="74817"/>
          </a:xfrm>
          <a:prstGeom prst="ellipse">
            <a:avLst/>
          </a:prstGeom>
          <a:solidFill>
            <a:srgbClr val="F05A23"/>
          </a:solidFill>
          <a:ln>
            <a:solidFill>
              <a:srgbClr val="F05A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4" name="椭圆 63"/>
          <p:cNvSpPr/>
          <p:nvPr/>
        </p:nvSpPr>
        <p:spPr>
          <a:xfrm>
            <a:off x="10561475" y="2803568"/>
            <a:ext cx="74817" cy="74817"/>
          </a:xfrm>
          <a:prstGeom prst="ellipse">
            <a:avLst/>
          </a:prstGeom>
          <a:solidFill>
            <a:srgbClr val="F05A23"/>
          </a:solidFill>
          <a:ln>
            <a:solidFill>
              <a:srgbClr val="F05A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5" name="文本框 64"/>
          <p:cNvSpPr txBox="1"/>
          <p:nvPr/>
        </p:nvSpPr>
        <p:spPr>
          <a:xfrm>
            <a:off x="10050234" y="2241496"/>
            <a:ext cx="954107" cy="63094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ts val="2100"/>
              </a:lnSpc>
            </a:pPr>
            <a:r>
              <a:rPr lang="zh-CN" altLang="en-US" sz="1400" b="1">
                <a:solidFill>
                  <a:srgbClr val="F05A23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续</a:t>
            </a:r>
            <a:r>
              <a:rPr lang="zh-CN" altLang="en-US" sz="1400" b="1" smtClean="0">
                <a:solidFill>
                  <a:srgbClr val="F05A23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期</a:t>
            </a:r>
            <a:r>
              <a:rPr lang="zh-CN" altLang="en-US" sz="1400" smtClean="0">
                <a:latin typeface="楷体" panose="02010609060101010101" pitchFamily="49" charset="-122"/>
                <a:ea typeface="楷体" panose="02010609060101010101" pitchFamily="49" charset="-122"/>
              </a:rPr>
              <a:t>模型</a:t>
            </a:r>
            <a:endParaRPr lang="en-US" altLang="zh-CN" sz="1400" smtClean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pPr>
              <a:lnSpc>
                <a:spcPts val="2100"/>
              </a:lnSpc>
            </a:pPr>
            <a:r>
              <a:rPr lang="zh-CN" altLang="en-US" sz="1200" smtClean="0">
                <a:solidFill>
                  <a:schemeClr val="bg1">
                    <a:lumMod val="65000"/>
                  </a:schemeClr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是否会续期</a:t>
            </a:r>
            <a:endParaRPr lang="en-US" altLang="zh-CN" sz="1200" smtClean="0">
              <a:solidFill>
                <a:schemeClr val="bg1">
                  <a:lumMod val="65000"/>
                </a:schemeClr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cxnSp>
        <p:nvCxnSpPr>
          <p:cNvPr id="67" name="直接连接符 66"/>
          <p:cNvCxnSpPr/>
          <p:nvPr/>
        </p:nvCxnSpPr>
        <p:spPr>
          <a:xfrm>
            <a:off x="3109448" y="2353859"/>
            <a:ext cx="0" cy="237744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直接连接符 67"/>
          <p:cNvCxnSpPr/>
          <p:nvPr/>
        </p:nvCxnSpPr>
        <p:spPr>
          <a:xfrm>
            <a:off x="6847924" y="2353859"/>
            <a:ext cx="0" cy="237744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直接箭头连接符 68"/>
          <p:cNvCxnSpPr/>
          <p:nvPr/>
        </p:nvCxnSpPr>
        <p:spPr>
          <a:xfrm>
            <a:off x="1274647" y="2840991"/>
            <a:ext cx="1266960" cy="0"/>
          </a:xfrm>
          <a:prstGeom prst="straightConnector1">
            <a:avLst/>
          </a:prstGeom>
          <a:ln>
            <a:solidFill>
              <a:srgbClr val="F05A2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直接箭头连接符 69"/>
          <p:cNvCxnSpPr/>
          <p:nvPr/>
        </p:nvCxnSpPr>
        <p:spPr>
          <a:xfrm>
            <a:off x="3932404" y="2840991"/>
            <a:ext cx="430078" cy="0"/>
          </a:xfrm>
          <a:prstGeom prst="straightConnector1">
            <a:avLst/>
          </a:prstGeom>
          <a:ln>
            <a:solidFill>
              <a:srgbClr val="F05A2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直接箭头连接符 72"/>
          <p:cNvCxnSpPr/>
          <p:nvPr/>
        </p:nvCxnSpPr>
        <p:spPr>
          <a:xfrm>
            <a:off x="4505979" y="2840991"/>
            <a:ext cx="704398" cy="0"/>
          </a:xfrm>
          <a:prstGeom prst="straightConnector1">
            <a:avLst/>
          </a:prstGeom>
          <a:ln>
            <a:solidFill>
              <a:srgbClr val="F05A2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直接箭头连接符 74"/>
          <p:cNvCxnSpPr/>
          <p:nvPr/>
        </p:nvCxnSpPr>
        <p:spPr>
          <a:xfrm>
            <a:off x="5693704" y="2840991"/>
            <a:ext cx="1550689" cy="0"/>
          </a:xfrm>
          <a:prstGeom prst="straightConnector1">
            <a:avLst/>
          </a:prstGeom>
          <a:ln>
            <a:solidFill>
              <a:srgbClr val="F05A2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直接箭头连接符 75"/>
          <p:cNvCxnSpPr/>
          <p:nvPr/>
        </p:nvCxnSpPr>
        <p:spPr>
          <a:xfrm>
            <a:off x="7429181" y="2840991"/>
            <a:ext cx="959906" cy="0"/>
          </a:xfrm>
          <a:prstGeom prst="straightConnector1">
            <a:avLst/>
          </a:prstGeom>
          <a:ln>
            <a:solidFill>
              <a:srgbClr val="F05A2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直接箭头连接符 76"/>
          <p:cNvCxnSpPr/>
          <p:nvPr/>
        </p:nvCxnSpPr>
        <p:spPr>
          <a:xfrm>
            <a:off x="9010786" y="2840991"/>
            <a:ext cx="1550689" cy="0"/>
          </a:xfrm>
          <a:prstGeom prst="straightConnector1">
            <a:avLst/>
          </a:prstGeom>
          <a:ln>
            <a:solidFill>
              <a:srgbClr val="F05A2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/>
          <p:cNvCxnSpPr/>
          <p:nvPr/>
        </p:nvCxnSpPr>
        <p:spPr>
          <a:xfrm>
            <a:off x="473630" y="2840991"/>
            <a:ext cx="11164995" cy="0"/>
          </a:xfrm>
          <a:prstGeom prst="line">
            <a:avLst/>
          </a:prstGeom>
          <a:ln>
            <a:solidFill>
              <a:srgbClr val="F05A2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文本框 40"/>
          <p:cNvSpPr txBox="1"/>
          <p:nvPr/>
        </p:nvSpPr>
        <p:spPr>
          <a:xfrm>
            <a:off x="517776" y="2935353"/>
            <a:ext cx="1713230" cy="3606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lnSpc>
                <a:spcPts val="2100"/>
              </a:lnSpc>
              <a:buFont typeface="Arial" panose="020B0604020202090204" pitchFamily="34" charset="0"/>
              <a:buChar char="•"/>
            </a:pPr>
            <a:r>
              <a:rPr lang="zh-CN" sz="1400" smtClean="0">
                <a:latin typeface="楷体" panose="02010609060101010101" pitchFamily="49" charset="-122"/>
                <a:ea typeface="楷体" panose="02010609060101010101" pitchFamily="49" charset="-122"/>
              </a:rPr>
              <a:t>代理人风险评级</a:t>
            </a:r>
            <a:endParaRPr lang="en-US" altLang="zh-CN" sz="1400" smtClean="0"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42" name="椭圆 41"/>
          <p:cNvSpPr/>
          <p:nvPr/>
        </p:nvSpPr>
        <p:spPr>
          <a:xfrm>
            <a:off x="1127324" y="2803568"/>
            <a:ext cx="74817" cy="74817"/>
          </a:xfrm>
          <a:prstGeom prst="ellipse">
            <a:avLst/>
          </a:prstGeom>
          <a:solidFill>
            <a:srgbClr val="F05A23"/>
          </a:solidFill>
          <a:ln>
            <a:solidFill>
              <a:srgbClr val="F05A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椭圆 42"/>
          <p:cNvSpPr/>
          <p:nvPr/>
        </p:nvSpPr>
        <p:spPr>
          <a:xfrm>
            <a:off x="2556630" y="2803568"/>
            <a:ext cx="74817" cy="74817"/>
          </a:xfrm>
          <a:prstGeom prst="ellipse">
            <a:avLst/>
          </a:prstGeom>
          <a:solidFill>
            <a:srgbClr val="F05A23"/>
          </a:solidFill>
          <a:ln>
            <a:solidFill>
              <a:srgbClr val="F05A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47" name="直接箭头连接符 46"/>
          <p:cNvCxnSpPr/>
          <p:nvPr/>
        </p:nvCxnSpPr>
        <p:spPr>
          <a:xfrm>
            <a:off x="2733032" y="2840976"/>
            <a:ext cx="1033703" cy="0"/>
          </a:xfrm>
          <a:prstGeom prst="straightConnector1">
            <a:avLst/>
          </a:prstGeom>
          <a:ln>
            <a:solidFill>
              <a:srgbClr val="F05A2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五边形 5"/>
          <p:cNvSpPr/>
          <p:nvPr/>
        </p:nvSpPr>
        <p:spPr>
          <a:xfrm>
            <a:off x="484505" y="1598295"/>
            <a:ext cx="2476500" cy="307975"/>
          </a:xfrm>
          <a:prstGeom prst="homePlate">
            <a:avLst/>
          </a:prstGeom>
          <a:solidFill>
            <a:srgbClr val="F05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lang="zh-CN" altLang="en-US">
                <a:sym typeface="+mn-ea"/>
              </a:rPr>
              <a:t>保前</a:t>
            </a:r>
            <a:endParaRPr lang="zh-CN" altLang="en-US">
              <a:sym typeface="+mn-ea"/>
            </a:endParaRPr>
          </a:p>
        </p:txBody>
      </p:sp>
      <p:sp>
        <p:nvSpPr>
          <p:cNvPr id="3" name="五边形 2"/>
          <p:cNvSpPr/>
          <p:nvPr/>
        </p:nvSpPr>
        <p:spPr>
          <a:xfrm>
            <a:off x="3109595" y="1598295"/>
            <a:ext cx="3679190" cy="307975"/>
          </a:xfrm>
          <a:prstGeom prst="homePlate">
            <a:avLst/>
          </a:prstGeom>
          <a:solidFill>
            <a:srgbClr val="F05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lvl="0" algn="ctr">
              <a:buClrTx/>
              <a:buSzTx/>
              <a:buFontTx/>
            </a:pPr>
            <a:r>
              <a:rPr lang="zh-CN" altLang="en-US">
                <a:sym typeface="+mn-ea"/>
              </a:rPr>
              <a:t>保中</a:t>
            </a:r>
            <a:endParaRPr lang="zh-CN" altLang="en-US">
              <a:sym typeface="+mn-ea"/>
            </a:endParaRPr>
          </a:p>
        </p:txBody>
      </p:sp>
      <p:sp>
        <p:nvSpPr>
          <p:cNvPr id="7" name="五边形 6"/>
          <p:cNvSpPr/>
          <p:nvPr/>
        </p:nvSpPr>
        <p:spPr>
          <a:xfrm>
            <a:off x="6847840" y="1598295"/>
            <a:ext cx="4790440" cy="307975"/>
          </a:xfrm>
          <a:prstGeom prst="homePlate">
            <a:avLst/>
          </a:prstGeom>
          <a:solidFill>
            <a:srgbClr val="F05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lvl="0" algn="ctr">
              <a:buClrTx/>
              <a:buSzTx/>
              <a:buFontTx/>
            </a:pPr>
            <a:r>
              <a:rPr lang="zh-CN" altLang="en-US">
                <a:sym typeface="+mn-ea"/>
              </a:rPr>
              <a:t>保后</a:t>
            </a:r>
            <a:endParaRPr lang="zh-CN" altLang="en-US">
              <a:sym typeface="+mn-ea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3222551" y="3522507"/>
            <a:ext cx="2011680" cy="62992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marL="285750" indent="-285750">
              <a:lnSpc>
                <a:spcPts val="2100"/>
              </a:lnSpc>
              <a:buFont typeface="Arial" panose="020B0604020202090204" pitchFamily="34" charset="0"/>
              <a:buChar char="•"/>
            </a:pPr>
            <a:r>
              <a:rPr lang="zh-CN" altLang="en-US" sz="1400" b="1">
                <a:solidFill>
                  <a:srgbClr val="F05A23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劝留</a:t>
            </a:r>
            <a:r>
              <a:rPr lang="zh-CN" altLang="en-US" sz="1400">
                <a:latin typeface="楷体" panose="02010609060101010101" pitchFamily="49" charset="-122"/>
                <a:ea typeface="楷体" panose="02010609060101010101" pitchFamily="49" charset="-122"/>
              </a:rPr>
              <a:t>模组</a:t>
            </a:r>
            <a:endParaRPr lang="en-US" altLang="zh-CN" sz="1400" smtClean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pPr>
              <a:lnSpc>
                <a:spcPts val="2100"/>
              </a:lnSpc>
            </a:pPr>
            <a:r>
              <a:rPr lang="zh-CN" altLang="en-US" sz="1200" smtClean="0">
                <a:solidFill>
                  <a:schemeClr val="bg1">
                    <a:lumMod val="65000"/>
                  </a:schemeClr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已投诉的客户能否劝留化解</a:t>
            </a:r>
            <a:endParaRPr lang="en-US" altLang="zh-CN" sz="1200" smtClean="0">
              <a:solidFill>
                <a:schemeClr val="bg1">
                  <a:lumMod val="65000"/>
                </a:schemeClr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6779260" y="1055370"/>
            <a:ext cx="3867150" cy="533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rnd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000" dirty="0" smtClean="0">
                <a:solidFill>
                  <a:schemeClr val="tx1"/>
                </a:solidFill>
                <a:sym typeface="+mn-ea"/>
              </a:rPr>
              <a:t>洞察趋势：了解保险风控格局</a:t>
            </a:r>
            <a:endParaRPr lang="zh-CN" altLang="en-US" sz="2000" dirty="0" smtClean="0">
              <a:solidFill>
                <a:schemeClr val="tx1"/>
              </a:solidFill>
              <a:sym typeface="+mn-ea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1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4249207" cy="6858000"/>
          </a:xfrm>
          <a:prstGeom prst="rect">
            <a:avLst/>
          </a:prstGeom>
        </p:spPr>
      </p:pic>
      <p:grpSp>
        <p:nvGrpSpPr>
          <p:cNvPr id="18" name="组合 17"/>
          <p:cNvGrpSpPr/>
          <p:nvPr/>
        </p:nvGrpSpPr>
        <p:grpSpPr>
          <a:xfrm>
            <a:off x="-3750" y="0"/>
            <a:ext cx="4252957" cy="5905045"/>
            <a:chOff x="-3750" y="0"/>
            <a:chExt cx="4252957" cy="5905045"/>
          </a:xfrm>
          <a:solidFill>
            <a:schemeClr val="bg1">
              <a:lumMod val="85000"/>
              <a:alpha val="50000"/>
            </a:schemeClr>
          </a:solidFill>
        </p:grpSpPr>
        <p:sp>
          <p:nvSpPr>
            <p:cNvPr id="19" name="矩形 18"/>
            <p:cNvSpPr/>
            <p:nvPr/>
          </p:nvSpPr>
          <p:spPr>
            <a:xfrm>
              <a:off x="0" y="0"/>
              <a:ext cx="4249207" cy="393714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90204"/>
                <a:ea typeface="楷体" panose="02010609060101010101" pitchFamily="49" charset="-122"/>
                <a:cs typeface="+mn-cs"/>
              </a:endParaRPr>
            </a:p>
          </p:txBody>
        </p:sp>
        <p:sp>
          <p:nvSpPr>
            <p:cNvPr id="20" name="直角三角形 19"/>
            <p:cNvSpPr/>
            <p:nvPr/>
          </p:nvSpPr>
          <p:spPr>
            <a:xfrm rot="10800000">
              <a:off x="-3750" y="3937145"/>
              <a:ext cx="4252957" cy="1967900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90204"/>
                <a:ea typeface="楷体" panose="02010609060101010101" pitchFamily="49" charset="-122"/>
                <a:cs typeface="+mn-cs"/>
              </a:endParaRPr>
            </a:p>
          </p:txBody>
        </p:sp>
      </p:grpSp>
      <p:sp>
        <p:nvSpPr>
          <p:cNvPr id="21" name="等腰三角形 20"/>
          <p:cNvSpPr/>
          <p:nvPr/>
        </p:nvSpPr>
        <p:spPr>
          <a:xfrm rot="10273322">
            <a:off x="2884558" y="793348"/>
            <a:ext cx="1825398" cy="6094409"/>
          </a:xfrm>
          <a:prstGeom prst="triangle">
            <a:avLst>
              <a:gd name="adj" fmla="val 49832"/>
            </a:avLst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90204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22" name="直角三角形 21"/>
          <p:cNvSpPr/>
          <p:nvPr/>
        </p:nvSpPr>
        <p:spPr>
          <a:xfrm rot="10800000">
            <a:off x="1047749" y="-3"/>
            <a:ext cx="3201453" cy="2231503"/>
          </a:xfrm>
          <a:prstGeom prst="rtTriangle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90204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23" name="文本框 6"/>
          <p:cNvSpPr txBox="1"/>
          <p:nvPr/>
        </p:nvSpPr>
        <p:spPr>
          <a:xfrm>
            <a:off x="630723" y="2708304"/>
            <a:ext cx="2984009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i="0" u="none" strike="noStrike" kern="1200" cap="none" spc="0" normalizeH="0" baseline="0" noProof="0" dirty="0">
                <a:ln>
                  <a:noFill/>
                </a:ln>
                <a:solidFill>
                  <a:srgbClr val="ED6F3D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CONTENT</a:t>
            </a:r>
            <a:endParaRPr kumimoji="0" lang="en-US" altLang="zh-CN" sz="3200" i="0" u="none" strike="noStrike" kern="1200" cap="none" spc="0" normalizeH="0" baseline="0" noProof="0" dirty="0">
              <a:ln>
                <a:noFill/>
              </a:ln>
              <a:solidFill>
                <a:srgbClr val="ED6F3D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4400" i="0" u="none" strike="noStrike" kern="1200" cap="none" spc="0" normalizeH="0" baseline="0" noProof="0" dirty="0">
                <a:ln>
                  <a:noFill/>
                </a:ln>
                <a:solidFill>
                  <a:srgbClr val="ED6F3D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目录</a:t>
            </a:r>
            <a:endParaRPr kumimoji="0" lang="zh-CN" altLang="en-US" sz="4400" i="0" u="none" strike="noStrike" kern="1200" cap="none" spc="0" normalizeH="0" baseline="0" noProof="0" dirty="0">
              <a:ln>
                <a:noFill/>
              </a:ln>
              <a:solidFill>
                <a:srgbClr val="ED6F3D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9" name="椭圆 68"/>
          <p:cNvSpPr/>
          <p:nvPr/>
        </p:nvSpPr>
        <p:spPr>
          <a:xfrm>
            <a:off x="5881411" y="1055468"/>
            <a:ext cx="533400" cy="5334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lnSpc>
                <a:spcPct val="140000"/>
              </a:lnSpc>
              <a:buClrTx/>
              <a:buSzTx/>
              <a:buFontTx/>
            </a:pPr>
            <a:r>
              <a:rPr lang="en-US" altLang="zh-CN" sz="2000" b="1" smtClean="0">
                <a:latin typeface="+mj-lt"/>
                <a:ea typeface="Noto Sans S Chinese Regular" panose="020B0500000000000000" pitchFamily="34" charset="-122"/>
                <a:sym typeface="+mn-ea"/>
              </a:rPr>
              <a:t>1</a:t>
            </a:r>
            <a:endParaRPr lang="en-US" altLang="zh-CN" sz="2000" b="1" smtClean="0">
              <a:latin typeface="+mj-lt"/>
              <a:ea typeface="Noto Sans S Chinese Regular" panose="020B0500000000000000" pitchFamily="34" charset="-122"/>
              <a:sym typeface="+mn-ea"/>
            </a:endParaRPr>
          </a:p>
        </p:txBody>
      </p:sp>
      <p:sp>
        <p:nvSpPr>
          <p:cNvPr id="71" name="椭圆 70"/>
          <p:cNvSpPr/>
          <p:nvPr/>
        </p:nvSpPr>
        <p:spPr>
          <a:xfrm>
            <a:off x="5881411" y="2009873"/>
            <a:ext cx="533400" cy="533400"/>
          </a:xfrm>
          <a:prstGeom prst="ellipse">
            <a:avLst/>
          </a:prstGeom>
          <a:solidFill>
            <a:srgbClr val="FF66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lnSpc>
                <a:spcPct val="140000"/>
              </a:lnSpc>
              <a:buClrTx/>
              <a:buSzTx/>
              <a:buFontTx/>
            </a:pPr>
            <a:r>
              <a:rPr lang="en-US" altLang="zh-CN" sz="2000" b="1">
                <a:latin typeface="+mj-lt"/>
                <a:ea typeface="Noto Sans S Chinese Regular" panose="020B0500000000000000" pitchFamily="34" charset="-122"/>
                <a:sym typeface="+mn-ea"/>
              </a:rPr>
              <a:t>2</a:t>
            </a:r>
            <a:endParaRPr lang="en-US" altLang="zh-CN" sz="2000" b="1">
              <a:latin typeface="+mj-lt"/>
              <a:ea typeface="Noto Sans S Chinese Regular" panose="020B0500000000000000" pitchFamily="34" charset="-122"/>
              <a:sym typeface="+mn-ea"/>
            </a:endParaRPr>
          </a:p>
        </p:txBody>
      </p:sp>
      <p:sp>
        <p:nvSpPr>
          <p:cNvPr id="72" name="椭圆 71"/>
          <p:cNvSpPr/>
          <p:nvPr/>
        </p:nvSpPr>
        <p:spPr>
          <a:xfrm>
            <a:off x="5881411" y="2964278"/>
            <a:ext cx="533400" cy="5334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lnSpc>
                <a:spcPct val="140000"/>
              </a:lnSpc>
            </a:pPr>
            <a:r>
              <a:rPr lang="en-US" altLang="zh-CN" sz="2000" b="1" smtClean="0">
                <a:latin typeface="+mj-lt"/>
                <a:ea typeface="Noto Sans S Chinese Regular" panose="020B0500000000000000" pitchFamily="34" charset="-122"/>
              </a:rPr>
              <a:t>3</a:t>
            </a:r>
            <a:endParaRPr lang="zh-CN" altLang="en-US" sz="2000" b="1" dirty="0">
              <a:latin typeface="+mj-lt"/>
              <a:ea typeface="Noto Sans S Chinese Regular" panose="020B0500000000000000" pitchFamily="34" charset="-122"/>
            </a:endParaRPr>
          </a:p>
        </p:txBody>
      </p:sp>
      <p:sp>
        <p:nvSpPr>
          <p:cNvPr id="75" name="矩形 74"/>
          <p:cNvSpPr/>
          <p:nvPr/>
        </p:nvSpPr>
        <p:spPr>
          <a:xfrm>
            <a:off x="6779260" y="2005965"/>
            <a:ext cx="3867785" cy="533400"/>
          </a:xfrm>
          <a:prstGeom prst="rect">
            <a:avLst/>
          </a:prstGeom>
          <a:solidFill>
            <a:srgbClr val="FF66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000" b="1" dirty="0" smtClean="0">
                <a:solidFill>
                  <a:schemeClr val="bg1"/>
                </a:solidFill>
                <a:sym typeface="+mn-ea"/>
              </a:rPr>
              <a:t>突破瓶颈：小样本数据挖掘</a:t>
            </a:r>
            <a:endParaRPr lang="zh-CN" altLang="en-US" sz="2000" b="1" dirty="0" smtClean="0">
              <a:solidFill>
                <a:schemeClr val="bg1"/>
              </a:solidFill>
              <a:sym typeface="+mn-ea"/>
            </a:endParaRPr>
          </a:p>
        </p:txBody>
      </p:sp>
      <p:sp>
        <p:nvSpPr>
          <p:cNvPr id="77" name="矩形 76"/>
          <p:cNvSpPr/>
          <p:nvPr/>
        </p:nvSpPr>
        <p:spPr>
          <a:xfrm>
            <a:off x="6779260" y="2956560"/>
            <a:ext cx="3867785" cy="533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rnd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l"/>
            <a:r>
              <a:rPr lang="zh-CN" altLang="en-US" sz="2000" dirty="0" smtClean="0">
                <a:solidFill>
                  <a:schemeClr val="tx1"/>
                </a:solidFill>
              </a:rPr>
              <a:t>解码行为：破局稀缺</a:t>
            </a:r>
            <a:r>
              <a:rPr lang="en-US" altLang="zh-CN" sz="2000" dirty="0" smtClean="0">
                <a:solidFill>
                  <a:schemeClr val="tx1"/>
                </a:solidFill>
              </a:rPr>
              <a:t>&amp;</a:t>
            </a:r>
            <a:r>
              <a:rPr lang="zh-CN" altLang="en-US" sz="2000" dirty="0" smtClean="0">
                <a:solidFill>
                  <a:schemeClr val="tx1"/>
                </a:solidFill>
              </a:rPr>
              <a:t>精选标签</a:t>
            </a:r>
            <a:endParaRPr lang="zh-CN" altLang="en-US" sz="2000" dirty="0" smtClean="0">
              <a:solidFill>
                <a:schemeClr val="tx1"/>
              </a:solidFill>
            </a:endParaRPr>
          </a:p>
        </p:txBody>
      </p:sp>
      <p:sp>
        <p:nvSpPr>
          <p:cNvPr id="2" name="椭圆 1"/>
          <p:cNvSpPr/>
          <p:nvPr/>
        </p:nvSpPr>
        <p:spPr>
          <a:xfrm>
            <a:off x="5882046" y="3918683"/>
            <a:ext cx="533400" cy="5334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p>
            <a:pPr algn="ctr">
              <a:lnSpc>
                <a:spcPct val="140000"/>
              </a:lnSpc>
            </a:pPr>
            <a:r>
              <a:rPr lang="en-US" altLang="zh-CN" sz="2000" b="1" dirty="0">
                <a:latin typeface="+mj-lt"/>
                <a:ea typeface="Noto Sans S Chinese Regular" panose="020B0500000000000000" pitchFamily="34" charset="-122"/>
              </a:rPr>
              <a:t>4</a:t>
            </a:r>
            <a:endParaRPr lang="en-US" altLang="zh-CN" sz="2000" b="1" dirty="0">
              <a:latin typeface="+mj-lt"/>
              <a:ea typeface="Noto Sans S Chinese Regular" panose="020B0500000000000000" pitchFamily="34" charset="-122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6779895" y="3907155"/>
            <a:ext cx="3867785" cy="533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rnd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algn="l"/>
            <a:r>
              <a:rPr lang="zh-CN" altLang="en-US" sz="2000" dirty="0" smtClean="0">
                <a:solidFill>
                  <a:schemeClr val="tx1"/>
                </a:solidFill>
                <a:sym typeface="+mn-ea"/>
              </a:rPr>
              <a:t>实测胜算：AB实验测试效果</a:t>
            </a:r>
            <a:endParaRPr lang="zh-CN" altLang="en-US" sz="2000" dirty="0" smtClean="0">
              <a:solidFill>
                <a:schemeClr val="tx1"/>
              </a:solidFill>
            </a:endParaRPr>
          </a:p>
        </p:txBody>
      </p:sp>
      <p:sp>
        <p:nvSpPr>
          <p:cNvPr id="9" name="椭圆 8"/>
          <p:cNvSpPr/>
          <p:nvPr/>
        </p:nvSpPr>
        <p:spPr>
          <a:xfrm>
            <a:off x="5882046" y="4873088"/>
            <a:ext cx="533400" cy="5334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p>
            <a:pPr algn="ctr">
              <a:lnSpc>
                <a:spcPct val="140000"/>
              </a:lnSpc>
            </a:pPr>
            <a:r>
              <a:rPr lang="en-US" altLang="zh-CN" sz="2000" b="1" dirty="0">
                <a:latin typeface="+mj-lt"/>
                <a:ea typeface="Noto Sans S Chinese Regular" panose="020B0500000000000000" pitchFamily="34" charset="-122"/>
              </a:rPr>
              <a:t>5</a:t>
            </a:r>
            <a:endParaRPr lang="en-US" altLang="zh-CN" sz="2000" b="1" dirty="0">
              <a:latin typeface="+mj-lt"/>
              <a:ea typeface="Noto Sans S Chinese Regular" panose="020B0500000000000000" pitchFamily="34" charset="-122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6779895" y="4857750"/>
            <a:ext cx="3867785" cy="533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rnd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algn="l"/>
            <a:r>
              <a:rPr lang="zh-CN" altLang="en-US" sz="2000" dirty="0" smtClean="0">
                <a:solidFill>
                  <a:schemeClr val="tx1"/>
                </a:solidFill>
              </a:rPr>
              <a:t>解析风险：构建可解释的模型</a:t>
            </a:r>
            <a:endParaRPr lang="zh-CN" altLang="en-US" sz="2000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掌控稀缺：小样本问题解析</a:t>
            </a:r>
            <a:endParaRPr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938530" y="112522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sz="1800" dirty="0" smtClean="0"/>
              <a:t>小样本概念</a:t>
            </a:r>
            <a:endParaRPr lang="zh-CN" altLang="en-US" sz="1800" dirty="0" smtClean="0"/>
          </a:p>
        </p:txBody>
      </p:sp>
      <p:grpSp>
        <p:nvGrpSpPr>
          <p:cNvPr id="3" name="组合 2"/>
          <p:cNvGrpSpPr/>
          <p:nvPr/>
        </p:nvGrpSpPr>
        <p:grpSpPr>
          <a:xfrm>
            <a:off x="450215" y="1061720"/>
            <a:ext cx="389255" cy="427990"/>
            <a:chOff x="450391" y="1977754"/>
            <a:chExt cx="465233" cy="511985"/>
          </a:xfrm>
        </p:grpSpPr>
        <p:sp>
          <p:nvSpPr>
            <p:cNvPr id="488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89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0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1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2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3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5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23" name="Freeform 19"/>
          <p:cNvSpPr>
            <a:spLocks noEditPoints="1"/>
          </p:cNvSpPr>
          <p:nvPr/>
        </p:nvSpPr>
        <p:spPr bwMode="auto">
          <a:xfrm>
            <a:off x="408940" y="3617595"/>
            <a:ext cx="389255" cy="438785"/>
          </a:xfrm>
          <a:custGeom>
            <a:avLst/>
            <a:gdLst>
              <a:gd name="T0" fmla="*/ 98 w 780"/>
              <a:gd name="T1" fmla="*/ 0 h 878"/>
              <a:gd name="T2" fmla="*/ 78 w 780"/>
              <a:gd name="T3" fmla="*/ 2 h 878"/>
              <a:gd name="T4" fmla="*/ 42 w 780"/>
              <a:gd name="T5" fmla="*/ 16 h 878"/>
              <a:gd name="T6" fmla="*/ 16 w 780"/>
              <a:gd name="T7" fmla="*/ 42 h 878"/>
              <a:gd name="T8" fmla="*/ 2 w 780"/>
              <a:gd name="T9" fmla="*/ 78 h 878"/>
              <a:gd name="T10" fmla="*/ 0 w 780"/>
              <a:gd name="T11" fmla="*/ 780 h 878"/>
              <a:gd name="T12" fmla="*/ 2 w 780"/>
              <a:gd name="T13" fmla="*/ 800 h 878"/>
              <a:gd name="T14" fmla="*/ 16 w 780"/>
              <a:gd name="T15" fmla="*/ 834 h 878"/>
              <a:gd name="T16" fmla="*/ 42 w 780"/>
              <a:gd name="T17" fmla="*/ 862 h 878"/>
              <a:gd name="T18" fmla="*/ 78 w 780"/>
              <a:gd name="T19" fmla="*/ 876 h 878"/>
              <a:gd name="T20" fmla="*/ 684 w 780"/>
              <a:gd name="T21" fmla="*/ 878 h 878"/>
              <a:gd name="T22" fmla="*/ 702 w 780"/>
              <a:gd name="T23" fmla="*/ 876 h 878"/>
              <a:gd name="T24" fmla="*/ 738 w 780"/>
              <a:gd name="T25" fmla="*/ 862 h 878"/>
              <a:gd name="T26" fmla="*/ 764 w 780"/>
              <a:gd name="T27" fmla="*/ 834 h 878"/>
              <a:gd name="T28" fmla="*/ 778 w 780"/>
              <a:gd name="T29" fmla="*/ 800 h 878"/>
              <a:gd name="T30" fmla="*/ 780 w 780"/>
              <a:gd name="T31" fmla="*/ 98 h 878"/>
              <a:gd name="T32" fmla="*/ 778 w 780"/>
              <a:gd name="T33" fmla="*/ 78 h 878"/>
              <a:gd name="T34" fmla="*/ 764 w 780"/>
              <a:gd name="T35" fmla="*/ 42 h 878"/>
              <a:gd name="T36" fmla="*/ 738 w 780"/>
              <a:gd name="T37" fmla="*/ 16 h 878"/>
              <a:gd name="T38" fmla="*/ 702 w 780"/>
              <a:gd name="T39" fmla="*/ 2 h 878"/>
              <a:gd name="T40" fmla="*/ 684 w 780"/>
              <a:gd name="T41" fmla="*/ 0 h 878"/>
              <a:gd name="T42" fmla="*/ 98 w 780"/>
              <a:gd name="T43" fmla="*/ 780 h 878"/>
              <a:gd name="T44" fmla="*/ 684 w 780"/>
              <a:gd name="T45" fmla="*/ 98 h 878"/>
              <a:gd name="T46" fmla="*/ 440 w 780"/>
              <a:gd name="T47" fmla="*/ 536 h 878"/>
              <a:gd name="T48" fmla="*/ 196 w 780"/>
              <a:gd name="T49" fmla="*/ 586 h 878"/>
              <a:gd name="T50" fmla="*/ 440 w 780"/>
              <a:gd name="T51" fmla="*/ 536 h 878"/>
              <a:gd name="T52" fmla="*/ 390 w 780"/>
              <a:gd name="T53" fmla="*/ 342 h 878"/>
              <a:gd name="T54" fmla="*/ 586 w 780"/>
              <a:gd name="T55" fmla="*/ 390 h 878"/>
              <a:gd name="T56" fmla="*/ 390 w 780"/>
              <a:gd name="T57" fmla="*/ 292 h 878"/>
              <a:gd name="T58" fmla="*/ 586 w 780"/>
              <a:gd name="T59" fmla="*/ 194 h 878"/>
              <a:gd name="T60" fmla="*/ 390 w 780"/>
              <a:gd name="T61" fmla="*/ 292 h 878"/>
              <a:gd name="T62" fmla="*/ 196 w 780"/>
              <a:gd name="T63" fmla="*/ 194 h 878"/>
              <a:gd name="T64" fmla="*/ 342 w 780"/>
              <a:gd name="T65" fmla="*/ 390 h 878"/>
              <a:gd name="T66" fmla="*/ 292 w 780"/>
              <a:gd name="T67" fmla="*/ 438 h 878"/>
              <a:gd name="T68" fmla="*/ 196 w 780"/>
              <a:gd name="T69" fmla="*/ 488 h 878"/>
              <a:gd name="T70" fmla="*/ 292 w 780"/>
              <a:gd name="T71" fmla="*/ 438 h 878"/>
              <a:gd name="T72" fmla="*/ 586 w 780"/>
              <a:gd name="T73" fmla="*/ 488 h 878"/>
              <a:gd name="T74" fmla="*/ 342 w 780"/>
              <a:gd name="T75" fmla="*/ 438 h 878"/>
              <a:gd name="T76" fmla="*/ 586 w 780"/>
              <a:gd name="T77" fmla="*/ 634 h 878"/>
              <a:gd name="T78" fmla="*/ 196 w 780"/>
              <a:gd name="T79" fmla="*/ 682 h 878"/>
              <a:gd name="T80" fmla="*/ 586 w 780"/>
              <a:gd name="T81" fmla="*/ 634 h 878"/>
              <a:gd name="T82" fmla="*/ 586 w 780"/>
              <a:gd name="T83" fmla="*/ 586 h 878"/>
              <a:gd name="T84" fmla="*/ 488 w 780"/>
              <a:gd name="T85" fmla="*/ 536 h 8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780" h="878">
                <a:moveTo>
                  <a:pt x="684" y="0"/>
                </a:moveTo>
                <a:lnTo>
                  <a:pt x="98" y="0"/>
                </a:lnTo>
                <a:lnTo>
                  <a:pt x="98" y="0"/>
                </a:lnTo>
                <a:lnTo>
                  <a:pt x="78" y="2"/>
                </a:lnTo>
                <a:lnTo>
                  <a:pt x="60" y="8"/>
                </a:lnTo>
                <a:lnTo>
                  <a:pt x="42" y="16"/>
                </a:lnTo>
                <a:lnTo>
                  <a:pt x="28" y="28"/>
                </a:lnTo>
                <a:lnTo>
                  <a:pt x="16" y="42"/>
                </a:lnTo>
                <a:lnTo>
                  <a:pt x="8" y="60"/>
                </a:lnTo>
                <a:lnTo>
                  <a:pt x="2" y="78"/>
                </a:lnTo>
                <a:lnTo>
                  <a:pt x="0" y="98"/>
                </a:lnTo>
                <a:lnTo>
                  <a:pt x="0" y="780"/>
                </a:lnTo>
                <a:lnTo>
                  <a:pt x="0" y="780"/>
                </a:lnTo>
                <a:lnTo>
                  <a:pt x="2" y="800"/>
                </a:lnTo>
                <a:lnTo>
                  <a:pt x="8" y="818"/>
                </a:lnTo>
                <a:lnTo>
                  <a:pt x="16" y="834"/>
                </a:lnTo>
                <a:lnTo>
                  <a:pt x="28" y="850"/>
                </a:lnTo>
                <a:lnTo>
                  <a:pt x="42" y="862"/>
                </a:lnTo>
                <a:lnTo>
                  <a:pt x="60" y="870"/>
                </a:lnTo>
                <a:lnTo>
                  <a:pt x="78" y="876"/>
                </a:lnTo>
                <a:lnTo>
                  <a:pt x="98" y="878"/>
                </a:lnTo>
                <a:lnTo>
                  <a:pt x="684" y="878"/>
                </a:lnTo>
                <a:lnTo>
                  <a:pt x="684" y="878"/>
                </a:lnTo>
                <a:lnTo>
                  <a:pt x="702" y="876"/>
                </a:lnTo>
                <a:lnTo>
                  <a:pt x="722" y="870"/>
                </a:lnTo>
                <a:lnTo>
                  <a:pt x="738" y="862"/>
                </a:lnTo>
                <a:lnTo>
                  <a:pt x="752" y="850"/>
                </a:lnTo>
                <a:lnTo>
                  <a:pt x="764" y="834"/>
                </a:lnTo>
                <a:lnTo>
                  <a:pt x="774" y="818"/>
                </a:lnTo>
                <a:lnTo>
                  <a:pt x="778" y="800"/>
                </a:lnTo>
                <a:lnTo>
                  <a:pt x="780" y="780"/>
                </a:lnTo>
                <a:lnTo>
                  <a:pt x="780" y="98"/>
                </a:lnTo>
                <a:lnTo>
                  <a:pt x="780" y="98"/>
                </a:lnTo>
                <a:lnTo>
                  <a:pt x="778" y="78"/>
                </a:lnTo>
                <a:lnTo>
                  <a:pt x="774" y="60"/>
                </a:lnTo>
                <a:lnTo>
                  <a:pt x="764" y="42"/>
                </a:lnTo>
                <a:lnTo>
                  <a:pt x="752" y="28"/>
                </a:lnTo>
                <a:lnTo>
                  <a:pt x="738" y="16"/>
                </a:lnTo>
                <a:lnTo>
                  <a:pt x="722" y="8"/>
                </a:lnTo>
                <a:lnTo>
                  <a:pt x="702" y="2"/>
                </a:lnTo>
                <a:lnTo>
                  <a:pt x="684" y="0"/>
                </a:lnTo>
                <a:lnTo>
                  <a:pt x="684" y="0"/>
                </a:lnTo>
                <a:close/>
                <a:moveTo>
                  <a:pt x="684" y="780"/>
                </a:moveTo>
                <a:lnTo>
                  <a:pt x="98" y="780"/>
                </a:lnTo>
                <a:lnTo>
                  <a:pt x="98" y="98"/>
                </a:lnTo>
                <a:lnTo>
                  <a:pt x="684" y="98"/>
                </a:lnTo>
                <a:lnTo>
                  <a:pt x="684" y="780"/>
                </a:lnTo>
                <a:close/>
                <a:moveTo>
                  <a:pt x="440" y="536"/>
                </a:moveTo>
                <a:lnTo>
                  <a:pt x="196" y="536"/>
                </a:lnTo>
                <a:lnTo>
                  <a:pt x="196" y="586"/>
                </a:lnTo>
                <a:lnTo>
                  <a:pt x="440" y="586"/>
                </a:lnTo>
                <a:lnTo>
                  <a:pt x="440" y="536"/>
                </a:lnTo>
                <a:close/>
                <a:moveTo>
                  <a:pt x="586" y="342"/>
                </a:moveTo>
                <a:lnTo>
                  <a:pt x="390" y="342"/>
                </a:lnTo>
                <a:lnTo>
                  <a:pt x="390" y="390"/>
                </a:lnTo>
                <a:lnTo>
                  <a:pt x="586" y="390"/>
                </a:lnTo>
                <a:lnTo>
                  <a:pt x="586" y="342"/>
                </a:lnTo>
                <a:close/>
                <a:moveTo>
                  <a:pt x="390" y="292"/>
                </a:moveTo>
                <a:lnTo>
                  <a:pt x="586" y="292"/>
                </a:lnTo>
                <a:lnTo>
                  <a:pt x="586" y="194"/>
                </a:lnTo>
                <a:lnTo>
                  <a:pt x="390" y="194"/>
                </a:lnTo>
                <a:lnTo>
                  <a:pt x="390" y="292"/>
                </a:lnTo>
                <a:close/>
                <a:moveTo>
                  <a:pt x="342" y="194"/>
                </a:moveTo>
                <a:lnTo>
                  <a:pt x="196" y="194"/>
                </a:lnTo>
                <a:lnTo>
                  <a:pt x="196" y="390"/>
                </a:lnTo>
                <a:lnTo>
                  <a:pt x="342" y="390"/>
                </a:lnTo>
                <a:lnTo>
                  <a:pt x="342" y="194"/>
                </a:lnTo>
                <a:close/>
                <a:moveTo>
                  <a:pt x="292" y="438"/>
                </a:moveTo>
                <a:lnTo>
                  <a:pt x="196" y="438"/>
                </a:lnTo>
                <a:lnTo>
                  <a:pt x="196" y="488"/>
                </a:lnTo>
                <a:lnTo>
                  <a:pt x="292" y="488"/>
                </a:lnTo>
                <a:lnTo>
                  <a:pt x="292" y="438"/>
                </a:lnTo>
                <a:close/>
                <a:moveTo>
                  <a:pt x="342" y="488"/>
                </a:moveTo>
                <a:lnTo>
                  <a:pt x="586" y="488"/>
                </a:lnTo>
                <a:lnTo>
                  <a:pt x="586" y="438"/>
                </a:lnTo>
                <a:lnTo>
                  <a:pt x="342" y="438"/>
                </a:lnTo>
                <a:lnTo>
                  <a:pt x="342" y="488"/>
                </a:lnTo>
                <a:close/>
                <a:moveTo>
                  <a:pt x="586" y="634"/>
                </a:moveTo>
                <a:lnTo>
                  <a:pt x="196" y="634"/>
                </a:lnTo>
                <a:lnTo>
                  <a:pt x="196" y="682"/>
                </a:lnTo>
                <a:lnTo>
                  <a:pt x="586" y="682"/>
                </a:lnTo>
                <a:lnTo>
                  <a:pt x="586" y="634"/>
                </a:lnTo>
                <a:close/>
                <a:moveTo>
                  <a:pt x="488" y="586"/>
                </a:moveTo>
                <a:lnTo>
                  <a:pt x="586" y="586"/>
                </a:lnTo>
                <a:lnTo>
                  <a:pt x="586" y="536"/>
                </a:lnTo>
                <a:lnTo>
                  <a:pt x="488" y="536"/>
                </a:lnTo>
                <a:lnTo>
                  <a:pt x="488" y="58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p>
            <a:endParaRPr lang="en-US" dirty="0"/>
          </a:p>
        </p:txBody>
      </p:sp>
      <p:sp>
        <p:nvSpPr>
          <p:cNvPr id="13" name="文本框 12"/>
          <p:cNvSpPr txBox="1"/>
          <p:nvPr/>
        </p:nvSpPr>
        <p:spPr>
          <a:xfrm>
            <a:off x="938530" y="369189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sz="1800" dirty="0" smtClean="0"/>
              <a:t>小样本示例</a:t>
            </a:r>
            <a:endParaRPr lang="zh-CN" altLang="en-US" sz="1800" dirty="0" smtClean="0"/>
          </a:p>
        </p:txBody>
      </p:sp>
      <p:sp>
        <p:nvSpPr>
          <p:cNvPr id="19" name="椭圆 18"/>
          <p:cNvSpPr/>
          <p:nvPr/>
        </p:nvSpPr>
        <p:spPr>
          <a:xfrm>
            <a:off x="4639310" y="1553845"/>
            <a:ext cx="1913890" cy="1913890"/>
          </a:xfrm>
          <a:prstGeom prst="ellipse">
            <a:avLst/>
          </a:prstGeom>
          <a:noFill/>
          <a:ln w="12700" cap="flat" cmpd="sng" algn="ctr">
            <a:solidFill>
              <a:schemeClr val="accent1">
                <a:alpha val="5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21" name="椭圆 20"/>
          <p:cNvSpPr/>
          <p:nvPr/>
        </p:nvSpPr>
        <p:spPr>
          <a:xfrm>
            <a:off x="4639628" y="1554163"/>
            <a:ext cx="1913255" cy="1913255"/>
          </a:xfrm>
          <a:prstGeom prst="ellipse">
            <a:avLst/>
          </a:prstGeom>
          <a:blipFill>
            <a:blip r:embed="rId1"/>
            <a:srcRect/>
            <a:stretch>
              <a:fillRect l="-26675" t="263" r="-27904" b="-263"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/>
          </a:p>
        </p:txBody>
      </p:sp>
      <p:grpSp>
        <p:nvGrpSpPr>
          <p:cNvPr id="30" name="组合 29"/>
          <p:cNvGrpSpPr/>
          <p:nvPr/>
        </p:nvGrpSpPr>
        <p:grpSpPr>
          <a:xfrm rot="0">
            <a:off x="6308090" y="2176145"/>
            <a:ext cx="538480" cy="538480"/>
            <a:chOff x="3526795" y="2235779"/>
            <a:chExt cx="410200" cy="410198"/>
          </a:xfrm>
        </p:grpSpPr>
        <p:sp>
          <p:nvSpPr>
            <p:cNvPr id="34" name="椭圆 33"/>
            <p:cNvSpPr/>
            <p:nvPr/>
          </p:nvSpPr>
          <p:spPr>
            <a:xfrm>
              <a:off x="3526795" y="2235779"/>
              <a:ext cx="410200" cy="410198"/>
            </a:xfrm>
            <a:prstGeom prst="ellipse">
              <a:avLst/>
            </a:pr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endParaRPr lang="zh-CN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38" name="任意多边形: 形状 20"/>
            <p:cNvSpPr/>
            <p:nvPr/>
          </p:nvSpPr>
          <p:spPr>
            <a:xfrm>
              <a:off x="3642895" y="2374128"/>
              <a:ext cx="178001" cy="133500"/>
            </a:xfrm>
            <a:custGeom>
              <a:avLst/>
              <a:gdLst>
                <a:gd name="connsiteX0" fmla="*/ 505433 w 533400"/>
                <a:gd name="connsiteY0" fmla="*/ 621 h 400050"/>
                <a:gd name="connsiteX1" fmla="*/ 534008 w 533400"/>
                <a:gd name="connsiteY1" fmla="*/ 29196 h 400050"/>
                <a:gd name="connsiteX2" fmla="*/ 534008 w 533400"/>
                <a:gd name="connsiteY2" fmla="*/ 372096 h 400050"/>
                <a:gd name="connsiteX3" fmla="*/ 505433 w 533400"/>
                <a:gd name="connsiteY3" fmla="*/ 400671 h 400050"/>
                <a:gd name="connsiteX4" fmla="*/ 29183 w 533400"/>
                <a:gd name="connsiteY4" fmla="*/ 400671 h 400050"/>
                <a:gd name="connsiteX5" fmla="*/ 608 w 533400"/>
                <a:gd name="connsiteY5" fmla="*/ 372096 h 400050"/>
                <a:gd name="connsiteX6" fmla="*/ 608 w 533400"/>
                <a:gd name="connsiteY6" fmla="*/ 29196 h 400050"/>
                <a:gd name="connsiteX7" fmla="*/ 29183 w 533400"/>
                <a:gd name="connsiteY7" fmla="*/ 621 h 400050"/>
                <a:gd name="connsiteX8" fmla="*/ 505433 w 533400"/>
                <a:gd name="connsiteY8" fmla="*/ 621 h 400050"/>
                <a:gd name="connsiteX9" fmla="*/ 391419 w 533400"/>
                <a:gd name="connsiteY9" fmla="*/ 198646 h 400050"/>
                <a:gd name="connsiteX10" fmla="*/ 351414 w 533400"/>
                <a:gd name="connsiteY10" fmla="*/ 204170 h 400050"/>
                <a:gd name="connsiteX11" fmla="*/ 351414 w 533400"/>
                <a:gd name="connsiteY11" fmla="*/ 204170 h 400050"/>
                <a:gd name="connsiteX12" fmla="*/ 267118 w 533400"/>
                <a:gd name="connsiteY12" fmla="*/ 315613 h 400050"/>
                <a:gd name="connsiteX13" fmla="*/ 264641 w 533400"/>
                <a:gd name="connsiteY13" fmla="*/ 318470 h 400050"/>
                <a:gd name="connsiteX14" fmla="*/ 224255 w 533400"/>
                <a:gd name="connsiteY14" fmla="*/ 318756 h 400050"/>
                <a:gd name="connsiteX15" fmla="*/ 224255 w 533400"/>
                <a:gd name="connsiteY15" fmla="*/ 318756 h 400050"/>
                <a:gd name="connsiteX16" fmla="*/ 162152 w 533400"/>
                <a:gd name="connsiteY16" fmla="*/ 257415 h 400050"/>
                <a:gd name="connsiteX17" fmla="*/ 160247 w 533400"/>
                <a:gd name="connsiteY17" fmla="*/ 255701 h 400050"/>
                <a:gd name="connsiteX18" fmla="*/ 120052 w 533400"/>
                <a:gd name="connsiteY18" fmla="*/ 259606 h 400050"/>
                <a:gd name="connsiteX19" fmla="*/ 120052 w 533400"/>
                <a:gd name="connsiteY19" fmla="*/ 259606 h 400050"/>
                <a:gd name="connsiteX20" fmla="*/ 32517 w 533400"/>
                <a:gd name="connsiteY20" fmla="*/ 366095 h 400050"/>
                <a:gd name="connsiteX21" fmla="*/ 30326 w 533400"/>
                <a:gd name="connsiteY21" fmla="*/ 372096 h 400050"/>
                <a:gd name="connsiteX22" fmla="*/ 39851 w 533400"/>
                <a:gd name="connsiteY22" fmla="*/ 381621 h 400050"/>
                <a:gd name="connsiteX23" fmla="*/ 39851 w 533400"/>
                <a:gd name="connsiteY23" fmla="*/ 381621 h 400050"/>
                <a:gd name="connsiteX24" fmla="*/ 497242 w 533400"/>
                <a:gd name="connsiteY24" fmla="*/ 381621 h 400050"/>
                <a:gd name="connsiteX25" fmla="*/ 502480 w 533400"/>
                <a:gd name="connsiteY25" fmla="*/ 380002 h 400050"/>
                <a:gd name="connsiteX26" fmla="*/ 505147 w 533400"/>
                <a:gd name="connsiteY26" fmla="*/ 366762 h 400050"/>
                <a:gd name="connsiteX27" fmla="*/ 505147 w 533400"/>
                <a:gd name="connsiteY27" fmla="*/ 366762 h 400050"/>
                <a:gd name="connsiteX28" fmla="*/ 397991 w 533400"/>
                <a:gd name="connsiteY28" fmla="*/ 205504 h 400050"/>
                <a:gd name="connsiteX29" fmla="*/ 391419 w 533400"/>
                <a:gd name="connsiteY29" fmla="*/ 198646 h 400050"/>
                <a:gd name="connsiteX30" fmla="*/ 95858 w 533400"/>
                <a:gd name="connsiteY30" fmla="*/ 57771 h 400050"/>
                <a:gd name="connsiteX31" fmla="*/ 57758 w 533400"/>
                <a:gd name="connsiteY31" fmla="*/ 95871 h 400050"/>
                <a:gd name="connsiteX32" fmla="*/ 95858 w 533400"/>
                <a:gd name="connsiteY32" fmla="*/ 133971 h 400050"/>
                <a:gd name="connsiteX33" fmla="*/ 133958 w 533400"/>
                <a:gd name="connsiteY33" fmla="*/ 95871 h 400050"/>
                <a:gd name="connsiteX34" fmla="*/ 95858 w 533400"/>
                <a:gd name="connsiteY34" fmla="*/ 57771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533400" h="400050">
                  <a:moveTo>
                    <a:pt x="505433" y="621"/>
                  </a:moveTo>
                  <a:cubicBezTo>
                    <a:pt x="521245" y="621"/>
                    <a:pt x="534008" y="13385"/>
                    <a:pt x="534008" y="29196"/>
                  </a:cubicBezTo>
                  <a:lnTo>
                    <a:pt x="534008" y="372096"/>
                  </a:lnTo>
                  <a:cubicBezTo>
                    <a:pt x="534008" y="387907"/>
                    <a:pt x="521245" y="400671"/>
                    <a:pt x="505433" y="400671"/>
                  </a:cubicBezTo>
                  <a:lnTo>
                    <a:pt x="29183" y="400671"/>
                  </a:lnTo>
                  <a:cubicBezTo>
                    <a:pt x="13371" y="400671"/>
                    <a:pt x="608" y="387907"/>
                    <a:pt x="608" y="372096"/>
                  </a:cubicBezTo>
                  <a:lnTo>
                    <a:pt x="608" y="29196"/>
                  </a:lnTo>
                  <a:cubicBezTo>
                    <a:pt x="608" y="13385"/>
                    <a:pt x="13371" y="621"/>
                    <a:pt x="29183" y="621"/>
                  </a:cubicBezTo>
                  <a:lnTo>
                    <a:pt x="505433" y="621"/>
                  </a:lnTo>
                  <a:close/>
                  <a:moveTo>
                    <a:pt x="391419" y="198646"/>
                  </a:moveTo>
                  <a:cubicBezTo>
                    <a:pt x="378846" y="189121"/>
                    <a:pt x="360939" y="191597"/>
                    <a:pt x="351414" y="204170"/>
                  </a:cubicBezTo>
                  <a:lnTo>
                    <a:pt x="351414" y="204170"/>
                  </a:lnTo>
                  <a:lnTo>
                    <a:pt x="267118" y="315613"/>
                  </a:lnTo>
                  <a:cubicBezTo>
                    <a:pt x="266355" y="316660"/>
                    <a:pt x="265498" y="317518"/>
                    <a:pt x="264641" y="318470"/>
                  </a:cubicBezTo>
                  <a:cubicBezTo>
                    <a:pt x="253592" y="329710"/>
                    <a:pt x="235495" y="329805"/>
                    <a:pt x="224255" y="318756"/>
                  </a:cubicBezTo>
                  <a:lnTo>
                    <a:pt x="224255" y="318756"/>
                  </a:lnTo>
                  <a:lnTo>
                    <a:pt x="162152" y="257415"/>
                  </a:lnTo>
                  <a:cubicBezTo>
                    <a:pt x="161485" y="256844"/>
                    <a:pt x="160914" y="256177"/>
                    <a:pt x="160247" y="255701"/>
                  </a:cubicBezTo>
                  <a:cubicBezTo>
                    <a:pt x="148055" y="245699"/>
                    <a:pt x="130053" y="247414"/>
                    <a:pt x="120052" y="259606"/>
                  </a:cubicBezTo>
                  <a:lnTo>
                    <a:pt x="120052" y="259606"/>
                  </a:lnTo>
                  <a:lnTo>
                    <a:pt x="32517" y="366095"/>
                  </a:lnTo>
                  <a:cubicBezTo>
                    <a:pt x="31088" y="367810"/>
                    <a:pt x="30326" y="369905"/>
                    <a:pt x="30326" y="372096"/>
                  </a:cubicBezTo>
                  <a:cubicBezTo>
                    <a:pt x="30326" y="377335"/>
                    <a:pt x="34612" y="381621"/>
                    <a:pt x="39851" y="381621"/>
                  </a:cubicBezTo>
                  <a:lnTo>
                    <a:pt x="39851" y="381621"/>
                  </a:lnTo>
                  <a:lnTo>
                    <a:pt x="497242" y="381621"/>
                  </a:lnTo>
                  <a:cubicBezTo>
                    <a:pt x="499146" y="381621"/>
                    <a:pt x="500956" y="381050"/>
                    <a:pt x="502480" y="380002"/>
                  </a:cubicBezTo>
                  <a:cubicBezTo>
                    <a:pt x="506862" y="377049"/>
                    <a:pt x="508005" y="371144"/>
                    <a:pt x="505147" y="366762"/>
                  </a:cubicBezTo>
                  <a:lnTo>
                    <a:pt x="505147" y="366762"/>
                  </a:lnTo>
                  <a:lnTo>
                    <a:pt x="397991" y="205504"/>
                  </a:lnTo>
                  <a:cubicBezTo>
                    <a:pt x="396181" y="202932"/>
                    <a:pt x="393990" y="200551"/>
                    <a:pt x="391419" y="198646"/>
                  </a:cubicBezTo>
                  <a:close/>
                  <a:moveTo>
                    <a:pt x="95858" y="57771"/>
                  </a:moveTo>
                  <a:cubicBezTo>
                    <a:pt x="74808" y="57771"/>
                    <a:pt x="57758" y="74821"/>
                    <a:pt x="57758" y="95871"/>
                  </a:cubicBezTo>
                  <a:cubicBezTo>
                    <a:pt x="57758" y="116921"/>
                    <a:pt x="74808" y="133971"/>
                    <a:pt x="95858" y="133971"/>
                  </a:cubicBezTo>
                  <a:cubicBezTo>
                    <a:pt x="116908" y="133971"/>
                    <a:pt x="133958" y="116921"/>
                    <a:pt x="133958" y="95871"/>
                  </a:cubicBezTo>
                  <a:cubicBezTo>
                    <a:pt x="133958" y="74821"/>
                    <a:pt x="116908" y="57771"/>
                    <a:pt x="95858" y="57771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52" name="文本框 51"/>
          <p:cNvSpPr txBox="1"/>
          <p:nvPr/>
        </p:nvSpPr>
        <p:spPr>
          <a:xfrm>
            <a:off x="6913245" y="2193290"/>
            <a:ext cx="3268980" cy="538480"/>
          </a:xfrm>
          <a:prstGeom prst="rect">
            <a:avLst/>
          </a:prstGeom>
          <a:noFill/>
        </p:spPr>
        <p:txBody>
          <a:bodyPr wrap="square" anchor="ctr" anchorCtr="0">
            <a:normAutofit/>
          </a:bodyPr>
          <a:lstStyle>
            <a:defPPr>
              <a:defRPr lang="zh-CN"/>
            </a:defPPr>
            <a:lvl1pPr marR="0" lvl="0" indent="0" defTabSz="91376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defRPr kumimoji="0" sz="2000" b="1" i="0" u="none" strike="noStrike" cap="none" spc="0" normalizeH="0" baseline="0">
                <a:ln>
                  <a:noFill/>
                </a:ln>
                <a:effectLst/>
                <a:uLnTx/>
                <a:uFillTx/>
              </a:defRPr>
            </a:lvl1pPr>
          </a:lstStyle>
          <a:p>
            <a:pPr algn="l"/>
            <a:r>
              <a:rPr lang="zh-CN" altLang="en-US" sz="1800" b="0" dirty="0">
                <a:latin typeface="华文楷体" panose="02010600040101010101" pitchFamily="2" charset="-122"/>
                <a:ea typeface="华文楷体" panose="02010600040101010101" pitchFamily="2" charset="-122"/>
              </a:rPr>
              <a:t>正负样本分布不均匀</a:t>
            </a:r>
            <a:endParaRPr lang="zh-CN" altLang="en-US" sz="1800" b="0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grpSp>
        <p:nvGrpSpPr>
          <p:cNvPr id="54" name="组合 53"/>
          <p:cNvGrpSpPr/>
          <p:nvPr/>
        </p:nvGrpSpPr>
        <p:grpSpPr>
          <a:xfrm rot="0">
            <a:off x="4332605" y="2176145"/>
            <a:ext cx="538480" cy="538480"/>
            <a:chOff x="4471992" y="2235779"/>
            <a:chExt cx="410200" cy="410198"/>
          </a:xfrm>
        </p:grpSpPr>
        <p:sp>
          <p:nvSpPr>
            <p:cNvPr id="55" name="椭圆 54"/>
            <p:cNvSpPr/>
            <p:nvPr/>
          </p:nvSpPr>
          <p:spPr>
            <a:xfrm>
              <a:off x="4471992" y="2235779"/>
              <a:ext cx="410200" cy="410198"/>
            </a:xfrm>
            <a:prstGeom prst="ellipse">
              <a:avLst/>
            </a:pr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endParaRPr lang="zh-CN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56" name="任意多边形: 形状 15"/>
            <p:cNvSpPr/>
            <p:nvPr/>
          </p:nvSpPr>
          <p:spPr>
            <a:xfrm>
              <a:off x="4595899" y="2358227"/>
              <a:ext cx="162386" cy="178001"/>
            </a:xfrm>
            <a:custGeom>
              <a:avLst/>
              <a:gdLst>
                <a:gd name="connsiteX0" fmla="*/ 248770 w 495300"/>
                <a:gd name="connsiteY0" fmla="*/ 621 h 542925"/>
                <a:gd name="connsiteX1" fmla="*/ 496420 w 495300"/>
                <a:gd name="connsiteY1" fmla="*/ 248271 h 542925"/>
                <a:gd name="connsiteX2" fmla="*/ 323827 w 495300"/>
                <a:gd name="connsiteY2" fmla="*/ 484396 h 542925"/>
                <a:gd name="connsiteX3" fmla="*/ 346973 w 495300"/>
                <a:gd name="connsiteY3" fmla="*/ 524496 h 542925"/>
                <a:gd name="connsiteX4" fmla="*/ 420220 w 495300"/>
                <a:gd name="connsiteY4" fmla="*/ 524496 h 542925"/>
                <a:gd name="connsiteX5" fmla="*/ 420220 w 495300"/>
                <a:gd name="connsiteY5" fmla="*/ 543546 h 542925"/>
                <a:gd name="connsiteX6" fmla="*/ 77320 w 495300"/>
                <a:gd name="connsiteY6" fmla="*/ 543546 h 542925"/>
                <a:gd name="connsiteX7" fmla="*/ 77320 w 495300"/>
                <a:gd name="connsiteY7" fmla="*/ 524496 h 542925"/>
                <a:gd name="connsiteX8" fmla="*/ 150567 w 495300"/>
                <a:gd name="connsiteY8" fmla="*/ 524496 h 542925"/>
                <a:gd name="connsiteX9" fmla="*/ 173713 w 495300"/>
                <a:gd name="connsiteY9" fmla="*/ 484396 h 542925"/>
                <a:gd name="connsiteX10" fmla="*/ 1120 w 495300"/>
                <a:gd name="connsiteY10" fmla="*/ 248271 h 542925"/>
                <a:gd name="connsiteX11" fmla="*/ 248770 w 495300"/>
                <a:gd name="connsiteY11" fmla="*/ 621 h 542925"/>
                <a:gd name="connsiteX12" fmla="*/ 192763 w 495300"/>
                <a:gd name="connsiteY12" fmla="*/ 489539 h 542925"/>
                <a:gd name="connsiteX13" fmla="*/ 172570 w 495300"/>
                <a:gd name="connsiteY13" fmla="*/ 524496 h 542925"/>
                <a:gd name="connsiteX14" fmla="*/ 324970 w 495300"/>
                <a:gd name="connsiteY14" fmla="*/ 524496 h 542925"/>
                <a:gd name="connsiteX15" fmla="*/ 304777 w 495300"/>
                <a:gd name="connsiteY15" fmla="*/ 489539 h 542925"/>
                <a:gd name="connsiteX16" fmla="*/ 248770 w 495300"/>
                <a:gd name="connsiteY16" fmla="*/ 495921 h 542925"/>
                <a:gd name="connsiteX17" fmla="*/ 192763 w 495300"/>
                <a:gd name="connsiteY17" fmla="*/ 489539 h 542925"/>
                <a:gd name="connsiteX18" fmla="*/ 248770 w 495300"/>
                <a:gd name="connsiteY18" fmla="*/ 143496 h 542925"/>
                <a:gd name="connsiteX19" fmla="*/ 143995 w 495300"/>
                <a:gd name="connsiteY19" fmla="*/ 248271 h 542925"/>
                <a:gd name="connsiteX20" fmla="*/ 248770 w 495300"/>
                <a:gd name="connsiteY20" fmla="*/ 353046 h 542925"/>
                <a:gd name="connsiteX21" fmla="*/ 353545 w 495300"/>
                <a:gd name="connsiteY21" fmla="*/ 248271 h 542925"/>
                <a:gd name="connsiteX22" fmla="*/ 248770 w 495300"/>
                <a:gd name="connsiteY22" fmla="*/ 143496 h 542925"/>
                <a:gd name="connsiteX23" fmla="*/ 367833 w 495300"/>
                <a:gd name="connsiteY23" fmla="*/ 114921 h 542925"/>
                <a:gd name="connsiteX24" fmla="*/ 353545 w 495300"/>
                <a:gd name="connsiteY24" fmla="*/ 129209 h 542925"/>
                <a:gd name="connsiteX25" fmla="*/ 367833 w 495300"/>
                <a:gd name="connsiteY25" fmla="*/ 143496 h 542925"/>
                <a:gd name="connsiteX26" fmla="*/ 382120 w 495300"/>
                <a:gd name="connsiteY26" fmla="*/ 129209 h 542925"/>
                <a:gd name="connsiteX27" fmla="*/ 367833 w 495300"/>
                <a:gd name="connsiteY27" fmla="*/ 114921 h 542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495300" h="542925">
                  <a:moveTo>
                    <a:pt x="248770" y="621"/>
                  </a:moveTo>
                  <a:cubicBezTo>
                    <a:pt x="385549" y="621"/>
                    <a:pt x="496420" y="111492"/>
                    <a:pt x="496420" y="248271"/>
                  </a:cubicBezTo>
                  <a:cubicBezTo>
                    <a:pt x="496420" y="358856"/>
                    <a:pt x="423935" y="452582"/>
                    <a:pt x="323827" y="484396"/>
                  </a:cubicBezTo>
                  <a:lnTo>
                    <a:pt x="346973" y="524496"/>
                  </a:lnTo>
                  <a:lnTo>
                    <a:pt x="420220" y="524496"/>
                  </a:lnTo>
                  <a:lnTo>
                    <a:pt x="420220" y="543546"/>
                  </a:lnTo>
                  <a:lnTo>
                    <a:pt x="77320" y="543546"/>
                  </a:lnTo>
                  <a:lnTo>
                    <a:pt x="77320" y="524496"/>
                  </a:lnTo>
                  <a:lnTo>
                    <a:pt x="150567" y="524496"/>
                  </a:lnTo>
                  <a:lnTo>
                    <a:pt x="173713" y="484396"/>
                  </a:lnTo>
                  <a:cubicBezTo>
                    <a:pt x="73605" y="452582"/>
                    <a:pt x="1120" y="358856"/>
                    <a:pt x="1120" y="248271"/>
                  </a:cubicBezTo>
                  <a:cubicBezTo>
                    <a:pt x="1120" y="111492"/>
                    <a:pt x="111991" y="621"/>
                    <a:pt x="248770" y="621"/>
                  </a:cubicBezTo>
                  <a:close/>
                  <a:moveTo>
                    <a:pt x="192763" y="489539"/>
                  </a:moveTo>
                  <a:lnTo>
                    <a:pt x="172570" y="524496"/>
                  </a:lnTo>
                  <a:lnTo>
                    <a:pt x="324970" y="524496"/>
                  </a:lnTo>
                  <a:lnTo>
                    <a:pt x="304777" y="489539"/>
                  </a:lnTo>
                  <a:cubicBezTo>
                    <a:pt x="286775" y="493730"/>
                    <a:pt x="268010" y="495921"/>
                    <a:pt x="248770" y="495921"/>
                  </a:cubicBezTo>
                  <a:cubicBezTo>
                    <a:pt x="229530" y="495921"/>
                    <a:pt x="210765" y="493730"/>
                    <a:pt x="192763" y="489539"/>
                  </a:cubicBezTo>
                  <a:close/>
                  <a:moveTo>
                    <a:pt x="248770" y="143496"/>
                  </a:moveTo>
                  <a:cubicBezTo>
                    <a:pt x="190858" y="143496"/>
                    <a:pt x="143995" y="190359"/>
                    <a:pt x="143995" y="248271"/>
                  </a:cubicBezTo>
                  <a:cubicBezTo>
                    <a:pt x="143995" y="306183"/>
                    <a:pt x="190858" y="353046"/>
                    <a:pt x="248770" y="353046"/>
                  </a:cubicBezTo>
                  <a:cubicBezTo>
                    <a:pt x="306682" y="353046"/>
                    <a:pt x="353545" y="306183"/>
                    <a:pt x="353545" y="248271"/>
                  </a:cubicBezTo>
                  <a:cubicBezTo>
                    <a:pt x="353545" y="190359"/>
                    <a:pt x="306682" y="143496"/>
                    <a:pt x="248770" y="143496"/>
                  </a:cubicBezTo>
                  <a:close/>
                  <a:moveTo>
                    <a:pt x="367833" y="114921"/>
                  </a:moveTo>
                  <a:cubicBezTo>
                    <a:pt x="359927" y="114921"/>
                    <a:pt x="353545" y="121303"/>
                    <a:pt x="353545" y="129209"/>
                  </a:cubicBezTo>
                  <a:cubicBezTo>
                    <a:pt x="353545" y="137114"/>
                    <a:pt x="359927" y="143496"/>
                    <a:pt x="367833" y="143496"/>
                  </a:cubicBezTo>
                  <a:cubicBezTo>
                    <a:pt x="375738" y="143496"/>
                    <a:pt x="382120" y="137114"/>
                    <a:pt x="382120" y="129209"/>
                  </a:cubicBezTo>
                  <a:cubicBezTo>
                    <a:pt x="382120" y="121303"/>
                    <a:pt x="375738" y="114921"/>
                    <a:pt x="367833" y="114921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 fontScale="5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6" name="文本框 5"/>
          <p:cNvSpPr txBox="1"/>
          <p:nvPr/>
        </p:nvSpPr>
        <p:spPr>
          <a:xfrm>
            <a:off x="1542415" y="2193290"/>
            <a:ext cx="2790190" cy="538480"/>
          </a:xfrm>
          <a:prstGeom prst="rect">
            <a:avLst/>
          </a:prstGeom>
          <a:noFill/>
        </p:spPr>
        <p:txBody>
          <a:bodyPr wrap="square" anchor="ctr" anchorCtr="0">
            <a:normAutofit/>
          </a:bodyPr>
          <a:lstStyle>
            <a:defPPr>
              <a:defRPr lang="zh-CN"/>
            </a:defPPr>
            <a:lvl1pPr marR="0" lvl="0" indent="0" defTabSz="91376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defRPr kumimoji="0" sz="2000" b="1" i="0" u="none" strike="noStrike" cap="none" spc="0" normalizeH="0" baseline="0">
                <a:ln>
                  <a:noFill/>
                </a:ln>
                <a:effectLst/>
                <a:uLnTx/>
                <a:uFillTx/>
              </a:defRPr>
            </a:lvl1pPr>
          </a:lstStyle>
          <a:p>
            <a:pPr algn="l" fontAlgn="ctr"/>
            <a:r>
              <a:rPr lang="zh-CN" altLang="en-US" sz="1800" b="0">
                <a:sym typeface="+mn-ea"/>
              </a:rPr>
              <a:t>样本量少的那一类更重要</a:t>
            </a:r>
            <a:endParaRPr lang="zh-CN" altLang="en-US" sz="1800" b="0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cxnSp>
        <p:nvCxnSpPr>
          <p:cNvPr id="33" name="直接连接符 32"/>
          <p:cNvCxnSpPr/>
          <p:nvPr/>
        </p:nvCxnSpPr>
        <p:spPr>
          <a:xfrm flipH="1">
            <a:off x="660400" y="5391785"/>
            <a:ext cx="10858500" cy="0"/>
          </a:xfrm>
          <a:prstGeom prst="line">
            <a:avLst/>
          </a:prstGeom>
          <a:ln w="6350" cap="rnd">
            <a:solidFill>
              <a:schemeClr val="accent1">
                <a:alpha val="50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9" name="组合 68"/>
          <p:cNvGrpSpPr/>
          <p:nvPr/>
        </p:nvGrpSpPr>
        <p:grpSpPr>
          <a:xfrm>
            <a:off x="1546860" y="4276725"/>
            <a:ext cx="833120" cy="1215390"/>
            <a:chOff x="2436" y="6700"/>
            <a:chExt cx="1312" cy="1914"/>
          </a:xfrm>
        </p:grpSpPr>
        <p:sp>
          <p:nvSpPr>
            <p:cNvPr id="35" name="椭圆 34"/>
            <p:cNvSpPr/>
            <p:nvPr/>
          </p:nvSpPr>
          <p:spPr>
            <a:xfrm>
              <a:off x="2950" y="8332"/>
              <a:ext cx="283" cy="283"/>
            </a:xfrm>
            <a:prstGeom prst="ellipse">
              <a:avLst/>
            </a:prstGeom>
            <a:solidFill>
              <a:schemeClr val="accent1"/>
            </a:solidFill>
            <a:ln w="25400" cap="rnd">
              <a:solidFill>
                <a:srgbClr val="FFFFFF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rmAutofit fontScale="25000" lnSpcReduction="20000"/>
            </a:bodyPr>
            <a:p>
              <a:pPr algn="ctr" defTabSz="913765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36" name="泪滴形 35"/>
            <p:cNvSpPr/>
            <p:nvPr/>
          </p:nvSpPr>
          <p:spPr>
            <a:xfrm rot="8100000">
              <a:off x="2436" y="6700"/>
              <a:ext cx="1312" cy="1312"/>
            </a:xfrm>
            <a:prstGeom prst="teardrop">
              <a:avLst/>
            </a:prstGeom>
            <a:solidFill>
              <a:schemeClr val="accent1">
                <a:alpha val="15000"/>
              </a:schemeClr>
            </a:solidFill>
            <a:ln w="25400" cap="rnd">
              <a:solidFill>
                <a:srgbClr val="FFFFFF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rmAutofit/>
            </a:bodyPr>
            <a:p>
              <a:pPr algn="ctr" defTabSz="913765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37" name="文本框 36"/>
            <p:cNvSpPr txBox="1"/>
            <p:nvPr/>
          </p:nvSpPr>
          <p:spPr bwMode="auto">
            <a:xfrm>
              <a:off x="2566" y="6850"/>
              <a:ext cx="1051" cy="11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anchor="ctr" anchorCtr="1">
              <a:normAutofit/>
            </a:bodyPr>
            <a:p>
              <a:pPr algn="ctr">
                <a:spcBef>
                  <a:spcPct val="0"/>
                </a:spcBef>
              </a:pPr>
              <a:r>
                <a:rPr lang="en-US" altLang="zh-CN" b="1" dirty="0">
                  <a:solidFill>
                    <a:schemeClr val="accent1"/>
                  </a:solidFill>
                  <a:latin typeface="Calibri" panose="020F0502020204030204" pitchFamily="34" charset="0"/>
                  <a:ea typeface="宋体" pitchFamily="2" charset="-122"/>
                </a:rPr>
                <a:t>01</a:t>
              </a:r>
              <a:endParaRPr lang="en-US" altLang="zh-CN" b="1" dirty="0">
                <a:solidFill>
                  <a:schemeClr val="accent1"/>
                </a:solidFill>
                <a:latin typeface="Calibri" panose="020F0502020204030204" pitchFamily="34" charset="0"/>
                <a:ea typeface="宋体" pitchFamily="2" charset="-122"/>
              </a:endParaRPr>
            </a:p>
          </p:txBody>
        </p:sp>
      </p:grpSp>
      <p:grpSp>
        <p:nvGrpSpPr>
          <p:cNvPr id="68" name="组合 67"/>
          <p:cNvGrpSpPr/>
          <p:nvPr/>
        </p:nvGrpSpPr>
        <p:grpSpPr>
          <a:xfrm>
            <a:off x="3609975" y="4076700"/>
            <a:ext cx="833120" cy="1415415"/>
            <a:chOff x="6003" y="6385"/>
            <a:chExt cx="1312" cy="2229"/>
          </a:xfrm>
        </p:grpSpPr>
        <p:sp>
          <p:nvSpPr>
            <p:cNvPr id="18" name="文本框 17"/>
            <p:cNvSpPr txBox="1"/>
            <p:nvPr/>
          </p:nvSpPr>
          <p:spPr bwMode="auto">
            <a:xfrm>
              <a:off x="6133" y="6385"/>
              <a:ext cx="1051" cy="11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anchor="ctr" anchorCtr="1">
              <a:normAutofit/>
            </a:bodyPr>
            <a:p>
              <a:pPr algn="ctr">
                <a:spcBef>
                  <a:spcPct val="0"/>
                </a:spcBef>
              </a:pPr>
              <a:r>
                <a:rPr lang="en-US" altLang="zh-CN" b="1" dirty="0">
                  <a:solidFill>
                    <a:srgbClr val="FFFFFF"/>
                  </a:solidFill>
                  <a:latin typeface="Calibri" panose="020F0502020204030204" pitchFamily="34" charset="0"/>
                  <a:ea typeface="宋体" pitchFamily="2" charset="-122"/>
                </a:rPr>
                <a:t>02</a:t>
              </a:r>
              <a:endParaRPr lang="en-US" altLang="zh-CN" b="1" dirty="0">
                <a:solidFill>
                  <a:srgbClr val="FFFFFF"/>
                </a:solidFill>
                <a:latin typeface="Calibri" panose="020F0502020204030204" pitchFamily="34" charset="0"/>
                <a:ea typeface="宋体" pitchFamily="2" charset="-122"/>
              </a:endParaRPr>
            </a:p>
          </p:txBody>
        </p:sp>
        <p:sp>
          <p:nvSpPr>
            <p:cNvPr id="39" name="椭圆 38"/>
            <p:cNvSpPr/>
            <p:nvPr/>
          </p:nvSpPr>
          <p:spPr>
            <a:xfrm>
              <a:off x="6517" y="8332"/>
              <a:ext cx="283" cy="283"/>
            </a:xfrm>
            <a:prstGeom prst="ellipse">
              <a:avLst/>
            </a:prstGeom>
            <a:solidFill>
              <a:schemeClr val="accent1"/>
            </a:solidFill>
            <a:ln w="25400" cap="rnd">
              <a:solidFill>
                <a:srgbClr val="FFFFFF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rmAutofit fontScale="25000" lnSpcReduction="20000"/>
            </a:bodyPr>
            <a:p>
              <a:pPr algn="ctr" defTabSz="913765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40" name="泪滴形 39"/>
            <p:cNvSpPr/>
            <p:nvPr/>
          </p:nvSpPr>
          <p:spPr>
            <a:xfrm rot="8100000">
              <a:off x="6003" y="6700"/>
              <a:ext cx="1312" cy="1312"/>
            </a:xfrm>
            <a:prstGeom prst="teardrop">
              <a:avLst/>
            </a:prstGeom>
            <a:solidFill>
              <a:schemeClr val="accent1">
                <a:alpha val="15000"/>
              </a:schemeClr>
            </a:solidFill>
            <a:ln w="25400" cap="rnd">
              <a:solidFill>
                <a:srgbClr val="FFFFFF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rmAutofit/>
            </a:bodyPr>
            <a:p>
              <a:pPr lvl="0" algn="ctr" defTabSz="913765">
                <a:buClrTx/>
                <a:buSzTx/>
                <a:buFontTx/>
              </a:pPr>
              <a:endParaRPr lang="zh-CN" altLang="en-US" sz="2000" b="1" dirty="0">
                <a:solidFill>
                  <a:schemeClr val="bg1"/>
                </a:solidFill>
                <a:sym typeface="+mn-ea"/>
              </a:endParaRPr>
            </a:p>
          </p:txBody>
        </p:sp>
        <p:sp>
          <p:nvSpPr>
            <p:cNvPr id="41" name="文本框 40"/>
            <p:cNvSpPr txBox="1"/>
            <p:nvPr/>
          </p:nvSpPr>
          <p:spPr bwMode="auto">
            <a:xfrm>
              <a:off x="6133" y="6850"/>
              <a:ext cx="1051" cy="11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anchor="ctr" anchorCtr="1">
              <a:normAutofit/>
            </a:bodyPr>
            <a:p>
              <a:pPr algn="ctr">
                <a:spcBef>
                  <a:spcPct val="0"/>
                </a:spcBef>
              </a:pPr>
              <a:r>
                <a:rPr lang="en-US" altLang="zh-CN" b="1" dirty="0">
                  <a:solidFill>
                    <a:srgbClr val="F05A23"/>
                  </a:solidFill>
                  <a:latin typeface="Calibri" panose="020F0502020204030204" pitchFamily="34" charset="0"/>
                  <a:ea typeface="宋体" pitchFamily="2" charset="-122"/>
                </a:rPr>
                <a:t>02</a:t>
              </a:r>
              <a:endParaRPr lang="en-US" altLang="zh-CN" b="1" dirty="0">
                <a:solidFill>
                  <a:srgbClr val="F05A23"/>
                </a:solidFill>
                <a:latin typeface="Calibri" panose="020F0502020204030204" pitchFamily="34" charset="0"/>
                <a:ea typeface="宋体" pitchFamily="2" charset="-122"/>
              </a:endParaRPr>
            </a:p>
          </p:txBody>
        </p:sp>
      </p:grpSp>
      <p:grpSp>
        <p:nvGrpSpPr>
          <p:cNvPr id="70" name="组合 69"/>
          <p:cNvGrpSpPr/>
          <p:nvPr/>
        </p:nvGrpSpPr>
        <p:grpSpPr>
          <a:xfrm>
            <a:off x="7736205" y="4276725"/>
            <a:ext cx="833120" cy="1215390"/>
            <a:chOff x="11100" y="6700"/>
            <a:chExt cx="1312" cy="1914"/>
          </a:xfrm>
        </p:grpSpPr>
        <p:sp>
          <p:nvSpPr>
            <p:cNvPr id="42" name="椭圆 41"/>
            <p:cNvSpPr/>
            <p:nvPr/>
          </p:nvSpPr>
          <p:spPr>
            <a:xfrm>
              <a:off x="11614" y="8332"/>
              <a:ext cx="283" cy="283"/>
            </a:xfrm>
            <a:prstGeom prst="ellipse">
              <a:avLst/>
            </a:prstGeom>
            <a:solidFill>
              <a:schemeClr val="accent1"/>
            </a:solidFill>
            <a:ln w="25400" cap="rnd">
              <a:solidFill>
                <a:srgbClr val="FFFFFF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rmAutofit fontScale="25000" lnSpcReduction="20000"/>
            </a:bodyPr>
            <a:p>
              <a:pPr algn="ctr" defTabSz="913765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43" name="泪滴形 42"/>
            <p:cNvSpPr/>
            <p:nvPr/>
          </p:nvSpPr>
          <p:spPr>
            <a:xfrm rot="8100000">
              <a:off x="11100" y="6700"/>
              <a:ext cx="1312" cy="1312"/>
            </a:xfrm>
            <a:prstGeom prst="teardrop">
              <a:avLst/>
            </a:prstGeom>
            <a:solidFill>
              <a:schemeClr val="accent1">
                <a:alpha val="15000"/>
              </a:schemeClr>
            </a:solidFill>
            <a:ln w="25400" cap="rnd">
              <a:solidFill>
                <a:srgbClr val="FFFFFF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rmAutofit/>
            </a:bodyPr>
            <a:p>
              <a:pPr algn="ctr" defTabSz="913765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44" name="文本框 43"/>
            <p:cNvSpPr txBox="1"/>
            <p:nvPr/>
          </p:nvSpPr>
          <p:spPr bwMode="auto">
            <a:xfrm>
              <a:off x="11230" y="6850"/>
              <a:ext cx="1051" cy="11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anchor="ctr" anchorCtr="1">
              <a:normAutofit/>
            </a:bodyPr>
            <a:p>
              <a:pPr algn="ctr">
                <a:spcBef>
                  <a:spcPct val="0"/>
                </a:spcBef>
              </a:pPr>
              <a:r>
                <a:rPr lang="en-US" altLang="zh-CN" b="1" dirty="0">
                  <a:solidFill>
                    <a:schemeClr val="accent1"/>
                  </a:solidFill>
                  <a:latin typeface="Calibri" panose="020F0502020204030204" pitchFamily="34" charset="0"/>
                  <a:ea typeface="宋体" pitchFamily="2" charset="-122"/>
                </a:rPr>
                <a:t>04</a:t>
              </a:r>
              <a:endParaRPr lang="en-US" altLang="zh-CN" b="1" dirty="0">
                <a:solidFill>
                  <a:schemeClr val="accent1"/>
                </a:solidFill>
                <a:latin typeface="Calibri" panose="020F0502020204030204" pitchFamily="34" charset="0"/>
                <a:ea typeface="宋体" pitchFamily="2" charset="-122"/>
              </a:endParaRPr>
            </a:p>
          </p:txBody>
        </p:sp>
      </p:grpSp>
      <p:grpSp>
        <p:nvGrpSpPr>
          <p:cNvPr id="71" name="组合 70"/>
          <p:cNvGrpSpPr/>
          <p:nvPr/>
        </p:nvGrpSpPr>
        <p:grpSpPr>
          <a:xfrm>
            <a:off x="9799320" y="4276725"/>
            <a:ext cx="833120" cy="1215390"/>
            <a:chOff x="15432" y="6700"/>
            <a:chExt cx="1312" cy="1914"/>
          </a:xfrm>
        </p:grpSpPr>
        <p:sp>
          <p:nvSpPr>
            <p:cNvPr id="45" name="椭圆 44"/>
            <p:cNvSpPr/>
            <p:nvPr/>
          </p:nvSpPr>
          <p:spPr>
            <a:xfrm>
              <a:off x="15946" y="8332"/>
              <a:ext cx="283" cy="283"/>
            </a:xfrm>
            <a:prstGeom prst="ellipse">
              <a:avLst/>
            </a:prstGeom>
            <a:solidFill>
              <a:schemeClr val="accent1"/>
            </a:solidFill>
            <a:ln w="25400" cap="rnd">
              <a:solidFill>
                <a:srgbClr val="FFFFFF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rmAutofit fontScale="25000" lnSpcReduction="20000"/>
            </a:bodyPr>
            <a:p>
              <a:pPr algn="ctr" defTabSz="913765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46" name="泪滴形 45"/>
            <p:cNvSpPr/>
            <p:nvPr/>
          </p:nvSpPr>
          <p:spPr>
            <a:xfrm rot="8100000">
              <a:off x="15432" y="6700"/>
              <a:ext cx="1312" cy="1312"/>
            </a:xfrm>
            <a:prstGeom prst="teardrop">
              <a:avLst/>
            </a:prstGeom>
            <a:solidFill>
              <a:schemeClr val="accent1">
                <a:alpha val="15000"/>
              </a:schemeClr>
            </a:solidFill>
            <a:ln w="25400" cap="rnd">
              <a:solidFill>
                <a:srgbClr val="FFFFFF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rmAutofit/>
            </a:bodyPr>
            <a:p>
              <a:pPr algn="ctr" defTabSz="913765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47" name="文本框 46"/>
            <p:cNvSpPr txBox="1"/>
            <p:nvPr/>
          </p:nvSpPr>
          <p:spPr bwMode="auto">
            <a:xfrm>
              <a:off x="15562" y="6850"/>
              <a:ext cx="1051" cy="11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anchor="ctr" anchorCtr="1">
              <a:normAutofit/>
            </a:bodyPr>
            <a:p>
              <a:pPr algn="ctr">
                <a:spcBef>
                  <a:spcPct val="0"/>
                </a:spcBef>
              </a:pPr>
              <a:r>
                <a:rPr lang="en-US" altLang="zh-CN" b="1" dirty="0">
                  <a:solidFill>
                    <a:schemeClr val="accent1"/>
                  </a:solidFill>
                  <a:latin typeface="Calibri" panose="020F0502020204030204" pitchFamily="34" charset="0"/>
                  <a:ea typeface="宋体" pitchFamily="2" charset="-122"/>
                </a:rPr>
                <a:t>05</a:t>
              </a:r>
              <a:endParaRPr lang="en-US" altLang="zh-CN" b="1" dirty="0">
                <a:solidFill>
                  <a:schemeClr val="accent1"/>
                </a:solidFill>
                <a:latin typeface="Calibri" panose="020F0502020204030204" pitchFamily="34" charset="0"/>
                <a:ea typeface="宋体" pitchFamily="2" charset="-122"/>
              </a:endParaRPr>
            </a:p>
          </p:txBody>
        </p:sp>
      </p:grpSp>
      <p:grpSp>
        <p:nvGrpSpPr>
          <p:cNvPr id="66" name="组合 65"/>
          <p:cNvGrpSpPr/>
          <p:nvPr/>
        </p:nvGrpSpPr>
        <p:grpSpPr>
          <a:xfrm>
            <a:off x="5673090" y="4076700"/>
            <a:ext cx="833120" cy="1415415"/>
            <a:chOff x="8498" y="6435"/>
            <a:chExt cx="1312" cy="2229"/>
          </a:xfrm>
        </p:grpSpPr>
        <p:sp>
          <p:nvSpPr>
            <p:cNvPr id="48" name="文本框 47"/>
            <p:cNvSpPr txBox="1"/>
            <p:nvPr/>
          </p:nvSpPr>
          <p:spPr bwMode="auto">
            <a:xfrm>
              <a:off x="8628" y="6435"/>
              <a:ext cx="1051" cy="11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anchor="ctr" anchorCtr="1">
              <a:normAutofit/>
            </a:bodyPr>
            <a:p>
              <a:pPr algn="ctr">
                <a:spcBef>
                  <a:spcPct val="0"/>
                </a:spcBef>
              </a:pPr>
              <a:r>
                <a:rPr lang="en-US" altLang="zh-CN" b="1" dirty="0">
                  <a:solidFill>
                    <a:srgbClr val="FFFFFF"/>
                  </a:solidFill>
                  <a:latin typeface="Calibri" panose="020F0502020204030204" pitchFamily="34" charset="0"/>
                  <a:ea typeface="宋体" pitchFamily="2" charset="-122"/>
                </a:rPr>
                <a:t>02</a:t>
              </a:r>
              <a:endParaRPr lang="en-US" altLang="zh-CN" b="1" dirty="0">
                <a:solidFill>
                  <a:srgbClr val="FFFFFF"/>
                </a:solidFill>
                <a:latin typeface="Calibri" panose="020F0502020204030204" pitchFamily="34" charset="0"/>
                <a:ea typeface="宋体" pitchFamily="2" charset="-122"/>
              </a:endParaRPr>
            </a:p>
          </p:txBody>
        </p:sp>
        <p:sp>
          <p:nvSpPr>
            <p:cNvPr id="49" name="椭圆 48"/>
            <p:cNvSpPr/>
            <p:nvPr/>
          </p:nvSpPr>
          <p:spPr>
            <a:xfrm>
              <a:off x="9012" y="8382"/>
              <a:ext cx="283" cy="283"/>
            </a:xfrm>
            <a:prstGeom prst="ellipse">
              <a:avLst/>
            </a:prstGeom>
            <a:solidFill>
              <a:schemeClr val="accent1"/>
            </a:solidFill>
            <a:ln w="25400" cap="rnd">
              <a:solidFill>
                <a:srgbClr val="FFFFFF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rmAutofit fontScale="25000" lnSpcReduction="20000"/>
            </a:bodyPr>
            <a:p>
              <a:pPr algn="ctr" defTabSz="913765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50" name="泪滴形 49"/>
            <p:cNvSpPr/>
            <p:nvPr/>
          </p:nvSpPr>
          <p:spPr>
            <a:xfrm rot="8100000">
              <a:off x="8498" y="6750"/>
              <a:ext cx="1312" cy="1312"/>
            </a:xfrm>
            <a:prstGeom prst="teardrop">
              <a:avLst/>
            </a:prstGeom>
            <a:solidFill>
              <a:schemeClr val="accent1">
                <a:alpha val="15000"/>
              </a:schemeClr>
            </a:solidFill>
            <a:ln w="25400" cap="rnd">
              <a:solidFill>
                <a:srgbClr val="FFFFFF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rmAutofit/>
            </a:bodyPr>
            <a:p>
              <a:pPr lvl="0" algn="ctr" defTabSz="913765">
                <a:buClrTx/>
                <a:buSzTx/>
                <a:buFontTx/>
              </a:pPr>
              <a:endParaRPr lang="zh-CN" altLang="en-US" sz="2000" b="1" dirty="0">
                <a:solidFill>
                  <a:schemeClr val="bg1"/>
                </a:solidFill>
                <a:sym typeface="+mn-ea"/>
              </a:endParaRPr>
            </a:p>
          </p:txBody>
        </p:sp>
        <p:sp>
          <p:nvSpPr>
            <p:cNvPr id="64" name="文本框 63"/>
            <p:cNvSpPr txBox="1"/>
            <p:nvPr/>
          </p:nvSpPr>
          <p:spPr bwMode="auto">
            <a:xfrm>
              <a:off x="8628" y="6900"/>
              <a:ext cx="1051" cy="11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anchor="ctr" anchorCtr="1">
              <a:normAutofit/>
            </a:bodyPr>
            <a:p>
              <a:pPr algn="ctr">
                <a:spcBef>
                  <a:spcPct val="0"/>
                </a:spcBef>
              </a:pPr>
              <a:r>
                <a:rPr lang="en-US" altLang="zh-CN" b="1" dirty="0">
                  <a:solidFill>
                    <a:srgbClr val="F05A23"/>
                  </a:solidFill>
                  <a:latin typeface="Calibri" panose="020F0502020204030204" pitchFamily="34" charset="0"/>
                  <a:ea typeface="宋体" pitchFamily="2" charset="-122"/>
                </a:rPr>
                <a:t>03</a:t>
              </a:r>
              <a:endParaRPr lang="en-US" altLang="zh-CN" b="1" dirty="0">
                <a:solidFill>
                  <a:srgbClr val="F05A23"/>
                </a:solidFill>
                <a:latin typeface="Calibri" panose="020F0502020204030204" pitchFamily="34" charset="0"/>
                <a:ea typeface="宋体" pitchFamily="2" charset="-122"/>
              </a:endParaRPr>
            </a:p>
          </p:txBody>
        </p:sp>
      </p:grpSp>
      <p:sp>
        <p:nvSpPr>
          <p:cNvPr id="72" name="文本框 71"/>
          <p:cNvSpPr txBox="1"/>
          <p:nvPr/>
        </p:nvSpPr>
        <p:spPr>
          <a:xfrm>
            <a:off x="1005840" y="5523230"/>
            <a:ext cx="1850390" cy="670560"/>
          </a:xfrm>
          <a:prstGeom prst="rect">
            <a:avLst/>
          </a:prstGeom>
        </p:spPr>
        <p:txBody>
          <a:bodyPr vert="horz" wrap="square" lIns="91440" tIns="45720" rIns="91440" bIns="45720" rtlCol="0"/>
          <a:p>
            <a:pPr marL="106045" indent="0" algn="ctr" fontAlgn="auto">
              <a:lnSpc>
                <a:spcPts val="2360"/>
              </a:lnSpc>
              <a:buNone/>
            </a:pPr>
            <a:r>
              <a:rPr lang="zh-CN" altLang="en-US" sz="1600" dirty="0" smtClean="0"/>
              <a:t>理赔欺诈</a:t>
            </a:r>
            <a:endParaRPr lang="zh-CN" altLang="en-US" sz="1600" dirty="0" smtClean="0"/>
          </a:p>
          <a:p>
            <a:pPr marL="106045" indent="0" algn="ctr" fontAlgn="auto">
              <a:lnSpc>
                <a:spcPts val="2360"/>
              </a:lnSpc>
              <a:buNone/>
            </a:pPr>
            <a:r>
              <a:rPr lang="zh-CN" altLang="en-US" sz="1600" dirty="0" smtClean="0"/>
              <a:t>欺诈量</a:t>
            </a:r>
            <a:r>
              <a:rPr lang="en-US" altLang="zh-CN" sz="1600" dirty="0" smtClean="0"/>
              <a:t>/</a:t>
            </a:r>
            <a:r>
              <a:rPr lang="zh-CN" altLang="en-US" sz="1600" dirty="0" smtClean="0">
                <a:sym typeface="+mn-ea"/>
              </a:rPr>
              <a:t>理赔量</a:t>
            </a:r>
            <a:endParaRPr lang="zh-CN" altLang="en-US" sz="1600" dirty="0" smtClean="0">
              <a:sym typeface="+mn-ea"/>
            </a:endParaRPr>
          </a:p>
        </p:txBody>
      </p:sp>
      <p:sp>
        <p:nvSpPr>
          <p:cNvPr id="73" name="文本框 72"/>
          <p:cNvSpPr txBox="1"/>
          <p:nvPr/>
        </p:nvSpPr>
        <p:spPr>
          <a:xfrm>
            <a:off x="3077210" y="5523230"/>
            <a:ext cx="1850390" cy="670560"/>
          </a:xfrm>
          <a:prstGeom prst="rect">
            <a:avLst/>
          </a:prstGeom>
        </p:spPr>
        <p:txBody>
          <a:bodyPr vert="horz" wrap="square" lIns="91440" tIns="45720" rIns="91440" bIns="45720" rtlCol="0"/>
          <a:p>
            <a:pPr marL="106045" algn="ctr">
              <a:lnSpc>
                <a:spcPts val="2360"/>
              </a:lnSpc>
              <a:buClrTx/>
              <a:buSzTx/>
              <a:buNone/>
            </a:pPr>
            <a:r>
              <a:rPr lang="zh-CN" altLang="en-US" sz="1600" dirty="0" smtClean="0"/>
              <a:t>核保欺诈</a:t>
            </a:r>
            <a:endParaRPr lang="zh-CN" altLang="en-US" sz="1600" dirty="0" smtClean="0"/>
          </a:p>
          <a:p>
            <a:pPr marL="106045" algn="ctr">
              <a:lnSpc>
                <a:spcPts val="2360"/>
              </a:lnSpc>
              <a:buClrTx/>
              <a:buSzTx/>
              <a:buNone/>
            </a:pPr>
            <a:r>
              <a:rPr lang="zh-CN" altLang="en-US" sz="1600" dirty="0" smtClean="0"/>
              <a:t>欺诈量/</a:t>
            </a:r>
            <a:r>
              <a:rPr lang="zh-CN" altLang="en-US" sz="1600" dirty="0" smtClean="0">
                <a:sym typeface="+mn-ea"/>
              </a:rPr>
              <a:t>核保量</a:t>
            </a:r>
            <a:endParaRPr lang="zh-CN" altLang="en-US" sz="1600" dirty="0" smtClean="0">
              <a:sym typeface="+mn-ea"/>
            </a:endParaRPr>
          </a:p>
        </p:txBody>
      </p:sp>
      <p:sp>
        <p:nvSpPr>
          <p:cNvPr id="74" name="文本框 73"/>
          <p:cNvSpPr txBox="1"/>
          <p:nvPr/>
        </p:nvSpPr>
        <p:spPr>
          <a:xfrm>
            <a:off x="5148580" y="5523230"/>
            <a:ext cx="1850390" cy="670560"/>
          </a:xfrm>
          <a:prstGeom prst="rect">
            <a:avLst/>
          </a:prstGeom>
        </p:spPr>
        <p:txBody>
          <a:bodyPr vert="horz" wrap="square" lIns="91440" tIns="45720" rIns="91440" bIns="45720" rtlCol="0"/>
          <a:p>
            <a:pPr marL="106045" algn="ctr">
              <a:lnSpc>
                <a:spcPts val="2360"/>
              </a:lnSpc>
              <a:buClrTx/>
              <a:buSzTx/>
              <a:buNone/>
            </a:pPr>
            <a:r>
              <a:rPr lang="zh-CN" altLang="en-US" sz="1600" dirty="0" smtClean="0"/>
              <a:t>投诉</a:t>
            </a:r>
            <a:endParaRPr lang="zh-CN" altLang="en-US" sz="1600" dirty="0" smtClean="0"/>
          </a:p>
          <a:p>
            <a:pPr marL="106045" algn="ctr">
              <a:lnSpc>
                <a:spcPts val="2360"/>
              </a:lnSpc>
              <a:buClrTx/>
              <a:buSzTx/>
              <a:buNone/>
            </a:pPr>
            <a:r>
              <a:rPr lang="zh-CN" altLang="en-US" sz="1600" dirty="0" smtClean="0"/>
              <a:t>投诉量/</a:t>
            </a:r>
            <a:r>
              <a:rPr lang="zh-CN" altLang="en-US" sz="1600" dirty="0" smtClean="0">
                <a:sym typeface="+mn-ea"/>
              </a:rPr>
              <a:t>投保量</a:t>
            </a:r>
            <a:endParaRPr lang="zh-CN" altLang="en-US" sz="1600" dirty="0" smtClean="0">
              <a:sym typeface="+mn-ea"/>
            </a:endParaRPr>
          </a:p>
        </p:txBody>
      </p:sp>
      <p:sp>
        <p:nvSpPr>
          <p:cNvPr id="75" name="文本框 74"/>
          <p:cNvSpPr txBox="1"/>
          <p:nvPr/>
        </p:nvSpPr>
        <p:spPr>
          <a:xfrm>
            <a:off x="7219950" y="5523230"/>
            <a:ext cx="1850390" cy="670560"/>
          </a:xfrm>
          <a:prstGeom prst="rect">
            <a:avLst/>
          </a:prstGeom>
        </p:spPr>
        <p:txBody>
          <a:bodyPr vert="horz" wrap="square" lIns="91440" tIns="45720" rIns="91440" bIns="45720" rtlCol="0"/>
          <a:p>
            <a:pPr marL="106045" algn="ctr">
              <a:lnSpc>
                <a:spcPts val="2360"/>
              </a:lnSpc>
              <a:buClrTx/>
              <a:buSzTx/>
              <a:buNone/>
            </a:pPr>
            <a:r>
              <a:rPr lang="zh-CN" altLang="en-US" sz="1600" dirty="0" smtClean="0"/>
              <a:t>保全冒办</a:t>
            </a:r>
            <a:endParaRPr lang="zh-CN" altLang="en-US" sz="1600" dirty="0" smtClean="0"/>
          </a:p>
          <a:p>
            <a:pPr marL="106045" algn="ctr">
              <a:lnSpc>
                <a:spcPts val="2360"/>
              </a:lnSpc>
              <a:buClrTx/>
              <a:buSzTx/>
              <a:buNone/>
            </a:pPr>
            <a:r>
              <a:rPr lang="zh-CN" altLang="en-US" sz="1600" dirty="0" smtClean="0"/>
              <a:t>冒办量/</a:t>
            </a:r>
            <a:r>
              <a:rPr lang="zh-CN" altLang="en-US" sz="1600" dirty="0" smtClean="0">
                <a:sym typeface="+mn-ea"/>
              </a:rPr>
              <a:t>保全量</a:t>
            </a:r>
            <a:endParaRPr lang="zh-CN" altLang="en-US" sz="1600" dirty="0" smtClean="0">
              <a:sym typeface="+mn-ea"/>
            </a:endParaRPr>
          </a:p>
        </p:txBody>
      </p:sp>
      <p:sp>
        <p:nvSpPr>
          <p:cNvPr id="76" name="文本框 75"/>
          <p:cNvSpPr txBox="1"/>
          <p:nvPr/>
        </p:nvSpPr>
        <p:spPr>
          <a:xfrm>
            <a:off x="9291320" y="5523230"/>
            <a:ext cx="1850390" cy="67056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algn="ctr">
              <a:lnSpc>
                <a:spcPts val="2360"/>
              </a:lnSpc>
              <a:buClrTx/>
              <a:buSzTx/>
              <a:buNone/>
            </a:pPr>
            <a:r>
              <a:rPr lang="zh-CN" altLang="en-US" sz="1600" dirty="0" smtClean="0"/>
              <a:t>...</a:t>
            </a:r>
            <a:endParaRPr lang="zh-CN" altLang="en-US" sz="1600" dirty="0" smtClean="0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666751" y="1130301"/>
            <a:ext cx="10858500" cy="4749985"/>
            <a:chOff x="666750" y="1130300"/>
            <a:chExt cx="10858500" cy="4749985"/>
          </a:xfrm>
        </p:grpSpPr>
        <p:grpSp>
          <p:nvGrpSpPr>
            <p:cNvPr id="3" name="组合 2"/>
            <p:cNvGrpSpPr/>
            <p:nvPr/>
          </p:nvGrpSpPr>
          <p:grpSpPr>
            <a:xfrm>
              <a:off x="673100" y="2298700"/>
              <a:ext cx="10845800" cy="3581585"/>
              <a:chOff x="673100" y="2222500"/>
              <a:chExt cx="10845800" cy="3581585"/>
            </a:xfrm>
          </p:grpSpPr>
          <p:grpSp>
            <p:nvGrpSpPr>
              <p:cNvPr id="4" name="组合 3"/>
              <p:cNvGrpSpPr/>
              <p:nvPr/>
            </p:nvGrpSpPr>
            <p:grpSpPr>
              <a:xfrm>
                <a:off x="4297086" y="2222500"/>
                <a:ext cx="3597829" cy="3581585"/>
                <a:chOff x="4764937" y="1638207"/>
                <a:chExt cx="3597829" cy="3581585"/>
              </a:xfrm>
            </p:grpSpPr>
            <p:grpSp>
              <p:nvGrpSpPr>
                <p:cNvPr id="5" name="组合 4"/>
                <p:cNvGrpSpPr/>
                <p:nvPr/>
              </p:nvGrpSpPr>
              <p:grpSpPr>
                <a:xfrm>
                  <a:off x="4764937" y="3538357"/>
                  <a:ext cx="1681435" cy="1681435"/>
                  <a:chOff x="3253549" y="4037893"/>
                  <a:chExt cx="1280351" cy="1280351"/>
                </a:xfrm>
              </p:grpSpPr>
              <p:sp>
                <p:nvSpPr>
                  <p:cNvPr id="13" name="泪滴形 12"/>
                  <p:cNvSpPr/>
                  <p:nvPr/>
                </p:nvSpPr>
                <p:spPr>
                  <a:xfrm>
                    <a:off x="3253549" y="4037893"/>
                    <a:ext cx="1280351" cy="1280351"/>
                  </a:xfrm>
                  <a:prstGeom prst="teardrop">
                    <a:avLst/>
                  </a:prstGeom>
                  <a:solidFill>
                    <a:schemeClr val="accent1"/>
                  </a:solidFill>
                  <a:ln w="12700" cap="rnd">
                    <a:noFill/>
                    <a:prstDash val="solid"/>
                    <a:round/>
                  </a:ln>
                  <a:effectLst>
                    <a:outerShdw blurRad="254000" dist="127000" algn="ctr" rotWithShape="0">
                      <a:schemeClr val="accent1">
                        <a:alpha val="32000"/>
                      </a:scheme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normAutofit/>
                  </a:bodyPr>
                  <a:p>
                    <a:pPr algn="ctr" defTabSz="914400"/>
                    <a:endParaRPr lang="zh-CN" altLang="en-US" sz="2000" b="1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6" name="椭圆 5"/>
                  <p:cNvSpPr/>
                  <p:nvPr/>
                </p:nvSpPr>
                <p:spPr>
                  <a:xfrm>
                    <a:off x="3432462" y="4216806"/>
                    <a:ext cx="922525" cy="922525"/>
                  </a:xfrm>
                  <a:prstGeom prst="ellipse">
                    <a:avLst/>
                  </a:prstGeom>
                  <a:solidFill>
                    <a:schemeClr val="lt1">
                      <a:lumMod val="10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p>
                    <a:pPr algn="ctr"/>
                    <a:r>
                      <a:rPr lang="en-US" altLang="zh-CN" sz="2400" b="1" dirty="0">
                        <a:solidFill>
                          <a:schemeClr val="accent2"/>
                        </a:solidFill>
                        <a:latin typeface="Calibri" panose="020F0502020204030204" pitchFamily="34" charset="0"/>
                        <a:ea typeface="宋体" pitchFamily="2" charset="-122"/>
                      </a:rPr>
                      <a:t>02</a:t>
                    </a:r>
                    <a:endParaRPr lang="zh-CN" altLang="en-US" sz="2400" b="1" dirty="0">
                      <a:solidFill>
                        <a:schemeClr val="accent2"/>
                      </a:solidFill>
                      <a:latin typeface="Calibri" panose="020F0502020204030204" pitchFamily="34" charset="0"/>
                      <a:ea typeface="宋体" pitchFamily="2" charset="-122"/>
                    </a:endParaRPr>
                  </a:p>
                </p:txBody>
              </p:sp>
            </p:grpSp>
            <p:grpSp>
              <p:nvGrpSpPr>
                <p:cNvPr id="7" name="组合 6"/>
                <p:cNvGrpSpPr/>
                <p:nvPr/>
              </p:nvGrpSpPr>
              <p:grpSpPr>
                <a:xfrm flipH="1">
                  <a:off x="6681331" y="3538357"/>
                  <a:ext cx="1681435" cy="1681435"/>
                  <a:chOff x="3253549" y="4037893"/>
                  <a:chExt cx="1280351" cy="1280351"/>
                </a:xfrm>
              </p:grpSpPr>
              <p:sp>
                <p:nvSpPr>
                  <p:cNvPr id="11" name="泪滴形 10"/>
                  <p:cNvSpPr/>
                  <p:nvPr/>
                </p:nvSpPr>
                <p:spPr>
                  <a:xfrm>
                    <a:off x="3253549" y="4037893"/>
                    <a:ext cx="1280351" cy="1280351"/>
                  </a:xfrm>
                  <a:prstGeom prst="teardrop">
                    <a:avLst/>
                  </a:prstGeom>
                  <a:solidFill>
                    <a:schemeClr val="accent2"/>
                  </a:solidFill>
                  <a:ln w="12700" cap="rnd">
                    <a:noFill/>
                    <a:prstDash val="solid"/>
                    <a:round/>
                  </a:ln>
                  <a:effectLst>
                    <a:outerShdw blurRad="254000" dist="127000" algn="ctr" rotWithShape="0">
                      <a:schemeClr val="accent2">
                        <a:alpha val="32000"/>
                      </a:scheme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normAutofit/>
                  </a:bodyPr>
                  <a:p>
                    <a:pPr algn="ctr" defTabSz="914400"/>
                    <a:endParaRPr lang="zh-CN" altLang="en-US" sz="2000" b="1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16" name="椭圆 15"/>
                  <p:cNvSpPr/>
                  <p:nvPr/>
                </p:nvSpPr>
                <p:spPr>
                  <a:xfrm>
                    <a:off x="3432462" y="4216806"/>
                    <a:ext cx="922525" cy="922525"/>
                  </a:xfrm>
                  <a:prstGeom prst="ellipse">
                    <a:avLst/>
                  </a:prstGeom>
                  <a:solidFill>
                    <a:schemeClr val="lt1">
                      <a:lumMod val="10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p>
                    <a:pPr algn="ctr"/>
                    <a:r>
                      <a:rPr lang="en-US" altLang="zh-CN" sz="2400" b="1" dirty="0">
                        <a:solidFill>
                          <a:schemeClr val="accent2"/>
                        </a:solidFill>
                        <a:latin typeface="Calibri" panose="020F0502020204030204" pitchFamily="34" charset="0"/>
                        <a:ea typeface="宋体" pitchFamily="2" charset="-122"/>
                      </a:rPr>
                      <a:t>04</a:t>
                    </a:r>
                    <a:endParaRPr lang="zh-CN" altLang="en-US" sz="2400" b="1" dirty="0">
                      <a:solidFill>
                        <a:schemeClr val="accent2"/>
                      </a:solidFill>
                      <a:latin typeface="Calibri" panose="020F0502020204030204" pitchFamily="34" charset="0"/>
                      <a:ea typeface="宋体" pitchFamily="2" charset="-122"/>
                    </a:endParaRPr>
                  </a:p>
                </p:txBody>
              </p:sp>
            </p:grpSp>
            <p:grpSp>
              <p:nvGrpSpPr>
                <p:cNvPr id="20" name="组合 19"/>
                <p:cNvGrpSpPr/>
                <p:nvPr/>
              </p:nvGrpSpPr>
              <p:grpSpPr>
                <a:xfrm flipV="1">
                  <a:off x="4764937" y="1638207"/>
                  <a:ext cx="1681435" cy="1681435"/>
                  <a:chOff x="3253549" y="4037893"/>
                  <a:chExt cx="1280351" cy="1280351"/>
                </a:xfrm>
              </p:grpSpPr>
              <p:sp>
                <p:nvSpPr>
                  <p:cNvPr id="21" name="泪滴形 20"/>
                  <p:cNvSpPr/>
                  <p:nvPr/>
                </p:nvSpPr>
                <p:spPr>
                  <a:xfrm>
                    <a:off x="3253549" y="4037893"/>
                    <a:ext cx="1280351" cy="1280351"/>
                  </a:xfrm>
                  <a:prstGeom prst="teardrop">
                    <a:avLst/>
                  </a:prstGeom>
                  <a:solidFill>
                    <a:schemeClr val="accent2"/>
                  </a:solidFill>
                  <a:ln w="12700" cap="rnd">
                    <a:noFill/>
                    <a:prstDash val="solid"/>
                    <a:round/>
                  </a:ln>
                  <a:effectLst>
                    <a:outerShdw blurRad="254000" dist="127000" algn="ctr" rotWithShape="0">
                      <a:schemeClr val="accent2">
                        <a:alpha val="32000"/>
                      </a:scheme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normAutofit/>
                  </a:bodyPr>
                  <a:p>
                    <a:pPr algn="ctr" defTabSz="914400"/>
                    <a:endParaRPr lang="zh-CN" altLang="en-US" sz="2000" b="1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26" name="椭圆 25"/>
                  <p:cNvSpPr/>
                  <p:nvPr/>
                </p:nvSpPr>
                <p:spPr>
                  <a:xfrm flipV="1">
                    <a:off x="3432462" y="4216806"/>
                    <a:ext cx="922525" cy="922525"/>
                  </a:xfrm>
                  <a:prstGeom prst="ellipse">
                    <a:avLst/>
                  </a:prstGeom>
                  <a:solidFill>
                    <a:schemeClr val="lt1">
                      <a:lumMod val="10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p>
                    <a:pPr algn="ctr"/>
                    <a:r>
                      <a:rPr lang="en-US" altLang="zh-CN" sz="2400" b="1" dirty="0">
                        <a:solidFill>
                          <a:schemeClr val="accent2"/>
                        </a:solidFill>
                        <a:latin typeface="Calibri" panose="020F0502020204030204" pitchFamily="34" charset="0"/>
                        <a:ea typeface="宋体" pitchFamily="2" charset="-122"/>
                      </a:rPr>
                      <a:t>01</a:t>
                    </a:r>
                    <a:endParaRPr lang="zh-CN" altLang="en-US" sz="2400" b="1" dirty="0">
                      <a:solidFill>
                        <a:schemeClr val="accent2"/>
                      </a:solidFill>
                      <a:latin typeface="Calibri" panose="020F0502020204030204" pitchFamily="34" charset="0"/>
                      <a:ea typeface="宋体" pitchFamily="2" charset="-122"/>
                    </a:endParaRPr>
                  </a:p>
                </p:txBody>
              </p:sp>
            </p:grpSp>
            <p:grpSp>
              <p:nvGrpSpPr>
                <p:cNvPr id="27" name="组合 26"/>
                <p:cNvGrpSpPr/>
                <p:nvPr/>
              </p:nvGrpSpPr>
              <p:grpSpPr>
                <a:xfrm flipH="1" flipV="1">
                  <a:off x="6681331" y="1638207"/>
                  <a:ext cx="1681435" cy="1681435"/>
                  <a:chOff x="3253549" y="4037893"/>
                  <a:chExt cx="1280351" cy="1280351"/>
                </a:xfrm>
              </p:grpSpPr>
              <p:sp>
                <p:nvSpPr>
                  <p:cNvPr id="30" name="泪滴形 29"/>
                  <p:cNvSpPr/>
                  <p:nvPr/>
                </p:nvSpPr>
                <p:spPr>
                  <a:xfrm>
                    <a:off x="3253549" y="4037893"/>
                    <a:ext cx="1280351" cy="1280351"/>
                  </a:xfrm>
                  <a:prstGeom prst="teardrop">
                    <a:avLst/>
                  </a:prstGeom>
                  <a:solidFill>
                    <a:schemeClr val="accent1"/>
                  </a:solidFill>
                  <a:ln w="12700" cap="rnd">
                    <a:noFill/>
                    <a:prstDash val="solid"/>
                    <a:round/>
                  </a:ln>
                  <a:effectLst>
                    <a:outerShdw blurRad="254000" dist="127000" algn="ctr" rotWithShape="0">
                      <a:schemeClr val="accent1">
                        <a:alpha val="32000"/>
                      </a:scheme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normAutofit/>
                  </a:bodyPr>
                  <a:p>
                    <a:pPr algn="ctr" defTabSz="914400"/>
                    <a:endParaRPr lang="zh-CN" altLang="en-US" sz="2000" b="1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31" name="椭圆 30"/>
                  <p:cNvSpPr/>
                  <p:nvPr/>
                </p:nvSpPr>
                <p:spPr>
                  <a:xfrm flipV="1">
                    <a:off x="3432462" y="4216806"/>
                    <a:ext cx="922525" cy="922525"/>
                  </a:xfrm>
                  <a:prstGeom prst="ellipse">
                    <a:avLst/>
                  </a:prstGeom>
                  <a:solidFill>
                    <a:schemeClr val="lt1">
                      <a:lumMod val="10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p>
                    <a:pPr algn="ctr"/>
                    <a:r>
                      <a:rPr lang="en-US" altLang="zh-CN" sz="2400" b="1" dirty="0">
                        <a:solidFill>
                          <a:schemeClr val="accent2"/>
                        </a:solidFill>
                        <a:latin typeface="Calibri" panose="020F0502020204030204" pitchFamily="34" charset="0"/>
                        <a:ea typeface="宋体" pitchFamily="2" charset="-122"/>
                      </a:rPr>
                      <a:t>03</a:t>
                    </a:r>
                    <a:endParaRPr lang="zh-CN" altLang="en-US" sz="2400" b="1" dirty="0">
                      <a:solidFill>
                        <a:schemeClr val="accent2"/>
                      </a:solidFill>
                      <a:latin typeface="Calibri" panose="020F0502020204030204" pitchFamily="34" charset="0"/>
                      <a:ea typeface="宋体" pitchFamily="2" charset="-122"/>
                    </a:endParaRPr>
                  </a:p>
                </p:txBody>
              </p:sp>
            </p:grpSp>
          </p:grpSp>
          <p:sp>
            <p:nvSpPr>
              <p:cNvPr id="33" name="文本框 32"/>
              <p:cNvSpPr txBox="1"/>
              <p:nvPr/>
            </p:nvSpPr>
            <p:spPr>
              <a:xfrm flipH="1">
                <a:off x="8129874" y="2638425"/>
                <a:ext cx="3389026" cy="705051"/>
              </a:xfrm>
              <a:prstGeom prst="rect">
                <a:avLst/>
              </a:prstGeom>
            </p:spPr>
            <p:txBody>
              <a:bodyPr wrap="square" anchor="ctr" anchorCtr="0">
                <a:normAutofit/>
              </a:bodyPr>
              <a:p>
                <a:pPr algn="l"/>
                <a:r>
                  <a:rPr lang="zh-CN" altLang="en-US" b="1" dirty="0">
                    <a:latin typeface="Arial" panose="020B0604020202090204" pitchFamily="34" charset="0"/>
                    <a:ea typeface="华文楷体" panose="02010600040101010101" pitchFamily="2" charset="-122"/>
                    <a:sym typeface="+mn-ea"/>
                  </a:rPr>
                  <a:t>招式三</a:t>
                </a:r>
                <a:endParaRPr lang="zh-CN" altLang="en-US" b="1" dirty="0">
                  <a:latin typeface="Arial" panose="020B0604020202090204" pitchFamily="34" charset="0"/>
                  <a:ea typeface="华文楷体" panose="02010600040101010101" pitchFamily="2" charset="-122"/>
                </a:endParaRPr>
              </a:p>
              <a:p>
                <a:pPr algn="l"/>
                <a:r>
                  <a:rPr lang="zh-CN" altLang="en-US" b="1" dirty="0">
                    <a:latin typeface="Arial" panose="020B0604020202090204" pitchFamily="34" charset="0"/>
                    <a:ea typeface="华文楷体" panose="02010600040101010101" pitchFamily="2" charset="-122"/>
                    <a:sym typeface="+mn-ea"/>
                  </a:rPr>
                  <a:t>融合</a:t>
                </a:r>
                <a:r>
                  <a:rPr lang="zh-CN" altLang="en-US" b="1" dirty="0">
                    <a:latin typeface="Arial" panose="020B0604020202090204" pitchFamily="34" charset="0"/>
                    <a:ea typeface="华文楷体" panose="02010600040101010101" pitchFamily="2" charset="-122"/>
                    <a:sym typeface="+mn-ea"/>
                  </a:rPr>
                  <a:t>模型：</a:t>
                </a:r>
                <a:r>
                  <a:rPr lang="en-US" altLang="zh-CN" b="1" dirty="0">
                    <a:latin typeface="Arial" panose="020B0604020202090204" pitchFamily="34" charset="0"/>
                    <a:ea typeface="华文楷体" panose="02010600040101010101" pitchFamily="2" charset="-122"/>
                    <a:sym typeface="+mn-ea"/>
                  </a:rPr>
                  <a:t>比赛王道之选</a:t>
                </a:r>
                <a:endParaRPr lang="en-US" altLang="zh-CN" b="1" dirty="0">
                  <a:latin typeface="Arial" panose="020B0604020202090204" pitchFamily="34" charset="0"/>
                  <a:ea typeface="华文楷体" panose="02010600040101010101" pitchFamily="2" charset="-122"/>
                  <a:sym typeface="+mn-ea"/>
                </a:endParaRPr>
              </a:p>
            </p:txBody>
          </p:sp>
          <p:sp>
            <p:nvSpPr>
              <p:cNvPr id="38" name="文本框 37"/>
              <p:cNvSpPr txBox="1"/>
              <p:nvPr/>
            </p:nvSpPr>
            <p:spPr>
              <a:xfrm flipH="1">
                <a:off x="8129874" y="4672689"/>
                <a:ext cx="3389026" cy="705051"/>
              </a:xfrm>
              <a:prstGeom prst="rect">
                <a:avLst/>
              </a:prstGeom>
            </p:spPr>
            <p:txBody>
              <a:bodyPr wrap="square" anchor="b" anchorCtr="0">
                <a:normAutofit/>
              </a:bodyPr>
              <a:p>
                <a:pPr algn="l"/>
                <a:r>
                  <a:rPr lang="zh-CN" altLang="en-US" b="1" dirty="0">
                    <a:solidFill>
                      <a:srgbClr val="F3774B"/>
                    </a:solidFill>
                    <a:latin typeface="Arial" panose="020B0604020202090204" pitchFamily="34" charset="0"/>
                    <a:ea typeface="华文楷体" panose="02010600040101010101" pitchFamily="2" charset="-122"/>
                    <a:sym typeface="+mn-ea"/>
                  </a:rPr>
                  <a:t>招式四</a:t>
                </a:r>
                <a:endParaRPr lang="zh-CN" altLang="en-US" b="1" dirty="0">
                  <a:solidFill>
                    <a:srgbClr val="F3774B"/>
                  </a:solidFill>
                  <a:latin typeface="Arial" panose="020B0604020202090204" pitchFamily="34" charset="0"/>
                  <a:ea typeface="华文楷体" panose="02010600040101010101" pitchFamily="2" charset="-122"/>
                </a:endParaRPr>
              </a:p>
              <a:p>
                <a:pPr algn="l"/>
                <a:r>
                  <a:rPr lang="zh-CN" altLang="en-US" b="1" dirty="0">
                    <a:solidFill>
                      <a:srgbClr val="F3774B"/>
                    </a:solidFill>
                    <a:latin typeface="Arial" panose="020B0604020202090204" pitchFamily="34" charset="0"/>
                    <a:ea typeface="华文楷体" panose="02010600040101010101" pitchFamily="2" charset="-122"/>
                    <a:sym typeface="+mn-ea"/>
                  </a:rPr>
                  <a:t>觅迹同源：相似样本寻觅</a:t>
                </a:r>
                <a:endParaRPr lang="zh-CN" altLang="en-US" b="1" dirty="0">
                  <a:solidFill>
                    <a:srgbClr val="F3774B"/>
                  </a:solidFill>
                  <a:latin typeface="Arial" panose="020B0604020202090204" pitchFamily="34" charset="0"/>
                  <a:ea typeface="华文楷体" panose="02010600040101010101" pitchFamily="2" charset="-122"/>
                  <a:sym typeface="+mn-ea"/>
                </a:endParaRPr>
              </a:p>
            </p:txBody>
          </p:sp>
          <p:sp>
            <p:nvSpPr>
              <p:cNvPr id="42" name="文本框 41"/>
              <p:cNvSpPr txBox="1"/>
              <p:nvPr/>
            </p:nvSpPr>
            <p:spPr>
              <a:xfrm flipH="1">
                <a:off x="673100" y="2638425"/>
                <a:ext cx="3389026" cy="705051"/>
              </a:xfrm>
              <a:prstGeom prst="rect">
                <a:avLst/>
              </a:prstGeom>
            </p:spPr>
            <p:txBody>
              <a:bodyPr wrap="square" anchor="ctr" anchorCtr="0">
                <a:normAutofit/>
              </a:bodyPr>
              <a:p>
                <a:pPr algn="r"/>
                <a:r>
                  <a:rPr lang="zh-CN" altLang="en-US" b="1" dirty="0">
                    <a:latin typeface="Arial" panose="020B0604020202090204" pitchFamily="34" charset="0"/>
                    <a:ea typeface="华文楷体" panose="02010600040101010101" pitchFamily="2" charset="-122"/>
                    <a:sym typeface="+mn-ea"/>
                  </a:rPr>
                  <a:t>招式一</a:t>
                </a:r>
                <a:endParaRPr lang="zh-CN" altLang="en-US" b="1" dirty="0">
                  <a:latin typeface="Arial" panose="020B0604020202090204" pitchFamily="34" charset="0"/>
                  <a:ea typeface="华文楷体" panose="02010600040101010101" pitchFamily="2" charset="-122"/>
                  <a:sym typeface="+mn-ea"/>
                </a:endParaRPr>
              </a:p>
              <a:p>
                <a:pPr algn="r"/>
                <a:r>
                  <a:rPr lang="zh-CN" altLang="en-US" b="1" dirty="0">
                    <a:latin typeface="Arial" panose="020B0604020202090204" pitchFamily="34" charset="0"/>
                    <a:ea typeface="华文楷体" panose="02010600040101010101" pitchFamily="2" charset="-122"/>
                    <a:sym typeface="+mn-ea"/>
                  </a:rPr>
                  <a:t>级联思想：模型链式优化</a:t>
                </a:r>
                <a:endParaRPr lang="zh-CN" altLang="en-US" b="1" dirty="0">
                  <a:latin typeface="Arial" panose="020B0604020202090204" pitchFamily="34" charset="0"/>
                  <a:ea typeface="华文楷体" panose="02010600040101010101" pitchFamily="2" charset="-122"/>
                  <a:sym typeface="+mn-ea"/>
                </a:endParaRPr>
              </a:p>
            </p:txBody>
          </p:sp>
          <p:sp>
            <p:nvSpPr>
              <p:cNvPr id="47" name="文本框 46"/>
              <p:cNvSpPr txBox="1"/>
              <p:nvPr/>
            </p:nvSpPr>
            <p:spPr>
              <a:xfrm flipH="1">
                <a:off x="673100" y="4672689"/>
                <a:ext cx="3389026" cy="705051"/>
              </a:xfrm>
              <a:prstGeom prst="rect">
                <a:avLst/>
              </a:prstGeom>
            </p:spPr>
            <p:txBody>
              <a:bodyPr wrap="square" anchor="ctr" anchorCtr="0">
                <a:normAutofit/>
              </a:bodyPr>
              <a:p>
                <a:pPr algn="r"/>
                <a:r>
                  <a:rPr lang="zh-CN" altLang="en-US" b="1" dirty="0">
                    <a:solidFill>
                      <a:srgbClr val="F3774B"/>
                    </a:solidFill>
                    <a:latin typeface="Arial" panose="020B0604020202090204" pitchFamily="34" charset="0"/>
                    <a:ea typeface="华文楷体" panose="02010600040101010101" pitchFamily="2" charset="-122"/>
                    <a:sym typeface="+mn-ea"/>
                  </a:rPr>
                  <a:t>招式二</a:t>
                </a:r>
                <a:endParaRPr lang="zh-CN" altLang="en-US" b="1" dirty="0">
                  <a:solidFill>
                    <a:srgbClr val="F3774B"/>
                  </a:solidFill>
                  <a:latin typeface="Arial" panose="020B0604020202090204" pitchFamily="34" charset="0"/>
                  <a:ea typeface="华文楷体" panose="02010600040101010101" pitchFamily="2" charset="-122"/>
                </a:endParaRPr>
              </a:p>
              <a:p>
                <a:pPr algn="r"/>
                <a:r>
                  <a:rPr lang="zh-CN" altLang="en-US" b="1" dirty="0">
                    <a:solidFill>
                      <a:srgbClr val="F3774B"/>
                    </a:solidFill>
                    <a:latin typeface="Arial" panose="020B0604020202090204" pitchFamily="34" charset="0"/>
                    <a:ea typeface="华文楷体" panose="02010600040101010101" pitchFamily="2" charset="-122"/>
                    <a:sym typeface="+mn-ea"/>
                  </a:rPr>
                  <a:t>挖掘规则：强规则探索</a:t>
                </a:r>
                <a:endParaRPr lang="zh-CN" altLang="en-US" b="1" dirty="0">
                  <a:solidFill>
                    <a:srgbClr val="F3774B"/>
                  </a:solidFill>
                  <a:latin typeface="Arial" panose="020B0604020202090204" pitchFamily="34" charset="0"/>
                  <a:ea typeface="华文楷体" panose="02010600040101010101" pitchFamily="2" charset="-122"/>
                  <a:sym typeface="+mn-ea"/>
                </a:endParaRPr>
              </a:p>
            </p:txBody>
          </p:sp>
        </p:grpSp>
        <p:sp>
          <p:nvSpPr>
            <p:cNvPr id="50" name="矩形 49"/>
            <p:cNvSpPr/>
            <p:nvPr/>
          </p:nvSpPr>
          <p:spPr>
            <a:xfrm>
              <a:off x="666750" y="1130300"/>
              <a:ext cx="10858500" cy="610292"/>
            </a:xfrm>
            <a:prstGeom prst="rect">
              <a:avLst/>
            </a:prstGeom>
          </p:spPr>
          <p:txBody>
            <a:bodyPr wrap="square" anchor="b" anchorCtr="0">
              <a:normAutofit lnSpcReduction="20000"/>
            </a:bodyPr>
            <a:p>
              <a:pPr algn="ctr">
                <a:lnSpc>
                  <a:spcPct val="120000"/>
                </a:lnSpc>
                <a:defRPr/>
              </a:pPr>
              <a:r>
                <a:rPr lang="zh-CN" sz="2400" b="1" smtClean="0">
                  <a:solidFill>
                    <a:prstClr val="black">
                      <a:lumMod val="85000"/>
                      <a:lumOff val="15000"/>
                    </a:prstClr>
                  </a:solidFill>
                  <a:latin typeface="楷体" panose="02010609060101010101" pitchFamily="49" charset="-122"/>
                  <a:ea typeface="楷体" panose="02010609060101010101" pitchFamily="49" charset="-122"/>
                  <a:cs typeface="+mn-ea"/>
                  <a:sym typeface="+mn-lt"/>
                </a:rPr>
                <a:t>小样本解决</a:t>
              </a:r>
              <a:r>
                <a:rPr lang="en-US" altLang="zh-CN" sz="2400" b="1" smtClean="0">
                  <a:solidFill>
                    <a:prstClr val="black">
                      <a:lumMod val="85000"/>
                      <a:lumOff val="15000"/>
                    </a:prstClr>
                  </a:solidFill>
                  <a:latin typeface="楷体" panose="02010609060101010101" pitchFamily="49" charset="-122"/>
                  <a:ea typeface="楷体" panose="02010609060101010101" pitchFamily="49" charset="-122"/>
                  <a:cs typeface="+mn-ea"/>
                  <a:sym typeface="+mn-lt"/>
                </a:rPr>
                <a:t>“</a:t>
              </a:r>
              <a:r>
                <a:rPr lang="zh-CN" sz="2400" b="1" smtClean="0">
                  <a:solidFill>
                    <a:prstClr val="black">
                      <a:lumMod val="85000"/>
                      <a:lumOff val="15000"/>
                    </a:prstClr>
                  </a:solidFill>
                  <a:latin typeface="楷体" panose="02010609060101010101" pitchFamily="49" charset="-122"/>
                  <a:ea typeface="楷体" panose="02010609060101010101" pitchFamily="49" charset="-122"/>
                  <a:cs typeface="+mn-ea"/>
                  <a:sym typeface="+mn-lt"/>
                </a:rPr>
                <a:t>四招</a:t>
              </a:r>
              <a:r>
                <a:rPr lang="en-US" altLang="zh-CN" sz="2400" b="1" smtClean="0">
                  <a:solidFill>
                    <a:prstClr val="black">
                      <a:lumMod val="85000"/>
                      <a:lumOff val="15000"/>
                    </a:prstClr>
                  </a:solidFill>
                  <a:latin typeface="楷体" panose="02010609060101010101" pitchFamily="49" charset="-122"/>
                  <a:ea typeface="楷体" panose="02010609060101010101" pitchFamily="49" charset="-122"/>
                  <a:cs typeface="+mn-ea"/>
                  <a:sym typeface="+mn-lt"/>
                </a:rPr>
                <a:t>”</a:t>
              </a:r>
              <a:endParaRPr lang="en-US" altLang="zh-CN" sz="2400" b="1" dirty="0">
                <a:latin typeface="Calibri" panose="020F0502020204030204" pitchFamily="34" charset="0"/>
                <a:ea typeface="宋体" pitchFamily="2" charset="-122"/>
              </a:endParaRPr>
            </a:p>
          </p:txBody>
        </p:sp>
      </p:grp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小样本解决之招式一：级联思想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-模型链式优化</a:t>
            </a:r>
            <a:endParaRPr lang="en-US" altLang="zh-CN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673100" y="1117600"/>
            <a:ext cx="10845800" cy="454025"/>
          </a:xfrm>
          <a:prstGeom prst="rect">
            <a:avLst/>
          </a:prstGeom>
          <a:noFill/>
        </p:spPr>
        <p:txBody>
          <a:bodyPr vert="horz" wrap="square" rtlCol="0" anchor="ctr" anchorCtr="0">
            <a:normAutofit/>
          </a:bodyPr>
          <a:lstStyle/>
          <a:p>
            <a:pPr algn="ctr"/>
            <a:r>
              <a:rPr lang="zh-CN" altLang="en-US" dirty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级联思想：通过多个模型连接，不断缩小人群，</a:t>
            </a:r>
            <a:r>
              <a:rPr lang="en-US" altLang="zh-CN" b="1" dirty="0">
                <a:solidFill>
                  <a:srgbClr val="F05A23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提升</a:t>
            </a:r>
            <a:r>
              <a:rPr lang="en-US" altLang="zh-CN" dirty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base</a:t>
            </a:r>
            <a:r>
              <a:rPr lang="zh-CN" altLang="en-US" dirty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比例，由</a:t>
            </a:r>
            <a:r>
              <a:rPr lang="en-US" altLang="zh-CN" b="1" dirty="0">
                <a:solidFill>
                  <a:srgbClr val="F05A23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0.01</a:t>
            </a:r>
            <a:r>
              <a:rPr lang="en-US" altLang="zh-CN" dirty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%</a:t>
            </a:r>
            <a:r>
              <a:rPr lang="zh-CN" altLang="en-US" dirty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提升到</a:t>
            </a:r>
            <a:r>
              <a:rPr lang="en-US" altLang="zh-CN" b="1" dirty="0">
                <a:solidFill>
                  <a:srgbClr val="F05A23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1.2</a:t>
            </a:r>
            <a:r>
              <a:rPr lang="en-US" altLang="zh-CN" dirty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%</a:t>
            </a:r>
            <a:endParaRPr lang="en-US" altLang="zh-CN" dirty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grpSp>
        <p:nvGrpSpPr>
          <p:cNvPr id="14" name="组合 13"/>
          <p:cNvGrpSpPr/>
          <p:nvPr/>
        </p:nvGrpSpPr>
        <p:grpSpPr>
          <a:xfrm rot="0">
            <a:off x="2578735" y="2159635"/>
            <a:ext cx="4469130" cy="3746500"/>
            <a:chOff x="3855244" y="2159828"/>
            <a:chExt cx="4468813" cy="3746686"/>
          </a:xfrm>
        </p:grpSpPr>
        <p:sp>
          <p:nvSpPr>
            <p:cNvPr id="11" name="任意多边形: 形状 2"/>
            <p:cNvSpPr/>
            <p:nvPr/>
          </p:nvSpPr>
          <p:spPr bwMode="auto">
            <a:xfrm>
              <a:off x="5723731" y="5292131"/>
              <a:ext cx="731838" cy="614383"/>
            </a:xfrm>
            <a:custGeom>
              <a:avLst/>
              <a:gdLst>
                <a:gd name="T0" fmla="*/ 319 w 319"/>
                <a:gd name="T1" fmla="*/ 0 h 324"/>
                <a:gd name="T2" fmla="*/ 0 w 319"/>
                <a:gd name="T3" fmla="*/ 0 h 324"/>
                <a:gd name="T4" fmla="*/ 95 w 319"/>
                <a:gd name="T5" fmla="*/ 181 h 324"/>
                <a:gd name="T6" fmla="*/ 95 w 319"/>
                <a:gd name="T7" fmla="*/ 301 h 324"/>
                <a:gd name="T8" fmla="*/ 124 w 319"/>
                <a:gd name="T9" fmla="*/ 324 h 324"/>
                <a:gd name="T10" fmla="*/ 196 w 319"/>
                <a:gd name="T11" fmla="*/ 324 h 324"/>
                <a:gd name="T12" fmla="*/ 224 w 319"/>
                <a:gd name="T13" fmla="*/ 301 h 324"/>
                <a:gd name="T14" fmla="*/ 224 w 319"/>
                <a:gd name="T15" fmla="*/ 181 h 324"/>
                <a:gd name="T16" fmla="*/ 319 w 319"/>
                <a:gd name="T17" fmla="*/ 0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9" h="324">
                  <a:moveTo>
                    <a:pt x="319" y="0"/>
                  </a:moveTo>
                  <a:cubicBezTo>
                    <a:pt x="213" y="3"/>
                    <a:pt x="106" y="3"/>
                    <a:pt x="0" y="0"/>
                  </a:cubicBezTo>
                  <a:cubicBezTo>
                    <a:pt x="95" y="181"/>
                    <a:pt x="95" y="181"/>
                    <a:pt x="95" y="181"/>
                  </a:cubicBezTo>
                  <a:cubicBezTo>
                    <a:pt x="95" y="301"/>
                    <a:pt x="95" y="301"/>
                    <a:pt x="95" y="301"/>
                  </a:cubicBezTo>
                  <a:cubicBezTo>
                    <a:pt x="95" y="314"/>
                    <a:pt x="108" y="324"/>
                    <a:pt x="124" y="324"/>
                  </a:cubicBezTo>
                  <a:cubicBezTo>
                    <a:pt x="196" y="324"/>
                    <a:pt x="196" y="324"/>
                    <a:pt x="196" y="324"/>
                  </a:cubicBezTo>
                  <a:cubicBezTo>
                    <a:pt x="211" y="324"/>
                    <a:pt x="224" y="314"/>
                    <a:pt x="224" y="301"/>
                  </a:cubicBezTo>
                  <a:cubicBezTo>
                    <a:pt x="224" y="181"/>
                    <a:pt x="224" y="181"/>
                    <a:pt x="224" y="181"/>
                  </a:cubicBezTo>
                  <a:lnTo>
                    <a:pt x="319" y="0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none" lIns="91440" tIns="45720" rIns="91440" bIns="45720" numCol="1" anchor="t" anchorCtr="0" compatLnSpc="1">
              <a:normAutofit/>
            </a:bodyPr>
            <a:lstStyle/>
            <a:p>
              <a:endParaRPr lang="id-ID"/>
            </a:p>
          </p:txBody>
        </p:sp>
        <p:sp>
          <p:nvSpPr>
            <p:cNvPr id="12" name="椭圆 11"/>
            <p:cNvSpPr/>
            <p:nvPr/>
          </p:nvSpPr>
          <p:spPr bwMode="auto">
            <a:xfrm>
              <a:off x="5725319" y="5251434"/>
              <a:ext cx="727075" cy="82706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16" name="任意多边形: 形状 4"/>
            <p:cNvSpPr/>
            <p:nvPr/>
          </p:nvSpPr>
          <p:spPr bwMode="auto">
            <a:xfrm>
              <a:off x="5190331" y="4454574"/>
              <a:ext cx="1797050" cy="731222"/>
            </a:xfrm>
            <a:custGeom>
              <a:avLst/>
              <a:gdLst>
                <a:gd name="T0" fmla="*/ 0 w 783"/>
                <a:gd name="T1" fmla="*/ 0 h 386"/>
                <a:gd name="T2" fmla="*/ 201 w 783"/>
                <a:gd name="T3" fmla="*/ 383 h 386"/>
                <a:gd name="T4" fmla="*/ 582 w 783"/>
                <a:gd name="T5" fmla="*/ 383 h 386"/>
                <a:gd name="T6" fmla="*/ 783 w 783"/>
                <a:gd name="T7" fmla="*/ 0 h 386"/>
                <a:gd name="T8" fmla="*/ 0 w 783"/>
                <a:gd name="T9" fmla="*/ 0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3" h="386">
                  <a:moveTo>
                    <a:pt x="0" y="0"/>
                  </a:moveTo>
                  <a:cubicBezTo>
                    <a:pt x="201" y="383"/>
                    <a:pt x="201" y="383"/>
                    <a:pt x="201" y="383"/>
                  </a:cubicBezTo>
                  <a:cubicBezTo>
                    <a:pt x="328" y="386"/>
                    <a:pt x="455" y="386"/>
                    <a:pt x="582" y="383"/>
                  </a:cubicBezTo>
                  <a:cubicBezTo>
                    <a:pt x="783" y="0"/>
                    <a:pt x="783" y="0"/>
                    <a:pt x="783" y="0"/>
                  </a:cubicBezTo>
                  <a:cubicBezTo>
                    <a:pt x="522" y="14"/>
                    <a:pt x="261" y="14"/>
                    <a:pt x="0" y="0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none" lIns="91440" tIns="45720" rIns="91440" bIns="45720" numCol="1" anchor="ctr" anchorCtr="0" compatLnSpc="1">
              <a:normAutofit/>
            </a:bodyPr>
            <a:lstStyle/>
            <a:p>
              <a:pPr algn="ctr"/>
              <a:endParaRPr lang="id-ID" b="1" dirty="0"/>
            </a:p>
          </p:txBody>
        </p:sp>
        <p:sp>
          <p:nvSpPr>
            <p:cNvPr id="18" name="椭圆 17"/>
            <p:cNvSpPr/>
            <p:nvPr/>
          </p:nvSpPr>
          <p:spPr bwMode="auto">
            <a:xfrm>
              <a:off x="5187156" y="4360054"/>
              <a:ext cx="1806575" cy="173288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19" name="任意多边形: 形状 6"/>
            <p:cNvSpPr/>
            <p:nvPr/>
          </p:nvSpPr>
          <p:spPr bwMode="auto">
            <a:xfrm>
              <a:off x="4601369" y="3522498"/>
              <a:ext cx="2974975" cy="848059"/>
            </a:xfrm>
            <a:custGeom>
              <a:avLst/>
              <a:gdLst>
                <a:gd name="T0" fmla="*/ 1072 w 1297"/>
                <a:gd name="T1" fmla="*/ 430 h 447"/>
                <a:gd name="T2" fmla="*/ 1297 w 1297"/>
                <a:gd name="T3" fmla="*/ 0 h 447"/>
                <a:gd name="T4" fmla="*/ 0 w 1297"/>
                <a:gd name="T5" fmla="*/ 0 h 447"/>
                <a:gd name="T6" fmla="*/ 226 w 1297"/>
                <a:gd name="T7" fmla="*/ 430 h 447"/>
                <a:gd name="T8" fmla="*/ 1072 w 1297"/>
                <a:gd name="T9" fmla="*/ 430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7" h="447">
                  <a:moveTo>
                    <a:pt x="1072" y="430"/>
                  </a:moveTo>
                  <a:cubicBezTo>
                    <a:pt x="1297" y="0"/>
                    <a:pt x="1297" y="0"/>
                    <a:pt x="1297" y="0"/>
                  </a:cubicBezTo>
                  <a:cubicBezTo>
                    <a:pt x="865" y="43"/>
                    <a:pt x="432" y="43"/>
                    <a:pt x="0" y="0"/>
                  </a:cubicBezTo>
                  <a:cubicBezTo>
                    <a:pt x="226" y="430"/>
                    <a:pt x="226" y="430"/>
                    <a:pt x="226" y="430"/>
                  </a:cubicBezTo>
                  <a:cubicBezTo>
                    <a:pt x="507" y="447"/>
                    <a:pt x="790" y="447"/>
                    <a:pt x="1072" y="430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none" lIns="91440" tIns="45720" rIns="91440" bIns="45720" numCol="1" anchor="ctr" anchorCtr="0" compatLnSpc="1">
              <a:normAutofit/>
            </a:bodyPr>
            <a:lstStyle/>
            <a:p>
              <a:pPr algn="ctr"/>
              <a:endParaRPr lang="id-ID" sz="2000" b="1" dirty="0"/>
            </a:p>
          </p:txBody>
        </p:sp>
        <p:sp>
          <p:nvSpPr>
            <p:cNvPr id="20" name="椭圆 19"/>
            <p:cNvSpPr/>
            <p:nvPr/>
          </p:nvSpPr>
          <p:spPr bwMode="auto">
            <a:xfrm>
              <a:off x="4604544" y="3382030"/>
              <a:ext cx="2971800" cy="28750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21" name="任意多边形: 形状 8"/>
            <p:cNvSpPr/>
            <p:nvPr/>
          </p:nvSpPr>
          <p:spPr bwMode="auto">
            <a:xfrm>
              <a:off x="3858419" y="2350181"/>
              <a:ext cx="4462463" cy="1144748"/>
            </a:xfrm>
            <a:custGeom>
              <a:avLst/>
              <a:gdLst>
                <a:gd name="T0" fmla="*/ 1654 w 1945"/>
                <a:gd name="T1" fmla="*/ 555 h 603"/>
                <a:gd name="T2" fmla="*/ 1945 w 1945"/>
                <a:gd name="T3" fmla="*/ 0 h 603"/>
                <a:gd name="T4" fmla="*/ 0 w 1945"/>
                <a:gd name="T5" fmla="*/ 0 h 603"/>
                <a:gd name="T6" fmla="*/ 291 w 1945"/>
                <a:gd name="T7" fmla="*/ 555 h 603"/>
                <a:gd name="T8" fmla="*/ 1654 w 1945"/>
                <a:gd name="T9" fmla="*/ 555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45" h="603">
                  <a:moveTo>
                    <a:pt x="1654" y="555"/>
                  </a:moveTo>
                  <a:cubicBezTo>
                    <a:pt x="1945" y="0"/>
                    <a:pt x="1945" y="0"/>
                    <a:pt x="194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1" y="555"/>
                    <a:pt x="291" y="555"/>
                    <a:pt x="291" y="555"/>
                  </a:cubicBezTo>
                  <a:cubicBezTo>
                    <a:pt x="745" y="603"/>
                    <a:pt x="1200" y="603"/>
                    <a:pt x="1654" y="55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none" lIns="91440" tIns="45720" rIns="91440" bIns="45720" numCol="1" anchor="ctr" anchorCtr="0" compatLnSpc="1">
              <a:normAutofit/>
            </a:bodyPr>
            <a:lstStyle/>
            <a:p>
              <a:pPr algn="ctr"/>
              <a:endParaRPr lang="id-ID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22" name="椭圆 21"/>
            <p:cNvSpPr/>
            <p:nvPr/>
          </p:nvSpPr>
          <p:spPr bwMode="auto">
            <a:xfrm>
              <a:off x="3855244" y="2159828"/>
              <a:ext cx="4468813" cy="364954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</p:grpSp>
      <p:sp>
        <p:nvSpPr>
          <p:cNvPr id="29" name="矩形 28"/>
          <p:cNvSpPr/>
          <p:nvPr/>
        </p:nvSpPr>
        <p:spPr bwMode="auto">
          <a:xfrm>
            <a:off x="7044690" y="2858135"/>
            <a:ext cx="2557780" cy="5308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20000"/>
              </a:lnSpc>
              <a:buFont typeface="Arial" panose="020B0604020202090204" pitchFamily="34" charset="0"/>
              <a:buChar char="•"/>
            </a:pPr>
            <a:r>
              <a:rPr lang="zh-CN" altLang="en-US" sz="1200">
                <a:latin typeface="华文楷体" panose="02010600040101010101" pitchFamily="2" charset="-122"/>
                <a:ea typeface="华文楷体" panose="02010600040101010101" pitchFamily="2" charset="-122"/>
              </a:rPr>
              <a:t>正样本比例</a:t>
            </a:r>
            <a:r>
              <a:rPr lang="en-US" altLang="it-IT" sz="1200">
                <a:latin typeface="华文楷体" panose="02010600040101010101" pitchFamily="2" charset="-122"/>
                <a:ea typeface="华文楷体" panose="02010600040101010101" pitchFamily="2" charset="-122"/>
              </a:rPr>
              <a:t>0.01%</a:t>
            </a:r>
            <a:endParaRPr lang="en-US" altLang="it-IT" sz="1200"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171450" indent="-171450">
              <a:lnSpc>
                <a:spcPct val="120000"/>
              </a:lnSpc>
              <a:buFont typeface="Arial" panose="020B0604020202090204" pitchFamily="34" charset="0"/>
              <a:buChar char="•"/>
            </a:pPr>
            <a:r>
              <a:rPr lang="zh-CN" altLang="en-US" sz="1200" dirty="0">
                <a:latin typeface="华文楷体" panose="02010600040101010101" pitchFamily="2" charset="-122"/>
                <a:ea typeface="华文楷体" panose="02010600040101010101" pitchFamily="2" charset="-122"/>
                <a:sym typeface="+mn-ea"/>
              </a:rPr>
              <a:t>取</a:t>
            </a:r>
            <a:r>
              <a:rPr lang="en-US" altLang="zh-CN" sz="1200" dirty="0">
                <a:latin typeface="华文楷体" panose="02010600040101010101" pitchFamily="2" charset="-122"/>
                <a:ea typeface="华文楷体" panose="02010600040101010101" pitchFamily="2" charset="-122"/>
                <a:sym typeface="+mn-ea"/>
              </a:rPr>
              <a:t>topx1</a:t>
            </a:r>
            <a:r>
              <a:rPr lang="zh-CN" altLang="en-US" sz="1200" dirty="0">
                <a:latin typeface="华文楷体" panose="02010600040101010101" pitchFamily="2" charset="-122"/>
                <a:ea typeface="华文楷体" panose="02010600040101010101" pitchFamily="2" charset="-122"/>
                <a:sym typeface="+mn-ea"/>
              </a:rPr>
              <a:t>输入下一个模型</a:t>
            </a:r>
            <a:endParaRPr lang="zh-CN" altLang="en-US" sz="1200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171450" indent="-171450">
              <a:lnSpc>
                <a:spcPct val="120000"/>
              </a:lnSpc>
              <a:buFont typeface="Arial" panose="020B0604020202090204" pitchFamily="34" charset="0"/>
              <a:buChar char="•"/>
            </a:pPr>
            <a:endParaRPr lang="en-US" altLang="it-IT" sz="1200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31" name="文本框 30"/>
          <p:cNvSpPr txBox="1"/>
          <p:nvPr/>
        </p:nvSpPr>
        <p:spPr>
          <a:xfrm>
            <a:off x="7044690" y="2329815"/>
            <a:ext cx="3197860" cy="462915"/>
          </a:xfrm>
          <a:prstGeom prst="rect">
            <a:avLst/>
          </a:prstGeom>
          <a:noFill/>
        </p:spPr>
        <p:txBody>
          <a:bodyPr wrap="square" rtlCol="0" anchor="b" anchorCtr="0">
            <a:normAutofit/>
          </a:bodyPr>
          <a:lstStyle/>
          <a:p>
            <a:r>
              <a:rPr lang="zh-CN" altLang="en-US" b="1" dirty="0">
                <a:solidFill>
                  <a:schemeClr val="accent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模型</a:t>
            </a:r>
            <a:r>
              <a:rPr lang="en-US" altLang="zh-CN" b="1" dirty="0">
                <a:solidFill>
                  <a:schemeClr val="accent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1</a:t>
            </a:r>
            <a:endParaRPr lang="en-US" altLang="zh-CN" b="1" dirty="0">
              <a:solidFill>
                <a:schemeClr val="accent1"/>
              </a:solidFill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cxnSp>
        <p:nvCxnSpPr>
          <p:cNvPr id="38" name="直接箭头连接符 37"/>
          <p:cNvCxnSpPr/>
          <p:nvPr/>
        </p:nvCxnSpPr>
        <p:spPr>
          <a:xfrm>
            <a:off x="6706235" y="3014345"/>
            <a:ext cx="338455" cy="0"/>
          </a:xfrm>
          <a:prstGeom prst="straightConnector1">
            <a:avLst/>
          </a:prstGeom>
          <a:ln w="15875">
            <a:solidFill>
              <a:schemeClr val="tx2">
                <a:alpha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文本框 52"/>
          <p:cNvSpPr txBox="1"/>
          <p:nvPr/>
        </p:nvSpPr>
        <p:spPr>
          <a:xfrm>
            <a:off x="7044690" y="3454400"/>
            <a:ext cx="3197860" cy="462915"/>
          </a:xfrm>
          <a:prstGeom prst="rect">
            <a:avLst/>
          </a:prstGeom>
          <a:noFill/>
        </p:spPr>
        <p:txBody>
          <a:bodyPr wrap="square" rtlCol="0" anchor="b" anchorCtr="0">
            <a:normAutofit/>
          </a:bodyPr>
          <a:lstStyle/>
          <a:p>
            <a:r>
              <a:rPr lang="zh-CN" altLang="en-US" b="1" dirty="0">
                <a:solidFill>
                  <a:schemeClr val="accent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模型</a:t>
            </a:r>
            <a:r>
              <a:rPr lang="en-US" altLang="zh-CN" b="1" dirty="0">
                <a:solidFill>
                  <a:schemeClr val="accent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2</a:t>
            </a:r>
            <a:endParaRPr lang="en-US" altLang="zh-CN" b="1" dirty="0">
              <a:solidFill>
                <a:schemeClr val="accent1"/>
              </a:solidFill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cxnSp>
        <p:nvCxnSpPr>
          <p:cNvPr id="54" name="直接箭头连接符 53"/>
          <p:cNvCxnSpPr/>
          <p:nvPr/>
        </p:nvCxnSpPr>
        <p:spPr>
          <a:xfrm>
            <a:off x="6706235" y="4138930"/>
            <a:ext cx="338455" cy="0"/>
          </a:xfrm>
          <a:prstGeom prst="straightConnector1">
            <a:avLst/>
          </a:prstGeom>
          <a:ln w="15875">
            <a:solidFill>
              <a:schemeClr val="tx2">
                <a:alpha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矩形 54"/>
          <p:cNvSpPr/>
          <p:nvPr/>
        </p:nvSpPr>
        <p:spPr bwMode="auto">
          <a:xfrm>
            <a:off x="7047865" y="5709285"/>
            <a:ext cx="3197860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20000"/>
              </a:lnSpc>
              <a:buFont typeface="Arial" panose="020B0604020202090204" pitchFamily="34" charset="0"/>
              <a:buChar char="•"/>
            </a:pPr>
            <a:r>
              <a:rPr lang="en-US" altLang="it-IT" sz="1200">
                <a:latin typeface="华文楷体" panose="02010600040101010101" pitchFamily="2" charset="-122"/>
                <a:ea typeface="华文楷体" panose="02010600040101010101" pitchFamily="2" charset="-122"/>
              </a:rPr>
              <a:t>1.2%</a:t>
            </a:r>
            <a:endParaRPr lang="en-US" altLang="it-IT" sz="1200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56" name="文本框 55"/>
          <p:cNvSpPr txBox="1"/>
          <p:nvPr/>
        </p:nvSpPr>
        <p:spPr>
          <a:xfrm>
            <a:off x="7047865" y="5180965"/>
            <a:ext cx="3197860" cy="462915"/>
          </a:xfrm>
          <a:prstGeom prst="rect">
            <a:avLst/>
          </a:prstGeom>
          <a:noFill/>
        </p:spPr>
        <p:txBody>
          <a:bodyPr wrap="square" rtlCol="0" anchor="b" anchorCtr="0">
            <a:normAutofit/>
          </a:bodyPr>
          <a:lstStyle/>
          <a:p>
            <a:r>
              <a:rPr lang="zh-CN" altLang="en-US" b="1" dirty="0">
                <a:solidFill>
                  <a:schemeClr val="accent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模型</a:t>
            </a:r>
            <a:r>
              <a:rPr lang="en-US" altLang="zh-CN" b="1" dirty="0">
                <a:solidFill>
                  <a:schemeClr val="accent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N</a:t>
            </a:r>
            <a:endParaRPr lang="en-US" altLang="zh-CN" b="1" dirty="0">
              <a:solidFill>
                <a:schemeClr val="accent1"/>
              </a:solidFill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cxnSp>
        <p:nvCxnSpPr>
          <p:cNvPr id="57" name="直接箭头连接符 56"/>
          <p:cNvCxnSpPr/>
          <p:nvPr/>
        </p:nvCxnSpPr>
        <p:spPr>
          <a:xfrm>
            <a:off x="6709410" y="5865495"/>
            <a:ext cx="338455" cy="0"/>
          </a:xfrm>
          <a:prstGeom prst="straightConnector1">
            <a:avLst/>
          </a:prstGeom>
          <a:ln w="15875">
            <a:solidFill>
              <a:schemeClr val="tx2">
                <a:alpha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直接箭头连接符 58"/>
          <p:cNvCxnSpPr/>
          <p:nvPr/>
        </p:nvCxnSpPr>
        <p:spPr>
          <a:xfrm>
            <a:off x="8590280" y="2623185"/>
            <a:ext cx="0" cy="3249295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文本框 59"/>
          <p:cNvSpPr txBox="1"/>
          <p:nvPr/>
        </p:nvSpPr>
        <p:spPr>
          <a:xfrm>
            <a:off x="7219315" y="4537710"/>
            <a:ext cx="1012825" cy="462915"/>
          </a:xfrm>
          <a:prstGeom prst="rect">
            <a:avLst/>
          </a:prstGeom>
          <a:noFill/>
        </p:spPr>
        <p:txBody>
          <a:bodyPr wrap="square" rtlCol="0" anchor="b" anchorCtr="0">
            <a:normAutofit/>
          </a:bodyPr>
          <a:p>
            <a:r>
              <a:rPr lang="en-US" b="1" dirty="0">
                <a:solidFill>
                  <a:schemeClr val="accent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...</a:t>
            </a:r>
            <a:endParaRPr lang="en-US" b="1" dirty="0">
              <a:solidFill>
                <a:schemeClr val="accent1"/>
              </a:solidFill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sp>
        <p:nvSpPr>
          <p:cNvPr id="6" name="矩形 5"/>
          <p:cNvSpPr/>
          <p:nvPr/>
        </p:nvSpPr>
        <p:spPr bwMode="auto">
          <a:xfrm>
            <a:off x="7047865" y="3923665"/>
            <a:ext cx="2557780" cy="5308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20000"/>
              </a:lnSpc>
              <a:buFont typeface="Arial" panose="020B0604020202090204" pitchFamily="34" charset="0"/>
              <a:buChar char="•"/>
            </a:pPr>
            <a:r>
              <a:rPr lang="zh-CN" altLang="en-US" sz="1200">
                <a:latin typeface="华文楷体" panose="02010600040101010101" pitchFamily="2" charset="-122"/>
                <a:ea typeface="华文楷体" panose="02010600040101010101" pitchFamily="2" charset="-122"/>
              </a:rPr>
              <a:t>正样本比例</a:t>
            </a:r>
            <a:r>
              <a:rPr lang="en-US" altLang="it-IT" sz="1200">
                <a:latin typeface="华文楷体" panose="02010600040101010101" pitchFamily="2" charset="-122"/>
                <a:ea typeface="华文楷体" panose="02010600040101010101" pitchFamily="2" charset="-122"/>
              </a:rPr>
              <a:t>0.2%</a:t>
            </a:r>
            <a:endParaRPr lang="en-US" altLang="it-IT" sz="1200"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171450" indent="-171450">
              <a:lnSpc>
                <a:spcPct val="120000"/>
              </a:lnSpc>
              <a:buFont typeface="Arial" panose="020B0604020202090204" pitchFamily="34" charset="0"/>
              <a:buChar char="•"/>
            </a:pPr>
            <a:r>
              <a:rPr lang="zh-CN" altLang="en-US" sz="1200" dirty="0">
                <a:latin typeface="华文楷体" panose="02010600040101010101" pitchFamily="2" charset="-122"/>
                <a:ea typeface="华文楷体" panose="02010600040101010101" pitchFamily="2" charset="-122"/>
                <a:sym typeface="+mn-ea"/>
              </a:rPr>
              <a:t>取</a:t>
            </a:r>
            <a:r>
              <a:rPr lang="en-US" altLang="zh-CN" sz="1200" dirty="0">
                <a:latin typeface="华文楷体" panose="02010600040101010101" pitchFamily="2" charset="-122"/>
                <a:ea typeface="华文楷体" panose="02010600040101010101" pitchFamily="2" charset="-122"/>
                <a:sym typeface="+mn-ea"/>
              </a:rPr>
              <a:t>topx2</a:t>
            </a:r>
            <a:r>
              <a:rPr lang="zh-CN" altLang="en-US" sz="1200" dirty="0">
                <a:latin typeface="华文楷体" panose="02010600040101010101" pitchFamily="2" charset="-122"/>
                <a:ea typeface="华文楷体" panose="02010600040101010101" pitchFamily="2" charset="-122"/>
                <a:sym typeface="+mn-ea"/>
              </a:rPr>
              <a:t>输入下一个模型</a:t>
            </a:r>
            <a:endParaRPr lang="zh-CN" altLang="en-US" sz="1200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171450" indent="-171450">
              <a:lnSpc>
                <a:spcPct val="120000"/>
              </a:lnSpc>
              <a:buFont typeface="Arial" panose="020B0604020202090204" pitchFamily="34" charset="0"/>
              <a:buChar char="•"/>
            </a:pPr>
            <a:endParaRPr lang="en-US" altLang="it-IT" sz="1200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小样本解决之招式二：挖掘规则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-</a:t>
            </a: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强规则探索</a:t>
            </a:r>
            <a:endParaRPr lang="zh-CN" altLang="en-US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938530" y="112522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dirty="0" smtClean="0"/>
              <a:t>什么叫强规则</a:t>
            </a:r>
            <a:endParaRPr lang="zh-CN" altLang="en-US" dirty="0" smtClean="0"/>
          </a:p>
        </p:txBody>
      </p:sp>
      <p:grpSp>
        <p:nvGrpSpPr>
          <p:cNvPr id="3" name="组合 2"/>
          <p:cNvGrpSpPr/>
          <p:nvPr/>
        </p:nvGrpSpPr>
        <p:grpSpPr>
          <a:xfrm>
            <a:off x="450215" y="1061720"/>
            <a:ext cx="389255" cy="427990"/>
            <a:chOff x="450391" y="1977754"/>
            <a:chExt cx="465233" cy="511985"/>
          </a:xfrm>
        </p:grpSpPr>
        <p:sp>
          <p:nvSpPr>
            <p:cNvPr id="488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89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0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1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2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3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5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graphicFrame>
        <p:nvGraphicFramePr>
          <p:cNvPr id="9" name="表格 8"/>
          <p:cNvGraphicFramePr/>
          <p:nvPr>
            <p:custDataLst>
              <p:tags r:id="rId1"/>
            </p:custDataLst>
          </p:nvPr>
        </p:nvGraphicFramePr>
        <p:xfrm>
          <a:off x="2330450" y="2232660"/>
          <a:ext cx="7148195" cy="18465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35380"/>
                <a:gridCol w="977265"/>
                <a:gridCol w="1009650"/>
                <a:gridCol w="1010920"/>
                <a:gridCol w="1023620"/>
                <a:gridCol w="926465"/>
                <a:gridCol w="1064895"/>
              </a:tblGrid>
              <a:tr h="60833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90204" pitchFamily="34" charset="0"/>
                          <a:ea typeface="华文楷体" panose="02010600040101010101" pitchFamily="2" charset="-122"/>
                        </a:rPr>
                        <a:t>描述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90204" pitchFamily="34" charset="0"/>
                          <a:ea typeface="华文楷体" panose="02010600040101010101" pitchFamily="2" charset="-122"/>
                        </a:rPr>
                        <a:t>值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90204" pitchFamily="34" charset="0"/>
                          <a:ea typeface="华文楷体" panose="02010600040101010101" pitchFamily="2" charset="-122"/>
                        </a:rPr>
                        <a:t>客户数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90204" pitchFamily="34" charset="0"/>
                          <a:ea typeface="华文楷体" panose="02010600040101010101" pitchFamily="2" charset="-122"/>
                        </a:rPr>
                        <a:t>投诉率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90204" pitchFamily="34" charset="0"/>
                          <a:ea typeface="华文楷体" panose="02010600040101010101" pitchFamily="2" charset="-122"/>
                        </a:rPr>
                        <a:t>投诉率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90204" pitchFamily="34" charset="0"/>
                          <a:ea typeface="华文楷体" panose="02010600040101010101" pitchFamily="2" charset="-122"/>
                        </a:rPr>
                        <a:t>覆盖度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90204" pitchFamily="34" charset="0"/>
                          <a:ea typeface="华文楷体" panose="02010600040101010101" pitchFamily="2" charset="-122"/>
                        </a:rPr>
                        <a:t>提升度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</a:tr>
              <a:tr h="413385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 b="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华文楷体" panose="02010600040101010101" pitchFamily="2" charset="-122"/>
                        </a:rPr>
                        <a:t>特征</a:t>
                      </a:r>
                      <a:r>
                        <a:rPr lang="en-US" altLang="zh-CN" sz="1200" b="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华文楷体" panose="02010600040101010101" pitchFamily="2" charset="-122"/>
                        </a:rPr>
                        <a:t>x</a:t>
                      </a:r>
                      <a:endParaRPr lang="en-US" altLang="zh-CN" sz="1200" b="0">
                        <a:solidFill>
                          <a:schemeClr val="tx1"/>
                        </a:solidFill>
                        <a:latin typeface="Arial" panose="020B0604020202090204" pitchFamily="34" charset="0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  <a:latin typeface="华文楷体" panose="02010600040101010101" pitchFamily="2" charset="-122"/>
                        </a:rPr>
                        <a:t>0</a:t>
                      </a:r>
                      <a:endParaRPr lang="en-US" altLang="en-US" sz="1200" b="0">
                        <a:solidFill>
                          <a:schemeClr val="tx1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  <a:latin typeface="华文楷体" panose="02010600040101010101" pitchFamily="2" charset="-122"/>
                        </a:rPr>
                        <a:t>9,614,617</a:t>
                      </a:r>
                      <a:endParaRPr lang="en-US" altLang="en-US" sz="1200" b="0">
                        <a:solidFill>
                          <a:schemeClr val="tx1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  <a:latin typeface="华文楷体" panose="02010600040101010101" pitchFamily="2" charset="-122"/>
                        </a:rPr>
                        <a:t>1,088</a:t>
                      </a:r>
                      <a:endParaRPr lang="en-US" altLang="en-US" sz="1200" b="0">
                        <a:solidFill>
                          <a:schemeClr val="tx1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  <a:latin typeface="华文楷体" panose="02010600040101010101" pitchFamily="2" charset="-122"/>
                        </a:rPr>
                        <a:t>0.01%</a:t>
                      </a:r>
                      <a:endParaRPr lang="en-US" altLang="en-US" sz="1200" b="0">
                        <a:solidFill>
                          <a:schemeClr val="tx1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  <a:latin typeface="华文楷体" panose="02010600040101010101" pitchFamily="2" charset="-122"/>
                        </a:rPr>
                        <a:t>48.8%</a:t>
                      </a:r>
                      <a:endParaRPr lang="en-US" altLang="en-US" sz="1200" b="0">
                        <a:solidFill>
                          <a:schemeClr val="tx1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  <a:latin typeface="华文楷体" panose="02010600040101010101" pitchFamily="2" charset="-122"/>
                        </a:rPr>
                        <a:t>0.99 </a:t>
                      </a:r>
                      <a:endParaRPr lang="en-US" altLang="en-US" sz="1200" b="0">
                        <a:solidFill>
                          <a:schemeClr val="tx1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</a:tr>
              <a:tr h="412115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 b="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华文楷体" panose="02010600040101010101" pitchFamily="2" charset="-122"/>
                        </a:rPr>
                        <a:t>特征</a:t>
                      </a:r>
                      <a:r>
                        <a:rPr lang="en-US" altLang="zh-CN" sz="1200" b="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华文楷体" panose="02010600040101010101" pitchFamily="2" charset="-122"/>
                        </a:rPr>
                        <a:t>x</a:t>
                      </a:r>
                      <a:endParaRPr lang="en-US" altLang="zh-CN" sz="1200" b="0">
                        <a:solidFill>
                          <a:schemeClr val="tx1"/>
                        </a:solidFill>
                        <a:latin typeface="Arial" panose="020B0604020202090204" pitchFamily="34" charset="0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  <a:latin typeface="华文楷体" panose="02010600040101010101" pitchFamily="2" charset="-122"/>
                        </a:rPr>
                        <a:t>1</a:t>
                      </a:r>
                      <a:endParaRPr lang="en-US" altLang="en-US" sz="1200" b="0">
                        <a:solidFill>
                          <a:schemeClr val="tx1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  <a:latin typeface="华文楷体" panose="02010600040101010101" pitchFamily="2" charset="-122"/>
                        </a:rPr>
                        <a:t>1,080</a:t>
                      </a:r>
                      <a:endParaRPr lang="en-US" altLang="en-US" sz="1200" b="0">
                        <a:solidFill>
                          <a:schemeClr val="tx1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1">
                          <a:solidFill>
                            <a:srgbClr val="F05A23"/>
                          </a:solidFill>
                          <a:latin typeface="华文楷体" panose="02010600040101010101" pitchFamily="2" charset="-122"/>
                        </a:rPr>
                        <a:t>560 </a:t>
                      </a:r>
                      <a:endParaRPr lang="en-US" altLang="en-US" sz="1200" b="1">
                        <a:solidFill>
                          <a:srgbClr val="F05A23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  <a:latin typeface="华文楷体" panose="02010600040101010101" pitchFamily="2" charset="-122"/>
                        </a:rPr>
                        <a:t>51.85%</a:t>
                      </a:r>
                      <a:endParaRPr lang="en-US" altLang="en-US" sz="1200" b="0">
                        <a:solidFill>
                          <a:schemeClr val="tx1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1">
                          <a:solidFill>
                            <a:srgbClr val="F05A23"/>
                          </a:solidFill>
                          <a:latin typeface="华文楷体" panose="02010600040101010101" pitchFamily="2" charset="-122"/>
                        </a:rPr>
                        <a:t>51.2%</a:t>
                      </a:r>
                      <a:endParaRPr lang="en-US" altLang="en-US" sz="1200" b="1">
                        <a:solidFill>
                          <a:srgbClr val="F05A23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1">
                          <a:solidFill>
                            <a:srgbClr val="F05A23"/>
                          </a:solidFill>
                          <a:latin typeface="华文楷体" panose="02010600040101010101" pitchFamily="2" charset="-122"/>
                        </a:rPr>
                        <a:t>5,120</a:t>
                      </a:r>
                      <a:endParaRPr lang="en-US" altLang="en-US" sz="1200" b="1">
                        <a:solidFill>
                          <a:srgbClr val="F05A23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</a:tr>
              <a:tr h="41275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 b="0">
                          <a:solidFill>
                            <a:schemeClr val="tx1"/>
                          </a:solidFill>
                          <a:latin typeface="Arial" panose="020B0604020202090204" pitchFamily="34" charset="0"/>
                          <a:ea typeface="华文楷体" panose="02010600040101010101" pitchFamily="2" charset="-122"/>
                        </a:rPr>
                        <a:t>全量</a:t>
                      </a:r>
                      <a:endParaRPr lang="zh-CN" altLang="en-US" sz="1200" b="0">
                        <a:solidFill>
                          <a:schemeClr val="tx1"/>
                        </a:solidFill>
                        <a:latin typeface="Arial" panose="020B0604020202090204" pitchFamily="34" charset="0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endParaRPr lang="en-US" altLang="en-US" sz="1200" b="0">
                        <a:solidFill>
                          <a:schemeClr val="tx1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  <a:latin typeface="华文楷体" panose="02010600040101010101" pitchFamily="2" charset="-122"/>
                        </a:rPr>
                        <a:t>9,615,697</a:t>
                      </a:r>
                      <a:endParaRPr lang="en-US" altLang="en-US" sz="1200" b="0">
                        <a:solidFill>
                          <a:schemeClr val="tx1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  <a:latin typeface="华文楷体" panose="02010600040101010101" pitchFamily="2" charset="-122"/>
                        </a:rPr>
                        <a:t>1,094</a:t>
                      </a:r>
                      <a:endParaRPr lang="en-US" altLang="en-US" sz="1200" b="0">
                        <a:solidFill>
                          <a:schemeClr val="tx1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  <a:latin typeface="华文楷体" panose="02010600040101010101" pitchFamily="2" charset="-122"/>
                        </a:rPr>
                        <a:t>0.01%</a:t>
                      </a:r>
                      <a:endParaRPr lang="en-US" altLang="en-US" sz="1200" b="0">
                        <a:solidFill>
                          <a:schemeClr val="tx1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endParaRPr lang="en-US" altLang="en-US" sz="1200" b="0">
                        <a:solidFill>
                          <a:schemeClr val="tx1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en-US" altLang="en-US" sz="1200" b="0">
                        <a:solidFill>
                          <a:schemeClr val="tx1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</a:tr>
            </a:tbl>
          </a:graphicData>
        </a:graphic>
      </p:graphicFrame>
      <p:sp>
        <p:nvSpPr>
          <p:cNvPr id="6" name="文本框 5"/>
          <p:cNvSpPr txBox="1"/>
          <p:nvPr/>
        </p:nvSpPr>
        <p:spPr>
          <a:xfrm>
            <a:off x="938530" y="1489710"/>
            <a:ext cx="9153525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p>
            <a:pPr marL="106045" indent="0">
              <a:buNone/>
            </a:pPr>
            <a:r>
              <a:rPr lang="zh-CN" altLang="en-US" sz="1555" dirty="0" smtClean="0"/>
              <a:t>特征</a:t>
            </a:r>
            <a:r>
              <a:rPr lang="en-US" altLang="zh-CN" sz="1555" dirty="0" smtClean="0"/>
              <a:t>x</a:t>
            </a:r>
            <a:r>
              <a:rPr lang="zh-CN" altLang="en-US" sz="1555" dirty="0" smtClean="0"/>
              <a:t>在取值为</a:t>
            </a:r>
            <a:r>
              <a:rPr lang="en-US" altLang="zh-CN" sz="1555" dirty="0" smtClean="0"/>
              <a:t>1</a:t>
            </a:r>
            <a:r>
              <a:rPr lang="zh-CN" altLang="en-US" sz="1555" dirty="0" smtClean="0"/>
              <a:t>时，投诉率由整体的</a:t>
            </a:r>
            <a:r>
              <a:rPr lang="en-US" altLang="zh-CN" sz="1555" dirty="0" smtClean="0"/>
              <a:t>0.01%</a:t>
            </a:r>
            <a:r>
              <a:rPr lang="zh-CN" altLang="en-US" sz="1555" dirty="0" smtClean="0"/>
              <a:t>提升到</a:t>
            </a:r>
            <a:r>
              <a:rPr lang="en-US" altLang="zh-CN" sz="1555" dirty="0" smtClean="0"/>
              <a:t>51.85%</a:t>
            </a:r>
            <a:r>
              <a:rPr lang="zh-CN" altLang="en-US" sz="1555" dirty="0" smtClean="0"/>
              <a:t>，提升</a:t>
            </a:r>
            <a:r>
              <a:rPr lang="en-US" altLang="zh-CN" sz="1555" b="1" dirty="0" smtClean="0">
                <a:solidFill>
                  <a:srgbClr val="F05A23"/>
                </a:solidFill>
              </a:rPr>
              <a:t>5,120</a:t>
            </a:r>
            <a:r>
              <a:rPr lang="zh-CN" altLang="en-US" sz="1555" dirty="0" smtClean="0"/>
              <a:t>倍</a:t>
            </a:r>
            <a:endParaRPr lang="zh-CN" altLang="en-US" sz="1555" dirty="0" smtClean="0"/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小样本解决之招式二：挖掘规则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-</a:t>
            </a: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强规则探索</a:t>
            </a:r>
            <a:endParaRPr lang="zh-CN" altLang="en-US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938530" y="112522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sz="1800" dirty="0" smtClean="0"/>
              <a:t>好规则满足的三个条件</a:t>
            </a:r>
            <a:endParaRPr lang="zh-CN" altLang="en-US" sz="1800" dirty="0" smtClean="0"/>
          </a:p>
        </p:txBody>
      </p:sp>
      <p:grpSp>
        <p:nvGrpSpPr>
          <p:cNvPr id="3" name="组合 2"/>
          <p:cNvGrpSpPr/>
          <p:nvPr/>
        </p:nvGrpSpPr>
        <p:grpSpPr>
          <a:xfrm>
            <a:off x="450215" y="1061720"/>
            <a:ext cx="389255" cy="427990"/>
            <a:chOff x="450391" y="1977754"/>
            <a:chExt cx="465233" cy="511985"/>
          </a:xfrm>
        </p:grpSpPr>
        <p:sp>
          <p:nvSpPr>
            <p:cNvPr id="488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89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0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1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2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3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5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6" name="椭圆 5"/>
          <p:cNvSpPr/>
          <p:nvPr/>
        </p:nvSpPr>
        <p:spPr>
          <a:xfrm>
            <a:off x="1833880" y="2393950"/>
            <a:ext cx="1753870" cy="1753870"/>
          </a:xfrm>
          <a:prstGeom prst="ellipse">
            <a:avLst/>
          </a:prstGeom>
          <a:noFill/>
          <a:ln w="0">
            <a:solidFill>
              <a:srgbClr val="F05A23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05A23"/>
                </a:solidFill>
              </a14:hiddenFill>
            </a:ext>
          </a:extLst>
        </p:spPr>
        <p:txBody>
          <a:bodyPr vert="horz" wrap="square" lIns="91440" tIns="45720" rIns="91440" bIns="45720" numCol="1" rtlCol="0" anchor="ctr" anchorCtr="0" compatLnSpc="1"/>
          <a:p>
            <a:pPr algn="ctr"/>
            <a:r>
              <a:rPr lang="zh-CN" altLang="en-US">
                <a:solidFill>
                  <a:schemeClr val="tx1"/>
                </a:solidFill>
              </a:rPr>
              <a:t>效果好（有对比）</a:t>
            </a:r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7" name="椭圆 6"/>
          <p:cNvSpPr/>
          <p:nvPr/>
        </p:nvSpPr>
        <p:spPr>
          <a:xfrm>
            <a:off x="5179060" y="2393950"/>
            <a:ext cx="1753870" cy="1753870"/>
          </a:xfrm>
          <a:prstGeom prst="ellipse">
            <a:avLst/>
          </a:prstGeom>
          <a:noFill/>
          <a:ln w="0">
            <a:solidFill>
              <a:srgbClr val="F05A23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05A23"/>
                </a:solidFill>
              </a14:hiddenFill>
            </a:ext>
          </a:extLst>
        </p:spPr>
        <p:txBody>
          <a:bodyPr vert="horz" wrap="square" lIns="91440" tIns="45720" rIns="91440" bIns="45720" numCol="1" rtlCol="0" anchor="ctr" anchorCtr="0" compatLnSpc="1">
            <a:noAutofit/>
          </a:bodyPr>
          <a:p>
            <a:pPr lvl="0" algn="ctr">
              <a:buClrTx/>
              <a:buSzTx/>
              <a:buFontTx/>
            </a:pPr>
            <a:r>
              <a:rPr lang="zh-CN" altLang="en-US">
                <a:sym typeface="+mn-ea"/>
              </a:rPr>
              <a:t>泛化能力好（稳定）</a:t>
            </a:r>
            <a:endParaRPr lang="zh-CN" altLang="en-US">
              <a:sym typeface="+mn-ea"/>
            </a:endParaRPr>
          </a:p>
        </p:txBody>
      </p:sp>
      <p:sp>
        <p:nvSpPr>
          <p:cNvPr id="8" name="椭圆 7"/>
          <p:cNvSpPr/>
          <p:nvPr/>
        </p:nvSpPr>
        <p:spPr>
          <a:xfrm>
            <a:off x="8524240" y="2393950"/>
            <a:ext cx="1753870" cy="1753870"/>
          </a:xfrm>
          <a:prstGeom prst="ellipse">
            <a:avLst/>
          </a:prstGeom>
          <a:noFill/>
          <a:ln w="0">
            <a:solidFill>
              <a:srgbClr val="F05A23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05A23"/>
                </a:solidFill>
              </a14:hiddenFill>
            </a:ext>
          </a:extLst>
        </p:spPr>
        <p:txBody>
          <a:bodyPr vert="horz" wrap="square" lIns="91440" tIns="45720" rIns="91440" bIns="45720" numCol="1" rtlCol="0" anchor="ctr" anchorCtr="0" compatLnSpc="1">
            <a:noAutofit/>
          </a:bodyPr>
          <a:p>
            <a:pPr lvl="0" algn="ctr">
              <a:buClrTx/>
              <a:buSzTx/>
              <a:buFontTx/>
            </a:pPr>
            <a:r>
              <a:rPr lang="zh-CN" altLang="en-US">
                <a:sym typeface="+mn-ea"/>
              </a:rPr>
              <a:t>覆盖量尽可能大</a:t>
            </a:r>
            <a:endParaRPr lang="zh-CN" altLang="en-US">
              <a:sym typeface="+mn-ea"/>
            </a:endParaRPr>
          </a:p>
        </p:txBody>
      </p:sp>
      <p:sp>
        <p:nvSpPr>
          <p:cNvPr id="90" name="Freeform 250"/>
          <p:cNvSpPr/>
          <p:nvPr/>
        </p:nvSpPr>
        <p:spPr bwMode="auto">
          <a:xfrm>
            <a:off x="3983355" y="2889885"/>
            <a:ext cx="751205" cy="762635"/>
          </a:xfrm>
          <a:custGeom>
            <a:avLst/>
            <a:gdLst>
              <a:gd name="T0" fmla="*/ 118 w 179"/>
              <a:gd name="T1" fmla="*/ 0 h 182"/>
              <a:gd name="T2" fmla="*/ 64 w 179"/>
              <a:gd name="T3" fmla="*/ 0 h 182"/>
              <a:gd name="T4" fmla="*/ 64 w 179"/>
              <a:gd name="T5" fmla="*/ 64 h 182"/>
              <a:gd name="T6" fmla="*/ 0 w 179"/>
              <a:gd name="T7" fmla="*/ 64 h 182"/>
              <a:gd name="T8" fmla="*/ 0 w 179"/>
              <a:gd name="T9" fmla="*/ 118 h 182"/>
              <a:gd name="T10" fmla="*/ 64 w 179"/>
              <a:gd name="T11" fmla="*/ 118 h 182"/>
              <a:gd name="T12" fmla="*/ 64 w 179"/>
              <a:gd name="T13" fmla="*/ 182 h 182"/>
              <a:gd name="T14" fmla="*/ 118 w 179"/>
              <a:gd name="T15" fmla="*/ 182 h 182"/>
              <a:gd name="T16" fmla="*/ 118 w 179"/>
              <a:gd name="T17" fmla="*/ 118 h 182"/>
              <a:gd name="T18" fmla="*/ 179 w 179"/>
              <a:gd name="T19" fmla="*/ 118 h 182"/>
              <a:gd name="T20" fmla="*/ 179 w 179"/>
              <a:gd name="T21" fmla="*/ 64 h 182"/>
              <a:gd name="T22" fmla="*/ 118 w 179"/>
              <a:gd name="T23" fmla="*/ 64 h 182"/>
              <a:gd name="T24" fmla="*/ 118 w 179"/>
              <a:gd name="T25" fmla="*/ 0 h 1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79" h="182">
                <a:moveTo>
                  <a:pt x="118" y="0"/>
                </a:moveTo>
                <a:lnTo>
                  <a:pt x="64" y="0"/>
                </a:lnTo>
                <a:lnTo>
                  <a:pt x="64" y="64"/>
                </a:lnTo>
                <a:lnTo>
                  <a:pt x="0" y="64"/>
                </a:lnTo>
                <a:lnTo>
                  <a:pt x="0" y="118"/>
                </a:lnTo>
                <a:lnTo>
                  <a:pt x="64" y="118"/>
                </a:lnTo>
                <a:lnTo>
                  <a:pt x="64" y="182"/>
                </a:lnTo>
                <a:lnTo>
                  <a:pt x="118" y="182"/>
                </a:lnTo>
                <a:lnTo>
                  <a:pt x="118" y="118"/>
                </a:lnTo>
                <a:lnTo>
                  <a:pt x="179" y="118"/>
                </a:lnTo>
                <a:lnTo>
                  <a:pt x="179" y="64"/>
                </a:lnTo>
                <a:lnTo>
                  <a:pt x="118" y="64"/>
                </a:lnTo>
                <a:lnTo>
                  <a:pt x="118" y="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p>
            <a:endParaRPr lang="zh-CN" altLang="en-US"/>
          </a:p>
        </p:txBody>
      </p:sp>
      <p:sp>
        <p:nvSpPr>
          <p:cNvPr id="9" name="Freeform 250"/>
          <p:cNvSpPr/>
          <p:nvPr/>
        </p:nvSpPr>
        <p:spPr bwMode="auto">
          <a:xfrm>
            <a:off x="7414895" y="2889885"/>
            <a:ext cx="751205" cy="762635"/>
          </a:xfrm>
          <a:custGeom>
            <a:avLst/>
            <a:gdLst>
              <a:gd name="T0" fmla="*/ 118 w 179"/>
              <a:gd name="T1" fmla="*/ 0 h 182"/>
              <a:gd name="T2" fmla="*/ 64 w 179"/>
              <a:gd name="T3" fmla="*/ 0 h 182"/>
              <a:gd name="T4" fmla="*/ 64 w 179"/>
              <a:gd name="T5" fmla="*/ 64 h 182"/>
              <a:gd name="T6" fmla="*/ 0 w 179"/>
              <a:gd name="T7" fmla="*/ 64 h 182"/>
              <a:gd name="T8" fmla="*/ 0 w 179"/>
              <a:gd name="T9" fmla="*/ 118 h 182"/>
              <a:gd name="T10" fmla="*/ 64 w 179"/>
              <a:gd name="T11" fmla="*/ 118 h 182"/>
              <a:gd name="T12" fmla="*/ 64 w 179"/>
              <a:gd name="T13" fmla="*/ 182 h 182"/>
              <a:gd name="T14" fmla="*/ 118 w 179"/>
              <a:gd name="T15" fmla="*/ 182 h 182"/>
              <a:gd name="T16" fmla="*/ 118 w 179"/>
              <a:gd name="T17" fmla="*/ 118 h 182"/>
              <a:gd name="T18" fmla="*/ 179 w 179"/>
              <a:gd name="T19" fmla="*/ 118 h 182"/>
              <a:gd name="T20" fmla="*/ 179 w 179"/>
              <a:gd name="T21" fmla="*/ 64 h 182"/>
              <a:gd name="T22" fmla="*/ 118 w 179"/>
              <a:gd name="T23" fmla="*/ 64 h 182"/>
              <a:gd name="T24" fmla="*/ 118 w 179"/>
              <a:gd name="T25" fmla="*/ 0 h 1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79" h="182">
                <a:moveTo>
                  <a:pt x="118" y="0"/>
                </a:moveTo>
                <a:lnTo>
                  <a:pt x="64" y="0"/>
                </a:lnTo>
                <a:lnTo>
                  <a:pt x="64" y="64"/>
                </a:lnTo>
                <a:lnTo>
                  <a:pt x="0" y="64"/>
                </a:lnTo>
                <a:lnTo>
                  <a:pt x="0" y="118"/>
                </a:lnTo>
                <a:lnTo>
                  <a:pt x="64" y="118"/>
                </a:lnTo>
                <a:lnTo>
                  <a:pt x="64" y="182"/>
                </a:lnTo>
                <a:lnTo>
                  <a:pt x="118" y="182"/>
                </a:lnTo>
                <a:lnTo>
                  <a:pt x="118" y="118"/>
                </a:lnTo>
                <a:lnTo>
                  <a:pt x="179" y="118"/>
                </a:lnTo>
                <a:lnTo>
                  <a:pt x="179" y="64"/>
                </a:lnTo>
                <a:lnTo>
                  <a:pt x="118" y="64"/>
                </a:lnTo>
                <a:lnTo>
                  <a:pt x="118" y="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p>
            <a:endParaRPr lang="zh-CN" altLang="en-US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直线连接符 3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/>
          <p:cNvCxnSpPr/>
          <p:nvPr/>
        </p:nvCxnSpPr>
        <p:spPr>
          <a:xfrm>
            <a:off x="725817" y="2640474"/>
            <a:ext cx="10591442" cy="0"/>
          </a:xfrm>
          <a:prstGeom prst="line">
            <a:avLst/>
          </a:prstGeom>
          <a:ln w="508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e7d195523061f1c0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 hidden="1"/>
          <p:cNvSpPr txBox="1"/>
          <p:nvPr/>
        </p:nvSpPr>
        <p:spPr>
          <a:xfrm>
            <a:off x="-355600" y="1803400"/>
            <a:ext cx="26225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/>
              <a:t>e7d195523061f1c0d318120d6aeaf1b6ccceb6ba3da59c0775C5DE19DDDEBC09ED96DBD9900D9848D623ECAD1D4904B78047D0015C22C8BE97228BE8B5BFF08FE7A3AE04126DA07312A96C0F69F9BAB71A8D4487C13BBD21E3F9DE587F01A2EC9B24CE25FF0E9B2136662A47C8B58C275121A88EC20F5D58602B203067E5F6C927344A314878098B</a:t>
            </a:r>
            <a:endParaRPr lang="zh-CN" altLang="en-US" sz="100"/>
          </a:p>
        </p:txBody>
      </p:sp>
      <p:grpSp>
        <p:nvGrpSpPr>
          <p:cNvPr id="9" name="组合 8"/>
          <p:cNvGrpSpPr/>
          <p:nvPr/>
        </p:nvGrpSpPr>
        <p:grpSpPr>
          <a:xfrm>
            <a:off x="812799" y="551745"/>
            <a:ext cx="2344293" cy="1885528"/>
            <a:chOff x="3207781" y="1105990"/>
            <a:chExt cx="5776438" cy="4646020"/>
          </a:xfrm>
        </p:grpSpPr>
        <p:sp>
          <p:nvSpPr>
            <p:cNvPr id="10" name="任意多边形 4"/>
            <p:cNvSpPr/>
            <p:nvPr/>
          </p:nvSpPr>
          <p:spPr>
            <a:xfrm>
              <a:off x="3598883" y="5220505"/>
              <a:ext cx="5385336" cy="531505"/>
            </a:xfrm>
            <a:custGeom>
              <a:avLst/>
              <a:gdLst>
                <a:gd name="connsiteX0" fmla="*/ -514 w 4756429"/>
                <a:gd name="connsiteY0" fmla="*/ 234476 h 469435"/>
                <a:gd name="connsiteX1" fmla="*/ 2377732 w 4756429"/>
                <a:gd name="connsiteY1" fmla="*/ -210 h 469435"/>
                <a:gd name="connsiteX2" fmla="*/ 4755915 w 4756429"/>
                <a:gd name="connsiteY2" fmla="*/ 234476 h 469435"/>
                <a:gd name="connsiteX3" fmla="*/ 2377732 w 4756429"/>
                <a:gd name="connsiteY3" fmla="*/ 469226 h 469435"/>
                <a:gd name="connsiteX4" fmla="*/ -514 w 4756429"/>
                <a:gd name="connsiteY4" fmla="*/ 234476 h 469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56429" h="469435">
                  <a:moveTo>
                    <a:pt x="-514" y="234476"/>
                  </a:moveTo>
                  <a:cubicBezTo>
                    <a:pt x="-514" y="104871"/>
                    <a:pt x="1064277" y="-210"/>
                    <a:pt x="2377732" y="-210"/>
                  </a:cubicBezTo>
                  <a:cubicBezTo>
                    <a:pt x="3691187" y="-210"/>
                    <a:pt x="4755915" y="104871"/>
                    <a:pt x="4755915" y="234476"/>
                  </a:cubicBezTo>
                  <a:cubicBezTo>
                    <a:pt x="4755915" y="364081"/>
                    <a:pt x="3691187" y="469226"/>
                    <a:pt x="2377732" y="469226"/>
                  </a:cubicBezTo>
                  <a:cubicBezTo>
                    <a:pt x="1064277" y="469226"/>
                    <a:pt x="-514" y="364144"/>
                    <a:pt x="-514" y="234476"/>
                  </a:cubicBezTo>
                  <a:close/>
                </a:path>
              </a:pathLst>
            </a:custGeom>
            <a:solidFill>
              <a:srgbClr val="E8E8E8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 5"/>
            <p:cNvSpPr/>
            <p:nvPr/>
          </p:nvSpPr>
          <p:spPr>
            <a:xfrm>
              <a:off x="4313321" y="3382454"/>
              <a:ext cx="883608" cy="1118025"/>
            </a:xfrm>
            <a:custGeom>
              <a:avLst/>
              <a:gdLst>
                <a:gd name="connsiteX0" fmla="*/ 304303 w 780419"/>
                <a:gd name="connsiteY0" fmla="*/ 118570 h 987461"/>
                <a:gd name="connsiteX1" fmla="*/ 254240 w 780419"/>
                <a:gd name="connsiteY1" fmla="*/ 127782 h 987461"/>
                <a:gd name="connsiteX2" fmla="*/ 200428 w 780419"/>
                <a:gd name="connsiteY2" fmla="*/ 182038 h 987461"/>
                <a:gd name="connsiteX3" fmla="*/ 189374 w 780419"/>
                <a:gd name="connsiteY3" fmla="*/ 260437 h 987461"/>
                <a:gd name="connsiteX4" fmla="*/ 195727 w 780419"/>
                <a:gd name="connsiteY4" fmla="*/ 517740 h 987461"/>
                <a:gd name="connsiteX5" fmla="*/ 71395 w 780419"/>
                <a:gd name="connsiteY5" fmla="*/ 592835 h 987461"/>
                <a:gd name="connsiteX6" fmla="*/ 24001 w 780419"/>
                <a:gd name="connsiteY6" fmla="*/ 840164 h 987461"/>
                <a:gd name="connsiteX7" fmla="*/ 249411 w 780419"/>
                <a:gd name="connsiteY7" fmla="*/ 982284 h 987461"/>
                <a:gd name="connsiteX8" fmla="*/ 522597 w 780419"/>
                <a:gd name="connsiteY8" fmla="*/ 959286 h 987461"/>
                <a:gd name="connsiteX9" fmla="*/ 699597 w 780419"/>
                <a:gd name="connsiteY9" fmla="*/ 889401 h 987461"/>
                <a:gd name="connsiteX10" fmla="*/ 708555 w 780419"/>
                <a:gd name="connsiteY10" fmla="*/ 575617 h 987461"/>
                <a:gd name="connsiteX11" fmla="*/ 764082 w 780419"/>
                <a:gd name="connsiteY11" fmla="*/ 389088 h 987461"/>
                <a:gd name="connsiteX12" fmla="*/ 606968 w 780419"/>
                <a:gd name="connsiteY12" fmla="*/ 27466 h 987461"/>
                <a:gd name="connsiteX13" fmla="*/ 304303 w 780419"/>
                <a:gd name="connsiteY13" fmla="*/ 118761 h 987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80419" h="987461">
                  <a:moveTo>
                    <a:pt x="304303" y="118570"/>
                  </a:moveTo>
                  <a:cubicBezTo>
                    <a:pt x="307860" y="110184"/>
                    <a:pt x="258432" y="125940"/>
                    <a:pt x="254240" y="127782"/>
                  </a:cubicBezTo>
                  <a:cubicBezTo>
                    <a:pt x="230002" y="138284"/>
                    <a:pt x="210733" y="157712"/>
                    <a:pt x="200428" y="182038"/>
                  </a:cubicBezTo>
                  <a:cubicBezTo>
                    <a:pt x="191299" y="207108"/>
                    <a:pt x="187531" y="233817"/>
                    <a:pt x="189374" y="260437"/>
                  </a:cubicBezTo>
                  <a:cubicBezTo>
                    <a:pt x="191216" y="342393"/>
                    <a:pt x="253985" y="444679"/>
                    <a:pt x="195727" y="517740"/>
                  </a:cubicBezTo>
                  <a:cubicBezTo>
                    <a:pt x="165486" y="555478"/>
                    <a:pt x="111484" y="565706"/>
                    <a:pt x="71395" y="592835"/>
                  </a:cubicBezTo>
                  <a:cubicBezTo>
                    <a:pt x="-4843" y="644295"/>
                    <a:pt x="-20154" y="759351"/>
                    <a:pt x="24001" y="840164"/>
                  </a:cubicBezTo>
                  <a:cubicBezTo>
                    <a:pt x="68155" y="920976"/>
                    <a:pt x="158306" y="968752"/>
                    <a:pt x="249411" y="982284"/>
                  </a:cubicBezTo>
                  <a:cubicBezTo>
                    <a:pt x="340516" y="995816"/>
                    <a:pt x="433081" y="979552"/>
                    <a:pt x="522597" y="959286"/>
                  </a:cubicBezTo>
                  <a:cubicBezTo>
                    <a:pt x="584986" y="945182"/>
                    <a:pt x="648835" y="928092"/>
                    <a:pt x="699597" y="889401"/>
                  </a:cubicBezTo>
                  <a:cubicBezTo>
                    <a:pt x="819354" y="797724"/>
                    <a:pt x="763510" y="682986"/>
                    <a:pt x="708555" y="575617"/>
                  </a:cubicBezTo>
                  <a:cubicBezTo>
                    <a:pt x="673358" y="506876"/>
                    <a:pt x="736509" y="474475"/>
                    <a:pt x="764082" y="389088"/>
                  </a:cubicBezTo>
                  <a:cubicBezTo>
                    <a:pt x="813700" y="235469"/>
                    <a:pt x="742608" y="86360"/>
                    <a:pt x="606968" y="27466"/>
                  </a:cubicBezTo>
                  <a:cubicBezTo>
                    <a:pt x="384225" y="-69039"/>
                    <a:pt x="304747" y="117744"/>
                    <a:pt x="304303" y="118761"/>
                  </a:cubicBezTo>
                  <a:close/>
                </a:path>
              </a:pathLst>
            </a:custGeom>
            <a:solidFill>
              <a:srgbClr val="971D0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 6"/>
            <p:cNvSpPr/>
            <p:nvPr/>
          </p:nvSpPr>
          <p:spPr>
            <a:xfrm>
              <a:off x="4743753" y="3967018"/>
              <a:ext cx="251762" cy="311178"/>
            </a:xfrm>
            <a:custGeom>
              <a:avLst/>
              <a:gdLst>
                <a:gd name="connsiteX0" fmla="*/ 110730 w 222361"/>
                <a:gd name="connsiteY0" fmla="*/ 274628 h 274838"/>
                <a:gd name="connsiteX1" fmla="*/ 110730 w 222361"/>
                <a:gd name="connsiteY1" fmla="*/ 274628 h 274838"/>
                <a:gd name="connsiteX2" fmla="*/ -514 w 222361"/>
                <a:gd name="connsiteY2" fmla="*/ 126853 h 274838"/>
                <a:gd name="connsiteX3" fmla="*/ -514 w 222361"/>
                <a:gd name="connsiteY3" fmla="*/ -210 h 274838"/>
                <a:gd name="connsiteX4" fmla="*/ 221847 w 222361"/>
                <a:gd name="connsiteY4" fmla="*/ -210 h 274838"/>
                <a:gd name="connsiteX5" fmla="*/ 221847 w 222361"/>
                <a:gd name="connsiteY5" fmla="*/ 126853 h 274838"/>
                <a:gd name="connsiteX6" fmla="*/ 111937 w 222361"/>
                <a:gd name="connsiteY6" fmla="*/ 274628 h 274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2361" h="274838">
                  <a:moveTo>
                    <a:pt x="110730" y="274628"/>
                  </a:moveTo>
                  <a:lnTo>
                    <a:pt x="110730" y="274628"/>
                  </a:lnTo>
                  <a:cubicBezTo>
                    <a:pt x="49358" y="274628"/>
                    <a:pt x="-451" y="163639"/>
                    <a:pt x="-514" y="126853"/>
                  </a:cubicBezTo>
                  <a:lnTo>
                    <a:pt x="-514" y="-210"/>
                  </a:lnTo>
                  <a:lnTo>
                    <a:pt x="221847" y="-210"/>
                  </a:lnTo>
                  <a:lnTo>
                    <a:pt x="221847" y="126853"/>
                  </a:lnTo>
                  <a:cubicBezTo>
                    <a:pt x="221847" y="163448"/>
                    <a:pt x="172991" y="274438"/>
                    <a:pt x="111937" y="274628"/>
                  </a:cubicBez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 7"/>
            <p:cNvSpPr/>
            <p:nvPr/>
          </p:nvSpPr>
          <p:spPr>
            <a:xfrm>
              <a:off x="4572555" y="3764605"/>
              <a:ext cx="121406" cy="141542"/>
            </a:xfrm>
            <a:custGeom>
              <a:avLst/>
              <a:gdLst>
                <a:gd name="connsiteX0" fmla="*/ 77312 w 107228"/>
                <a:gd name="connsiteY0" fmla="*/ 27741 h 125013"/>
                <a:gd name="connsiteX1" fmla="*/ -514 w 107228"/>
                <a:gd name="connsiteY1" fmla="*/ 46801 h 125013"/>
                <a:gd name="connsiteX2" fmla="*/ 94783 w 107228"/>
                <a:gd name="connsiteY2" fmla="*/ 110332 h 125013"/>
                <a:gd name="connsiteX3" fmla="*/ 77312 w 107228"/>
                <a:gd name="connsiteY3" fmla="*/ 27741 h 125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228" h="125013">
                  <a:moveTo>
                    <a:pt x="77312" y="27741"/>
                  </a:moveTo>
                  <a:cubicBezTo>
                    <a:pt x="41226" y="-26515"/>
                    <a:pt x="-514" y="8364"/>
                    <a:pt x="-514" y="46801"/>
                  </a:cubicBezTo>
                  <a:cubicBezTo>
                    <a:pt x="-514" y="102073"/>
                    <a:pt x="60031" y="149722"/>
                    <a:pt x="94783" y="110332"/>
                  </a:cubicBezTo>
                  <a:cubicBezTo>
                    <a:pt x="129535" y="70943"/>
                    <a:pt x="77312" y="27741"/>
                    <a:pt x="77312" y="2774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 8"/>
            <p:cNvSpPr/>
            <p:nvPr/>
          </p:nvSpPr>
          <p:spPr>
            <a:xfrm>
              <a:off x="5034066" y="3764605"/>
              <a:ext cx="121425" cy="141542"/>
            </a:xfrm>
            <a:custGeom>
              <a:avLst/>
              <a:gdLst>
                <a:gd name="connsiteX0" fmla="*/ 28968 w 107245"/>
                <a:gd name="connsiteY0" fmla="*/ 27741 h 125013"/>
                <a:gd name="connsiteX1" fmla="*/ 106731 w 107245"/>
                <a:gd name="connsiteY1" fmla="*/ 46801 h 125013"/>
                <a:gd name="connsiteX2" fmla="*/ 11433 w 107245"/>
                <a:gd name="connsiteY2" fmla="*/ 110332 h 125013"/>
                <a:gd name="connsiteX3" fmla="*/ 28968 w 107245"/>
                <a:gd name="connsiteY3" fmla="*/ 27741 h 125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245" h="125013">
                  <a:moveTo>
                    <a:pt x="28968" y="27741"/>
                  </a:moveTo>
                  <a:cubicBezTo>
                    <a:pt x="64927" y="-26515"/>
                    <a:pt x="106731" y="8364"/>
                    <a:pt x="106731" y="46801"/>
                  </a:cubicBezTo>
                  <a:cubicBezTo>
                    <a:pt x="106731" y="102073"/>
                    <a:pt x="46249" y="149722"/>
                    <a:pt x="11433" y="110332"/>
                  </a:cubicBezTo>
                  <a:cubicBezTo>
                    <a:pt x="-23382" y="70943"/>
                    <a:pt x="28968" y="27741"/>
                    <a:pt x="28968" y="2774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 9"/>
            <p:cNvSpPr/>
            <p:nvPr/>
          </p:nvSpPr>
          <p:spPr>
            <a:xfrm>
              <a:off x="4636485" y="3571274"/>
              <a:ext cx="453974" cy="467243"/>
            </a:xfrm>
            <a:custGeom>
              <a:avLst/>
              <a:gdLst>
                <a:gd name="connsiteX0" fmla="*/ 199817 w 400958"/>
                <a:gd name="connsiteY0" fmla="*/ 412468 h 412678"/>
                <a:gd name="connsiteX1" fmla="*/ 6744 w 400958"/>
                <a:gd name="connsiteY1" fmla="*/ 98113 h 412678"/>
                <a:gd name="connsiteX2" fmla="*/ 393207 w 400958"/>
                <a:gd name="connsiteY2" fmla="*/ 98113 h 412678"/>
                <a:gd name="connsiteX3" fmla="*/ 199817 w 400958"/>
                <a:gd name="connsiteY3" fmla="*/ 412468 h 41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0958" h="412678">
                  <a:moveTo>
                    <a:pt x="199817" y="412468"/>
                  </a:moveTo>
                  <a:cubicBezTo>
                    <a:pt x="57569" y="412468"/>
                    <a:pt x="-26547" y="257387"/>
                    <a:pt x="6744" y="98113"/>
                  </a:cubicBezTo>
                  <a:cubicBezTo>
                    <a:pt x="34063" y="-33016"/>
                    <a:pt x="365762" y="-32953"/>
                    <a:pt x="393207" y="98113"/>
                  </a:cubicBezTo>
                  <a:cubicBezTo>
                    <a:pt x="426434" y="257387"/>
                    <a:pt x="342382" y="412595"/>
                    <a:pt x="199817" y="412468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 10"/>
            <p:cNvSpPr/>
            <p:nvPr/>
          </p:nvSpPr>
          <p:spPr>
            <a:xfrm>
              <a:off x="4757636" y="3487392"/>
              <a:ext cx="367502" cy="234313"/>
            </a:xfrm>
            <a:custGeom>
              <a:avLst/>
              <a:gdLst>
                <a:gd name="connsiteX0" fmla="*/ -514 w 324585"/>
                <a:gd name="connsiteY0" fmla="*/ 31541 h 206950"/>
                <a:gd name="connsiteX1" fmla="*/ 303231 w 324585"/>
                <a:gd name="connsiteY1" fmla="*/ 198693 h 206950"/>
                <a:gd name="connsiteX2" fmla="*/ 184045 w 324585"/>
                <a:gd name="connsiteY2" fmla="*/ 21757 h 206950"/>
                <a:gd name="connsiteX3" fmla="*/ -514 w 324585"/>
                <a:gd name="connsiteY3" fmla="*/ 31541 h 206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585" h="206950">
                  <a:moveTo>
                    <a:pt x="-514" y="31541"/>
                  </a:moveTo>
                  <a:cubicBezTo>
                    <a:pt x="-514" y="165911"/>
                    <a:pt x="253612" y="230650"/>
                    <a:pt x="303231" y="198693"/>
                  </a:cubicBezTo>
                  <a:cubicBezTo>
                    <a:pt x="352849" y="166737"/>
                    <a:pt x="314158" y="52951"/>
                    <a:pt x="184045" y="21757"/>
                  </a:cubicBezTo>
                  <a:cubicBezTo>
                    <a:pt x="53932" y="-9437"/>
                    <a:pt x="-197" y="-8484"/>
                    <a:pt x="-514" y="31541"/>
                  </a:cubicBezTo>
                  <a:close/>
                </a:path>
              </a:pathLst>
            </a:custGeom>
            <a:solidFill>
              <a:srgbClr val="971D0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 11"/>
            <p:cNvSpPr/>
            <p:nvPr/>
          </p:nvSpPr>
          <p:spPr>
            <a:xfrm>
              <a:off x="4592900" y="3508707"/>
              <a:ext cx="173053" cy="238281"/>
            </a:xfrm>
            <a:custGeom>
              <a:avLst/>
              <a:gdLst>
                <a:gd name="connsiteX0" fmla="*/ 145428 w 152844"/>
                <a:gd name="connsiteY0" fmla="*/ 11762 h 210454"/>
                <a:gd name="connsiteX1" fmla="*/ 38759 w 152844"/>
                <a:gd name="connsiteY1" fmla="*/ 209790 h 210454"/>
                <a:gd name="connsiteX2" fmla="*/ 27704 w 152844"/>
                <a:gd name="connsiteY2" fmla="*/ 78089 h 210454"/>
                <a:gd name="connsiteX3" fmla="*/ 145428 w 152844"/>
                <a:gd name="connsiteY3" fmla="*/ 11762 h 210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844" h="210454">
                  <a:moveTo>
                    <a:pt x="145428" y="11762"/>
                  </a:moveTo>
                  <a:cubicBezTo>
                    <a:pt x="177703" y="76501"/>
                    <a:pt x="89076" y="219320"/>
                    <a:pt x="38759" y="209790"/>
                  </a:cubicBezTo>
                  <a:cubicBezTo>
                    <a:pt x="-11559" y="200261"/>
                    <a:pt x="-11622" y="144416"/>
                    <a:pt x="27704" y="78089"/>
                  </a:cubicBezTo>
                  <a:cubicBezTo>
                    <a:pt x="67030" y="11762"/>
                    <a:pt x="130117" y="-18987"/>
                    <a:pt x="145428" y="11762"/>
                  </a:cubicBezTo>
                  <a:close/>
                </a:path>
              </a:pathLst>
            </a:custGeom>
            <a:solidFill>
              <a:srgbClr val="971D0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 12"/>
            <p:cNvSpPr/>
            <p:nvPr/>
          </p:nvSpPr>
          <p:spPr>
            <a:xfrm>
              <a:off x="3612370" y="4281731"/>
              <a:ext cx="915035" cy="627652"/>
            </a:xfrm>
            <a:custGeom>
              <a:avLst/>
              <a:gdLst>
                <a:gd name="connsiteX0" fmla="*/ 797158 w 808176"/>
                <a:gd name="connsiteY0" fmla="*/ 72207 h 554354"/>
                <a:gd name="connsiteX1" fmla="*/ 561011 w 808176"/>
                <a:gd name="connsiteY1" fmla="*/ 325698 h 554354"/>
                <a:gd name="connsiteX2" fmla="*/ 47611 w 808176"/>
                <a:gd name="connsiteY2" fmla="*/ 553523 h 554354"/>
                <a:gd name="connsiteX3" fmla="*/ 47611 w 808176"/>
                <a:gd name="connsiteY3" fmla="*/ 451110 h 554354"/>
                <a:gd name="connsiteX4" fmla="*/ 496844 w 808176"/>
                <a:gd name="connsiteY4" fmla="*/ 243743 h 554354"/>
                <a:gd name="connsiteX5" fmla="*/ 650844 w 808176"/>
                <a:gd name="connsiteY5" fmla="*/ 90123 h 554354"/>
                <a:gd name="connsiteX6" fmla="*/ 699637 w 808176"/>
                <a:gd name="connsiteY6" fmla="*/ 36375 h 554354"/>
                <a:gd name="connsiteX7" fmla="*/ 709866 w 808176"/>
                <a:gd name="connsiteY7" fmla="*/ 18459 h 554354"/>
                <a:gd name="connsiteX8" fmla="*/ 709866 w 808176"/>
                <a:gd name="connsiteY8" fmla="*/ 21000 h 554354"/>
                <a:gd name="connsiteX9" fmla="*/ 797158 w 808176"/>
                <a:gd name="connsiteY9" fmla="*/ 72207 h 554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8176" h="554354">
                  <a:moveTo>
                    <a:pt x="797158" y="72207"/>
                  </a:moveTo>
                  <a:cubicBezTo>
                    <a:pt x="727280" y="164525"/>
                    <a:pt x="648151" y="249460"/>
                    <a:pt x="561011" y="325698"/>
                  </a:cubicBezTo>
                  <a:cubicBezTo>
                    <a:pt x="422385" y="446027"/>
                    <a:pt x="242717" y="563752"/>
                    <a:pt x="47611" y="553523"/>
                  </a:cubicBezTo>
                  <a:cubicBezTo>
                    <a:pt x="-16556" y="548377"/>
                    <a:pt x="-16556" y="446027"/>
                    <a:pt x="47611" y="451110"/>
                  </a:cubicBezTo>
                  <a:cubicBezTo>
                    <a:pt x="219591" y="461339"/>
                    <a:pt x="376197" y="351302"/>
                    <a:pt x="496844" y="243743"/>
                  </a:cubicBezTo>
                  <a:cubicBezTo>
                    <a:pt x="553323" y="197682"/>
                    <a:pt x="602052" y="143871"/>
                    <a:pt x="650844" y="90123"/>
                  </a:cubicBezTo>
                  <a:cubicBezTo>
                    <a:pt x="668824" y="72207"/>
                    <a:pt x="684199" y="54291"/>
                    <a:pt x="699637" y="36375"/>
                  </a:cubicBezTo>
                  <a:cubicBezTo>
                    <a:pt x="703589" y="30727"/>
                    <a:pt x="707013" y="24730"/>
                    <a:pt x="709866" y="18459"/>
                  </a:cubicBezTo>
                  <a:cubicBezTo>
                    <a:pt x="717553" y="10772"/>
                    <a:pt x="702178" y="31165"/>
                    <a:pt x="709866" y="21000"/>
                  </a:cubicBezTo>
                  <a:cubicBezTo>
                    <a:pt x="748366" y="-30206"/>
                    <a:pt x="838199" y="21000"/>
                    <a:pt x="797158" y="72207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 13"/>
            <p:cNvSpPr/>
            <p:nvPr/>
          </p:nvSpPr>
          <p:spPr>
            <a:xfrm>
              <a:off x="5248839" y="3957542"/>
              <a:ext cx="415701" cy="712692"/>
            </a:xfrm>
            <a:custGeom>
              <a:avLst/>
              <a:gdLst>
                <a:gd name="connsiteX0" fmla="*/ 90290 w 367155"/>
                <a:gd name="connsiteY0" fmla="*/ 275691 h 629463"/>
                <a:gd name="connsiteX1" fmla="*/ 229361 w 367155"/>
                <a:gd name="connsiteY1" fmla="*/ 451738 h 629463"/>
                <a:gd name="connsiteX2" fmla="*/ 246959 w 367155"/>
                <a:gd name="connsiteY2" fmla="*/ 471877 h 629463"/>
                <a:gd name="connsiteX3" fmla="*/ 201979 w 367155"/>
                <a:gd name="connsiteY3" fmla="*/ 211016 h 629463"/>
                <a:gd name="connsiteX4" fmla="*/ 194292 w 367155"/>
                <a:gd name="connsiteY4" fmla="*/ 113241 h 629463"/>
                <a:gd name="connsiteX5" fmla="*/ 298420 w 367155"/>
                <a:gd name="connsiteY5" fmla="*/ 6952 h 629463"/>
                <a:gd name="connsiteX6" fmla="*/ 340732 w 367155"/>
                <a:gd name="connsiteY6" fmla="*/ 100280 h 629463"/>
                <a:gd name="connsiteX7" fmla="*/ 314748 w 367155"/>
                <a:gd name="connsiteY7" fmla="*/ 117624 h 629463"/>
                <a:gd name="connsiteX8" fmla="*/ 294544 w 367155"/>
                <a:gd name="connsiteY8" fmla="*/ 135286 h 629463"/>
                <a:gd name="connsiteX9" fmla="*/ 296006 w 367155"/>
                <a:gd name="connsiteY9" fmla="*/ 157077 h 629463"/>
                <a:gd name="connsiteX10" fmla="*/ 320402 w 367155"/>
                <a:gd name="connsiteY10" fmla="*/ 297927 h 629463"/>
                <a:gd name="connsiteX11" fmla="*/ 354518 w 367155"/>
                <a:gd name="connsiteY11" fmla="*/ 572194 h 629463"/>
                <a:gd name="connsiteX12" fmla="*/ 268560 w 367155"/>
                <a:gd name="connsiteY12" fmla="*/ 625243 h 629463"/>
                <a:gd name="connsiteX13" fmla="*/ 170785 w 367155"/>
                <a:gd name="connsiteY13" fmla="*/ 540237 h 629463"/>
                <a:gd name="connsiteX14" fmla="*/ 9668 w 367155"/>
                <a:gd name="connsiteY14" fmla="*/ 340176 h 629463"/>
                <a:gd name="connsiteX15" fmla="*/ 90290 w 367155"/>
                <a:gd name="connsiteY15" fmla="*/ 275437 h 629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67155" h="629463">
                  <a:moveTo>
                    <a:pt x="90290" y="275691"/>
                  </a:moveTo>
                  <a:cubicBezTo>
                    <a:pt x="134762" y="336999"/>
                    <a:pt x="181013" y="394877"/>
                    <a:pt x="229361" y="451738"/>
                  </a:cubicBezTo>
                  <a:cubicBezTo>
                    <a:pt x="235714" y="459997"/>
                    <a:pt x="241432" y="465969"/>
                    <a:pt x="246959" y="471877"/>
                  </a:cubicBezTo>
                  <a:cubicBezTo>
                    <a:pt x="235460" y="384267"/>
                    <a:pt x="213478" y="298626"/>
                    <a:pt x="201979" y="211016"/>
                  </a:cubicBezTo>
                  <a:cubicBezTo>
                    <a:pt x="196325" y="179822"/>
                    <a:pt x="189273" y="146277"/>
                    <a:pt x="194292" y="113241"/>
                  </a:cubicBezTo>
                  <a:cubicBezTo>
                    <a:pt x="199692" y="62923"/>
                    <a:pt x="258395" y="30649"/>
                    <a:pt x="298420" y="6952"/>
                  </a:cubicBezTo>
                  <a:cubicBezTo>
                    <a:pt x="353692" y="-26593"/>
                    <a:pt x="396068" y="66735"/>
                    <a:pt x="340732" y="100280"/>
                  </a:cubicBezTo>
                  <a:cubicBezTo>
                    <a:pt x="351342" y="92593"/>
                    <a:pt x="319449" y="115528"/>
                    <a:pt x="314748" y="117624"/>
                  </a:cubicBezTo>
                  <a:cubicBezTo>
                    <a:pt x="304138" y="125311"/>
                    <a:pt x="296705" y="139924"/>
                    <a:pt x="294544" y="135286"/>
                  </a:cubicBezTo>
                  <a:cubicBezTo>
                    <a:pt x="294544" y="141004"/>
                    <a:pt x="296451" y="145642"/>
                    <a:pt x="296006" y="157077"/>
                  </a:cubicBezTo>
                  <a:cubicBezTo>
                    <a:pt x="303375" y="204409"/>
                    <a:pt x="310682" y="251740"/>
                    <a:pt x="320402" y="297927"/>
                  </a:cubicBezTo>
                  <a:cubicBezTo>
                    <a:pt x="335523" y="381090"/>
                    <a:pt x="369321" y="486744"/>
                    <a:pt x="354518" y="572194"/>
                  </a:cubicBezTo>
                  <a:cubicBezTo>
                    <a:pt x="348165" y="614442"/>
                    <a:pt x="311698" y="639474"/>
                    <a:pt x="268560" y="625243"/>
                  </a:cubicBezTo>
                  <a:cubicBezTo>
                    <a:pt x="230124" y="608915"/>
                    <a:pt x="198358" y="569906"/>
                    <a:pt x="170785" y="540237"/>
                  </a:cubicBezTo>
                  <a:cubicBezTo>
                    <a:pt x="113695" y="476343"/>
                    <a:pt x="59922" y="409571"/>
                    <a:pt x="9668" y="340176"/>
                  </a:cubicBezTo>
                  <a:cubicBezTo>
                    <a:pt x="-28451" y="287127"/>
                    <a:pt x="49821" y="223468"/>
                    <a:pt x="90290" y="275437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 14"/>
            <p:cNvSpPr/>
            <p:nvPr/>
          </p:nvSpPr>
          <p:spPr>
            <a:xfrm>
              <a:off x="4494869" y="4089375"/>
              <a:ext cx="731188" cy="915335"/>
            </a:xfrm>
            <a:custGeom>
              <a:avLst/>
              <a:gdLst>
                <a:gd name="connsiteX0" fmla="*/ -514 w 645799"/>
                <a:gd name="connsiteY0" fmla="*/ 61416 h 808441"/>
                <a:gd name="connsiteX1" fmla="*/ 219877 w 645799"/>
                <a:gd name="connsiteY1" fmla="*/ -210 h 808441"/>
                <a:gd name="connsiteX2" fmla="*/ 333662 w 645799"/>
                <a:gd name="connsiteY2" fmla="*/ 71263 h 808441"/>
                <a:gd name="connsiteX3" fmla="*/ 441666 w 645799"/>
                <a:gd name="connsiteY3" fmla="*/ -210 h 808441"/>
                <a:gd name="connsiteX4" fmla="*/ 481564 w 645799"/>
                <a:gd name="connsiteY4" fmla="*/ 3475 h 808441"/>
                <a:gd name="connsiteX5" fmla="*/ 625527 w 645799"/>
                <a:gd name="connsiteY5" fmla="*/ 23360 h 808441"/>
                <a:gd name="connsiteX6" fmla="*/ 637598 w 645799"/>
                <a:gd name="connsiteY6" fmla="*/ 333459 h 808441"/>
                <a:gd name="connsiteX7" fmla="*/ 645285 w 645799"/>
                <a:gd name="connsiteY7" fmla="*/ 792920 h 808441"/>
                <a:gd name="connsiteX8" fmla="*/ 384488 w 645799"/>
                <a:gd name="connsiteY8" fmla="*/ 808231 h 808441"/>
                <a:gd name="connsiteX9" fmla="*/ 20006 w 645799"/>
                <a:gd name="connsiteY9" fmla="*/ 792920 h 808441"/>
                <a:gd name="connsiteX10" fmla="*/ 27694 w 645799"/>
                <a:gd name="connsiteY10" fmla="*/ 333459 h 808441"/>
                <a:gd name="connsiteX11" fmla="*/ -514 w 645799"/>
                <a:gd name="connsiteY11" fmla="*/ 61416 h 808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45799" h="808441">
                  <a:moveTo>
                    <a:pt x="-514" y="61416"/>
                  </a:moveTo>
                  <a:lnTo>
                    <a:pt x="219877" y="-210"/>
                  </a:lnTo>
                  <a:cubicBezTo>
                    <a:pt x="235252" y="69103"/>
                    <a:pt x="308250" y="71263"/>
                    <a:pt x="333662" y="71263"/>
                  </a:cubicBezTo>
                  <a:cubicBezTo>
                    <a:pt x="365428" y="71263"/>
                    <a:pt x="426292" y="69103"/>
                    <a:pt x="441666" y="-210"/>
                  </a:cubicBezTo>
                  <a:lnTo>
                    <a:pt x="481564" y="3475"/>
                  </a:lnTo>
                  <a:cubicBezTo>
                    <a:pt x="594142" y="14085"/>
                    <a:pt x="625527" y="23360"/>
                    <a:pt x="625527" y="23360"/>
                  </a:cubicBezTo>
                  <a:cubicBezTo>
                    <a:pt x="597382" y="336508"/>
                    <a:pt x="658436" y="258428"/>
                    <a:pt x="637598" y="333459"/>
                  </a:cubicBezTo>
                  <a:cubicBezTo>
                    <a:pt x="581436" y="535045"/>
                    <a:pt x="645285" y="792920"/>
                    <a:pt x="645285" y="792920"/>
                  </a:cubicBezTo>
                  <a:cubicBezTo>
                    <a:pt x="543317" y="808231"/>
                    <a:pt x="455770" y="808231"/>
                    <a:pt x="384488" y="808231"/>
                  </a:cubicBezTo>
                  <a:cubicBezTo>
                    <a:pt x="17401" y="808231"/>
                    <a:pt x="20006" y="792920"/>
                    <a:pt x="20006" y="792920"/>
                  </a:cubicBezTo>
                  <a:cubicBezTo>
                    <a:pt x="20006" y="792920"/>
                    <a:pt x="85889" y="477866"/>
                    <a:pt x="27694" y="333459"/>
                  </a:cubicBezTo>
                  <a:cubicBezTo>
                    <a:pt x="2281" y="269927"/>
                    <a:pt x="-514" y="61416"/>
                    <a:pt x="-514" y="61416"/>
                  </a:cubicBezTo>
                  <a:close/>
                </a:path>
              </a:pathLst>
            </a:custGeom>
            <a:solidFill>
              <a:srgbClr val="BE5ED3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 15"/>
            <p:cNvSpPr/>
            <p:nvPr/>
          </p:nvSpPr>
          <p:spPr>
            <a:xfrm>
              <a:off x="4736560" y="4414867"/>
              <a:ext cx="302114" cy="302114"/>
            </a:xfrm>
            <a:custGeom>
              <a:avLst/>
              <a:gdLst>
                <a:gd name="connsiteX0" fmla="*/ 266833 w 266833"/>
                <a:gd name="connsiteY0" fmla="*/ 133417 h 266833"/>
                <a:gd name="connsiteX1" fmla="*/ 133417 w 266833"/>
                <a:gd name="connsiteY1" fmla="*/ 266833 h 266833"/>
                <a:gd name="connsiteX2" fmla="*/ 0 w 266833"/>
                <a:gd name="connsiteY2" fmla="*/ 133417 h 266833"/>
                <a:gd name="connsiteX3" fmla="*/ 133417 w 266833"/>
                <a:gd name="connsiteY3" fmla="*/ 0 h 266833"/>
                <a:gd name="connsiteX4" fmla="*/ 266833 w 266833"/>
                <a:gd name="connsiteY4" fmla="*/ 133417 h 2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833" h="266833">
                  <a:moveTo>
                    <a:pt x="266833" y="133417"/>
                  </a:moveTo>
                  <a:cubicBezTo>
                    <a:pt x="266833" y="207101"/>
                    <a:pt x="207101" y="266833"/>
                    <a:pt x="133417" y="266833"/>
                  </a:cubicBezTo>
                  <a:cubicBezTo>
                    <a:pt x="59733" y="266833"/>
                    <a:pt x="0" y="207101"/>
                    <a:pt x="0" y="133417"/>
                  </a:cubicBezTo>
                  <a:cubicBezTo>
                    <a:pt x="0" y="59733"/>
                    <a:pt x="59733" y="0"/>
                    <a:pt x="133417" y="0"/>
                  </a:cubicBezTo>
                  <a:cubicBezTo>
                    <a:pt x="207101" y="0"/>
                    <a:pt x="266833" y="59733"/>
                    <a:pt x="266833" y="133417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 16"/>
            <p:cNvSpPr/>
            <p:nvPr/>
          </p:nvSpPr>
          <p:spPr>
            <a:xfrm>
              <a:off x="4808492" y="4501185"/>
              <a:ext cx="28772" cy="57545"/>
            </a:xfrm>
            <a:custGeom>
              <a:avLst/>
              <a:gdLst>
                <a:gd name="connsiteX0" fmla="*/ 25413 w 25412"/>
                <a:gd name="connsiteY0" fmla="*/ 25413 h 50825"/>
                <a:gd name="connsiteX1" fmla="*/ 12706 w 25412"/>
                <a:gd name="connsiteY1" fmla="*/ 50825 h 50825"/>
                <a:gd name="connsiteX2" fmla="*/ 0 w 25412"/>
                <a:gd name="connsiteY2" fmla="*/ 25413 h 50825"/>
                <a:gd name="connsiteX3" fmla="*/ 12706 w 25412"/>
                <a:gd name="connsiteY3" fmla="*/ 0 h 50825"/>
                <a:gd name="connsiteX4" fmla="*/ 25413 w 25412"/>
                <a:gd name="connsiteY4" fmla="*/ 25413 h 50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12" h="50825">
                  <a:moveTo>
                    <a:pt x="25413" y="25413"/>
                  </a:moveTo>
                  <a:cubicBezTo>
                    <a:pt x="25413" y="39448"/>
                    <a:pt x="19724" y="50825"/>
                    <a:pt x="12706" y="50825"/>
                  </a:cubicBezTo>
                  <a:cubicBezTo>
                    <a:pt x="5689" y="50825"/>
                    <a:pt x="0" y="39448"/>
                    <a:pt x="0" y="25413"/>
                  </a:cubicBezTo>
                  <a:cubicBezTo>
                    <a:pt x="0" y="11378"/>
                    <a:pt x="5689" y="0"/>
                    <a:pt x="12706" y="0"/>
                  </a:cubicBezTo>
                  <a:cubicBezTo>
                    <a:pt x="19724" y="0"/>
                    <a:pt x="25413" y="11378"/>
                    <a:pt x="25413" y="25413"/>
                  </a:cubicBez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 17"/>
            <p:cNvSpPr/>
            <p:nvPr/>
          </p:nvSpPr>
          <p:spPr>
            <a:xfrm>
              <a:off x="4937970" y="4501185"/>
              <a:ext cx="28772" cy="57545"/>
            </a:xfrm>
            <a:custGeom>
              <a:avLst/>
              <a:gdLst>
                <a:gd name="connsiteX0" fmla="*/ 25413 w 25412"/>
                <a:gd name="connsiteY0" fmla="*/ 25413 h 50825"/>
                <a:gd name="connsiteX1" fmla="*/ 12706 w 25412"/>
                <a:gd name="connsiteY1" fmla="*/ 50825 h 50825"/>
                <a:gd name="connsiteX2" fmla="*/ 0 w 25412"/>
                <a:gd name="connsiteY2" fmla="*/ 25413 h 50825"/>
                <a:gd name="connsiteX3" fmla="*/ 12706 w 25412"/>
                <a:gd name="connsiteY3" fmla="*/ 0 h 50825"/>
                <a:gd name="connsiteX4" fmla="*/ 25413 w 25412"/>
                <a:gd name="connsiteY4" fmla="*/ 25413 h 50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12" h="50825">
                  <a:moveTo>
                    <a:pt x="25413" y="25413"/>
                  </a:moveTo>
                  <a:cubicBezTo>
                    <a:pt x="25413" y="39448"/>
                    <a:pt x="19724" y="50825"/>
                    <a:pt x="12706" y="50825"/>
                  </a:cubicBezTo>
                  <a:cubicBezTo>
                    <a:pt x="5689" y="50825"/>
                    <a:pt x="0" y="39448"/>
                    <a:pt x="0" y="25413"/>
                  </a:cubicBezTo>
                  <a:cubicBezTo>
                    <a:pt x="0" y="11378"/>
                    <a:pt x="5689" y="0"/>
                    <a:pt x="12706" y="0"/>
                  </a:cubicBezTo>
                  <a:cubicBezTo>
                    <a:pt x="19724" y="0"/>
                    <a:pt x="25413" y="11378"/>
                    <a:pt x="25413" y="25413"/>
                  </a:cubicBez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 18"/>
            <p:cNvSpPr/>
            <p:nvPr/>
          </p:nvSpPr>
          <p:spPr>
            <a:xfrm>
              <a:off x="4809355" y="4601890"/>
              <a:ext cx="156524" cy="64640"/>
            </a:xfrm>
            <a:custGeom>
              <a:avLst/>
              <a:gdLst>
                <a:gd name="connsiteX0" fmla="*/ -514 w 138245"/>
                <a:gd name="connsiteY0" fmla="*/ -210 h 57091"/>
                <a:gd name="connsiteX1" fmla="*/ 81924 w 138245"/>
                <a:gd name="connsiteY1" fmla="*/ 55596 h 57091"/>
                <a:gd name="connsiteX2" fmla="*/ 137731 w 138245"/>
                <a:gd name="connsiteY2" fmla="*/ -210 h 57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8245" h="57091">
                  <a:moveTo>
                    <a:pt x="-514" y="-210"/>
                  </a:moveTo>
                  <a:cubicBezTo>
                    <a:pt x="6836" y="37966"/>
                    <a:pt x="43748" y="62953"/>
                    <a:pt x="81924" y="55596"/>
                  </a:cubicBezTo>
                  <a:cubicBezTo>
                    <a:pt x="110183" y="50152"/>
                    <a:pt x="132286" y="28055"/>
                    <a:pt x="137731" y="-210"/>
                  </a:cubicBezTo>
                  <a:close/>
                </a:path>
              </a:pathLst>
            </a:custGeom>
            <a:solidFill>
              <a:srgbClr val="E27AA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 19"/>
            <p:cNvSpPr/>
            <p:nvPr/>
          </p:nvSpPr>
          <p:spPr>
            <a:xfrm>
              <a:off x="4509837" y="4987374"/>
              <a:ext cx="724245" cy="307437"/>
            </a:xfrm>
            <a:custGeom>
              <a:avLst/>
              <a:gdLst>
                <a:gd name="connsiteX0" fmla="*/ 6214 w 639667"/>
                <a:gd name="connsiteY0" fmla="*/ -210 h 271534"/>
                <a:gd name="connsiteX1" fmla="*/ 632637 w 639667"/>
                <a:gd name="connsiteY1" fmla="*/ -210 h 271534"/>
                <a:gd name="connsiteX2" fmla="*/ 537657 w 639667"/>
                <a:gd name="connsiteY2" fmla="*/ 271325 h 271534"/>
                <a:gd name="connsiteX3" fmla="*/ 101194 w 639667"/>
                <a:gd name="connsiteY3" fmla="*/ 271325 h 271534"/>
                <a:gd name="connsiteX4" fmla="*/ 5897 w 639667"/>
                <a:gd name="connsiteY4" fmla="*/ -210 h 271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9667" h="271534">
                  <a:moveTo>
                    <a:pt x="6214" y="-210"/>
                  </a:moveTo>
                  <a:cubicBezTo>
                    <a:pt x="295029" y="15101"/>
                    <a:pt x="632637" y="-210"/>
                    <a:pt x="632637" y="-210"/>
                  </a:cubicBezTo>
                  <a:cubicBezTo>
                    <a:pt x="632637" y="-210"/>
                    <a:pt x="676283" y="271325"/>
                    <a:pt x="537657" y="271325"/>
                  </a:cubicBezTo>
                  <a:lnTo>
                    <a:pt x="101194" y="271325"/>
                  </a:lnTo>
                  <a:cubicBezTo>
                    <a:pt x="-37432" y="271325"/>
                    <a:pt x="5897" y="-210"/>
                    <a:pt x="5897" y="-210"/>
                  </a:cubicBez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 20"/>
            <p:cNvSpPr/>
            <p:nvPr/>
          </p:nvSpPr>
          <p:spPr>
            <a:xfrm>
              <a:off x="5524719" y="5246473"/>
              <a:ext cx="230304" cy="183920"/>
            </a:xfrm>
            <a:custGeom>
              <a:avLst/>
              <a:gdLst>
                <a:gd name="connsiteX0" fmla="*/ 27630 w 203409"/>
                <a:gd name="connsiteY0" fmla="*/ -210 h 162442"/>
                <a:gd name="connsiteX1" fmla="*/ 202787 w 203409"/>
                <a:gd name="connsiteY1" fmla="*/ 97057 h 162442"/>
                <a:gd name="connsiteX2" fmla="*/ -514 w 203409"/>
                <a:gd name="connsiteY2" fmla="*/ 161034 h 162442"/>
                <a:gd name="connsiteX3" fmla="*/ 27630 w 203409"/>
                <a:gd name="connsiteY3" fmla="*/ -210 h 162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3409" h="162442">
                  <a:moveTo>
                    <a:pt x="27630" y="-210"/>
                  </a:moveTo>
                  <a:cubicBezTo>
                    <a:pt x="27630" y="-210"/>
                    <a:pt x="207933" y="20247"/>
                    <a:pt x="202787" y="97057"/>
                  </a:cubicBezTo>
                  <a:cubicBezTo>
                    <a:pt x="200246" y="176408"/>
                    <a:pt x="-514" y="161034"/>
                    <a:pt x="-514" y="161034"/>
                  </a:cubicBezTo>
                  <a:lnTo>
                    <a:pt x="27630" y="-210"/>
                  </a:ln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 21"/>
            <p:cNvSpPr/>
            <p:nvPr/>
          </p:nvSpPr>
          <p:spPr>
            <a:xfrm>
              <a:off x="4100646" y="5006258"/>
              <a:ext cx="1488236" cy="437236"/>
            </a:xfrm>
            <a:custGeom>
              <a:avLst/>
              <a:gdLst>
                <a:gd name="connsiteX0" fmla="*/ 1313924 w 1314438"/>
                <a:gd name="connsiteY0" fmla="*/ 208966 h 386175"/>
                <a:gd name="connsiteX1" fmla="*/ 2820 w 1314438"/>
                <a:gd name="connsiteY1" fmla="*/ 90797 h 386175"/>
                <a:gd name="connsiteX2" fmla="*/ 1293403 w 1314438"/>
                <a:gd name="connsiteY2" fmla="*/ 385966 h 386175"/>
                <a:gd name="connsiteX3" fmla="*/ 1313924 w 1314438"/>
                <a:gd name="connsiteY3" fmla="*/ 208712 h 386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4438" h="386175">
                  <a:moveTo>
                    <a:pt x="1313924" y="208966"/>
                  </a:moveTo>
                  <a:cubicBezTo>
                    <a:pt x="1313924" y="208966"/>
                    <a:pt x="82361" y="-168603"/>
                    <a:pt x="2820" y="90797"/>
                  </a:cubicBezTo>
                  <a:cubicBezTo>
                    <a:pt x="-76722" y="347847"/>
                    <a:pt x="1293403" y="385966"/>
                    <a:pt x="1293403" y="385966"/>
                  </a:cubicBezTo>
                  <a:lnTo>
                    <a:pt x="1313924" y="208712"/>
                  </a:lnTo>
                  <a:close/>
                </a:path>
              </a:pathLst>
            </a:custGeom>
            <a:solidFill>
              <a:srgbClr val="1E216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 22"/>
            <p:cNvSpPr/>
            <p:nvPr/>
          </p:nvSpPr>
          <p:spPr>
            <a:xfrm>
              <a:off x="4002665" y="5286755"/>
              <a:ext cx="235837" cy="184637"/>
            </a:xfrm>
            <a:custGeom>
              <a:avLst/>
              <a:gdLst>
                <a:gd name="connsiteX0" fmla="*/ 169282 w 208296"/>
                <a:gd name="connsiteY0" fmla="*/ -210 h 163075"/>
                <a:gd name="connsiteX1" fmla="*/ -94 w 208296"/>
                <a:gd name="connsiteY1" fmla="*/ 109382 h 163075"/>
                <a:gd name="connsiteX2" fmla="*/ 207782 w 208296"/>
                <a:gd name="connsiteY2" fmla="*/ 157857 h 163075"/>
                <a:gd name="connsiteX3" fmla="*/ 169282 w 208296"/>
                <a:gd name="connsiteY3" fmla="*/ -210 h 163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8296" h="163075">
                  <a:moveTo>
                    <a:pt x="169282" y="-210"/>
                  </a:moveTo>
                  <a:cubicBezTo>
                    <a:pt x="169282" y="-210"/>
                    <a:pt x="-10322" y="32890"/>
                    <a:pt x="-94" y="109382"/>
                  </a:cubicBezTo>
                  <a:cubicBezTo>
                    <a:pt x="10135" y="185874"/>
                    <a:pt x="207782" y="157857"/>
                    <a:pt x="207782" y="157857"/>
                  </a:cubicBezTo>
                  <a:lnTo>
                    <a:pt x="169282" y="-210"/>
                  </a:ln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 23"/>
            <p:cNvSpPr/>
            <p:nvPr/>
          </p:nvSpPr>
          <p:spPr>
            <a:xfrm>
              <a:off x="4163334" y="4959760"/>
              <a:ext cx="1475212" cy="524448"/>
            </a:xfrm>
            <a:custGeom>
              <a:avLst/>
              <a:gdLst>
                <a:gd name="connsiteX0" fmla="*/ -514 w 1302935"/>
                <a:gd name="connsiteY0" fmla="*/ 288407 h 463202"/>
                <a:gd name="connsiteX1" fmla="*/ 1297439 w 1302935"/>
                <a:gd name="connsiteY1" fmla="*/ 75449 h 463202"/>
                <a:gd name="connsiteX2" fmla="*/ 30298 w 1302935"/>
                <a:gd name="connsiteY2" fmla="*/ 462992 h 463202"/>
                <a:gd name="connsiteX3" fmla="*/ -514 w 1302935"/>
                <a:gd name="connsiteY3" fmla="*/ 288535 h 463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2935" h="463202">
                  <a:moveTo>
                    <a:pt x="-514" y="288407"/>
                  </a:moveTo>
                  <a:cubicBezTo>
                    <a:pt x="-514" y="288407"/>
                    <a:pt x="1197376" y="-178551"/>
                    <a:pt x="1297439" y="75449"/>
                  </a:cubicBezTo>
                  <a:cubicBezTo>
                    <a:pt x="1394896" y="326908"/>
                    <a:pt x="30298" y="462992"/>
                    <a:pt x="30298" y="462992"/>
                  </a:cubicBezTo>
                  <a:lnTo>
                    <a:pt x="-514" y="288535"/>
                  </a:lnTo>
                  <a:close/>
                </a:path>
              </a:pathLst>
            </a:custGeom>
            <a:solidFill>
              <a:srgbClr val="2A3072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 24"/>
            <p:cNvSpPr/>
            <p:nvPr/>
          </p:nvSpPr>
          <p:spPr>
            <a:xfrm>
              <a:off x="4197069" y="4159220"/>
              <a:ext cx="334881" cy="457055"/>
            </a:xfrm>
            <a:custGeom>
              <a:avLst/>
              <a:gdLst>
                <a:gd name="connsiteX0" fmla="*/ 262507 w 295773"/>
                <a:gd name="connsiteY0" fmla="*/ -210 h 403680"/>
                <a:gd name="connsiteX1" fmla="*/ -514 w 295773"/>
                <a:gd name="connsiteY1" fmla="*/ 206522 h 403680"/>
                <a:gd name="connsiteX2" fmla="*/ 151962 w 295773"/>
                <a:gd name="connsiteY2" fmla="*/ 403470 h 403680"/>
                <a:gd name="connsiteX3" fmla="*/ 290969 w 295773"/>
                <a:gd name="connsiteY3" fmla="*/ 272468 h 403680"/>
                <a:gd name="connsiteX4" fmla="*/ 262507 w 295773"/>
                <a:gd name="connsiteY4" fmla="*/ -210 h 403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5773" h="403680">
                  <a:moveTo>
                    <a:pt x="262507" y="-210"/>
                  </a:moveTo>
                  <a:cubicBezTo>
                    <a:pt x="262507" y="-210"/>
                    <a:pt x="113843" y="47693"/>
                    <a:pt x="-514" y="206522"/>
                  </a:cubicBezTo>
                  <a:lnTo>
                    <a:pt x="151962" y="403470"/>
                  </a:lnTo>
                  <a:cubicBezTo>
                    <a:pt x="151962" y="403470"/>
                    <a:pt x="278326" y="317766"/>
                    <a:pt x="290969" y="272468"/>
                  </a:cubicBezTo>
                  <a:cubicBezTo>
                    <a:pt x="309393" y="206395"/>
                    <a:pt x="262507" y="-210"/>
                    <a:pt x="262507" y="-210"/>
                  </a:cubicBezTo>
                  <a:close/>
                </a:path>
              </a:pathLst>
            </a:custGeom>
            <a:solidFill>
              <a:srgbClr val="BE5ED3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 25"/>
            <p:cNvSpPr/>
            <p:nvPr/>
          </p:nvSpPr>
          <p:spPr>
            <a:xfrm>
              <a:off x="5168201" y="4116061"/>
              <a:ext cx="316452" cy="449862"/>
            </a:xfrm>
            <a:custGeom>
              <a:avLst/>
              <a:gdLst>
                <a:gd name="connsiteX0" fmla="*/ 30827 w 279496"/>
                <a:gd name="connsiteY0" fmla="*/ -210 h 397327"/>
                <a:gd name="connsiteX1" fmla="*/ 278982 w 279496"/>
                <a:gd name="connsiteY1" fmla="*/ 203092 h 397327"/>
                <a:gd name="connsiteX2" fmla="*/ 134892 w 279496"/>
                <a:gd name="connsiteY2" fmla="*/ 397117 h 397327"/>
                <a:gd name="connsiteX3" fmla="*/ 3508 w 279496"/>
                <a:gd name="connsiteY3" fmla="*/ 268148 h 397327"/>
                <a:gd name="connsiteX4" fmla="*/ 30827 w 279496"/>
                <a:gd name="connsiteY4" fmla="*/ -210 h 397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9496" h="397327">
                  <a:moveTo>
                    <a:pt x="30827" y="-210"/>
                  </a:moveTo>
                  <a:cubicBezTo>
                    <a:pt x="30827" y="-210"/>
                    <a:pt x="161575" y="21899"/>
                    <a:pt x="278982" y="203092"/>
                  </a:cubicBezTo>
                  <a:lnTo>
                    <a:pt x="134892" y="397117"/>
                  </a:lnTo>
                  <a:cubicBezTo>
                    <a:pt x="134892" y="397117"/>
                    <a:pt x="15452" y="312747"/>
                    <a:pt x="3508" y="268148"/>
                  </a:cubicBezTo>
                  <a:cubicBezTo>
                    <a:pt x="-13899" y="203155"/>
                    <a:pt x="30827" y="-210"/>
                    <a:pt x="30827" y="-210"/>
                  </a:cubicBezTo>
                  <a:close/>
                </a:path>
              </a:pathLst>
            </a:custGeom>
            <a:solidFill>
              <a:srgbClr val="BE5ED3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 26"/>
            <p:cNvSpPr/>
            <p:nvPr/>
          </p:nvSpPr>
          <p:spPr>
            <a:xfrm>
              <a:off x="3207781" y="3560975"/>
              <a:ext cx="1486066" cy="1759003"/>
            </a:xfrm>
            <a:custGeom>
              <a:avLst/>
              <a:gdLst>
                <a:gd name="connsiteX0" fmla="*/ 933471 w 1312521"/>
                <a:gd name="connsiteY0" fmla="*/ 872704 h 1553585"/>
                <a:gd name="connsiteX1" fmla="*/ 1030738 w 1312521"/>
                <a:gd name="connsiteY1" fmla="*/ 1006121 h 1553585"/>
                <a:gd name="connsiteX2" fmla="*/ 1002848 w 1312521"/>
                <a:gd name="connsiteY2" fmla="*/ 1177656 h 1553585"/>
                <a:gd name="connsiteX3" fmla="*/ 831211 w 1312521"/>
                <a:gd name="connsiteY3" fmla="*/ 1152962 h 1553585"/>
                <a:gd name="connsiteX4" fmla="*/ 830677 w 1312521"/>
                <a:gd name="connsiteY4" fmla="*/ 1152244 h 1553585"/>
                <a:gd name="connsiteX5" fmla="*/ 674897 w 1312521"/>
                <a:gd name="connsiteY5" fmla="*/ 940874 h 1553585"/>
                <a:gd name="connsiteX6" fmla="*/ 674008 w 1312521"/>
                <a:gd name="connsiteY6" fmla="*/ 935220 h 1553585"/>
                <a:gd name="connsiteX7" fmla="*/ 669942 w 1312521"/>
                <a:gd name="connsiteY7" fmla="*/ 931217 h 1553585"/>
                <a:gd name="connsiteX8" fmla="*/ 695354 w 1312521"/>
                <a:gd name="connsiteY8" fmla="*/ 758792 h 1553585"/>
                <a:gd name="connsiteX9" fmla="*/ 761046 w 1312521"/>
                <a:gd name="connsiteY9" fmla="*/ 359495 h 1553585"/>
                <a:gd name="connsiteX10" fmla="*/ 364075 w 1312521"/>
                <a:gd name="connsiteY10" fmla="*/ 301001 h 1553585"/>
                <a:gd name="connsiteX11" fmla="*/ 362321 w 1312521"/>
                <a:gd name="connsiteY11" fmla="*/ 302316 h 1553585"/>
                <a:gd name="connsiteX12" fmla="*/ 248727 w 1312521"/>
                <a:gd name="connsiteY12" fmla="*/ 557015 h 1553585"/>
                <a:gd name="connsiteX13" fmla="*/ 137946 w 1312521"/>
                <a:gd name="connsiteY13" fmla="*/ 696670 h 1553585"/>
                <a:gd name="connsiteX14" fmla="*/ 136910 w 1312521"/>
                <a:gd name="connsiteY14" fmla="*/ 696785 h 1553585"/>
                <a:gd name="connsiteX15" fmla="*/ 2668 w 1312521"/>
                <a:gd name="connsiteY15" fmla="*/ 586557 h 1553585"/>
                <a:gd name="connsiteX16" fmla="*/ 216389 w 1312521"/>
                <a:gd name="connsiteY16" fmla="*/ 102509 h 1553585"/>
                <a:gd name="connsiteX17" fmla="*/ 960282 w 1312521"/>
                <a:gd name="connsiteY17" fmla="*/ 215786 h 1553585"/>
                <a:gd name="connsiteX18" fmla="*/ 933471 w 1312521"/>
                <a:gd name="connsiteY18" fmla="*/ 872704 h 1553585"/>
                <a:gd name="connsiteX19" fmla="*/ 1259071 w 1312521"/>
                <a:gd name="connsiteY19" fmla="*/ 1318824 h 1553585"/>
                <a:gd name="connsiteX20" fmla="*/ 1287153 w 1312521"/>
                <a:gd name="connsiteY20" fmla="*/ 1357388 h 1553585"/>
                <a:gd name="connsiteX21" fmla="*/ 1259199 w 1312521"/>
                <a:gd name="connsiteY21" fmla="*/ 1528923 h 1553585"/>
                <a:gd name="connsiteX22" fmla="*/ 1087644 w 1312521"/>
                <a:gd name="connsiteY22" fmla="*/ 1504260 h 1553585"/>
                <a:gd name="connsiteX23" fmla="*/ 1087091 w 1312521"/>
                <a:gd name="connsiteY23" fmla="*/ 1503511 h 1553585"/>
                <a:gd name="connsiteX24" fmla="*/ 1061678 w 1312521"/>
                <a:gd name="connsiteY24" fmla="*/ 1465391 h 1553585"/>
                <a:gd name="connsiteX25" fmla="*/ 1087091 w 1312521"/>
                <a:gd name="connsiteY25" fmla="*/ 1292967 h 1553585"/>
                <a:gd name="connsiteX26" fmla="*/ 1259199 w 1312521"/>
                <a:gd name="connsiteY26" fmla="*/ 1318379 h 1553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312521" h="1553585">
                  <a:moveTo>
                    <a:pt x="933471" y="872704"/>
                  </a:moveTo>
                  <a:lnTo>
                    <a:pt x="1030738" y="1006121"/>
                  </a:lnTo>
                  <a:cubicBezTo>
                    <a:pt x="1071971" y="1062410"/>
                    <a:pt x="1061551" y="1137187"/>
                    <a:pt x="1002848" y="1177656"/>
                  </a:cubicBezTo>
                  <a:cubicBezTo>
                    <a:pt x="948630" y="1218234"/>
                    <a:pt x="871788" y="1207179"/>
                    <a:pt x="831211" y="1152962"/>
                  </a:cubicBezTo>
                  <a:cubicBezTo>
                    <a:pt x="831033" y="1152720"/>
                    <a:pt x="830855" y="1152485"/>
                    <a:pt x="830677" y="1152244"/>
                  </a:cubicBezTo>
                  <a:lnTo>
                    <a:pt x="674897" y="940874"/>
                  </a:lnTo>
                  <a:cubicBezTo>
                    <a:pt x="673246" y="937633"/>
                    <a:pt x="676486" y="935982"/>
                    <a:pt x="674008" y="935220"/>
                  </a:cubicBezTo>
                  <a:cubicBezTo>
                    <a:pt x="671530" y="934457"/>
                    <a:pt x="671594" y="934457"/>
                    <a:pt x="669942" y="931217"/>
                  </a:cubicBezTo>
                  <a:cubicBezTo>
                    <a:pt x="630362" y="878168"/>
                    <a:pt x="642369" y="798499"/>
                    <a:pt x="695354" y="758792"/>
                  </a:cubicBezTo>
                  <a:cubicBezTo>
                    <a:pt x="824769" y="665400"/>
                    <a:pt x="855010" y="486495"/>
                    <a:pt x="761046" y="359495"/>
                  </a:cubicBezTo>
                  <a:cubicBezTo>
                    <a:pt x="667578" y="233721"/>
                    <a:pt x="489849" y="207534"/>
                    <a:pt x="364075" y="301001"/>
                  </a:cubicBezTo>
                  <a:cubicBezTo>
                    <a:pt x="363490" y="301439"/>
                    <a:pt x="362906" y="301878"/>
                    <a:pt x="362321" y="302316"/>
                  </a:cubicBezTo>
                  <a:cubicBezTo>
                    <a:pt x="281636" y="360797"/>
                    <a:pt x="238326" y="457912"/>
                    <a:pt x="248727" y="557015"/>
                  </a:cubicBezTo>
                  <a:cubicBezTo>
                    <a:pt x="256700" y="626169"/>
                    <a:pt x="207101" y="688697"/>
                    <a:pt x="137946" y="696670"/>
                  </a:cubicBezTo>
                  <a:cubicBezTo>
                    <a:pt x="137603" y="696708"/>
                    <a:pt x="137254" y="696747"/>
                    <a:pt x="136910" y="696785"/>
                  </a:cubicBezTo>
                  <a:cubicBezTo>
                    <a:pt x="68106" y="701741"/>
                    <a:pt x="9847" y="656252"/>
                    <a:pt x="2668" y="586557"/>
                  </a:cubicBezTo>
                  <a:cubicBezTo>
                    <a:pt x="-18056" y="398554"/>
                    <a:pt x="63493" y="213855"/>
                    <a:pt x="216389" y="102509"/>
                  </a:cubicBezTo>
                  <a:cubicBezTo>
                    <a:pt x="453375" y="-70456"/>
                    <a:pt x="785519" y="-19878"/>
                    <a:pt x="960282" y="215786"/>
                  </a:cubicBezTo>
                  <a:cubicBezTo>
                    <a:pt x="1106405" y="415975"/>
                    <a:pt x="1089251" y="688017"/>
                    <a:pt x="933471" y="872704"/>
                  </a:cubicBezTo>
                  <a:close/>
                  <a:moveTo>
                    <a:pt x="1259071" y="1318824"/>
                  </a:moveTo>
                  <a:lnTo>
                    <a:pt x="1287153" y="1357388"/>
                  </a:lnTo>
                  <a:cubicBezTo>
                    <a:pt x="1328321" y="1413677"/>
                    <a:pt x="1317902" y="1488454"/>
                    <a:pt x="1259199" y="1528923"/>
                  </a:cubicBezTo>
                  <a:cubicBezTo>
                    <a:pt x="1205012" y="1569488"/>
                    <a:pt x="1128209" y="1558440"/>
                    <a:pt x="1087644" y="1504260"/>
                  </a:cubicBezTo>
                  <a:cubicBezTo>
                    <a:pt x="1087460" y="1504013"/>
                    <a:pt x="1087275" y="1503758"/>
                    <a:pt x="1087091" y="1503511"/>
                  </a:cubicBezTo>
                  <a:lnTo>
                    <a:pt x="1061678" y="1465391"/>
                  </a:lnTo>
                  <a:cubicBezTo>
                    <a:pt x="1019684" y="1411517"/>
                    <a:pt x="1034106" y="1332610"/>
                    <a:pt x="1087091" y="1292967"/>
                  </a:cubicBezTo>
                  <a:cubicBezTo>
                    <a:pt x="1141671" y="1252592"/>
                    <a:pt x="1218621" y="1263958"/>
                    <a:pt x="1259199" y="1318379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 27"/>
            <p:cNvSpPr/>
            <p:nvPr/>
          </p:nvSpPr>
          <p:spPr>
            <a:xfrm>
              <a:off x="6164723" y="1962102"/>
              <a:ext cx="703194" cy="564027"/>
            </a:xfrm>
            <a:custGeom>
              <a:avLst/>
              <a:gdLst>
                <a:gd name="connsiteX0" fmla="*/ 577794 w 621074"/>
                <a:gd name="connsiteY0" fmla="*/ 416455 h 498159"/>
                <a:gd name="connsiteX1" fmla="*/ 538976 w 621074"/>
                <a:gd name="connsiteY1" fmla="*/ 192061 h 498159"/>
                <a:gd name="connsiteX2" fmla="*/ 398317 w 621074"/>
                <a:gd name="connsiteY2" fmla="*/ 31135 h 498159"/>
                <a:gd name="connsiteX3" fmla="*/ 10265 w 621074"/>
                <a:gd name="connsiteY3" fmla="*/ 121159 h 498159"/>
                <a:gd name="connsiteX4" fmla="*/ 38156 w 621074"/>
                <a:gd name="connsiteY4" fmla="*/ 265504 h 498159"/>
                <a:gd name="connsiteX5" fmla="*/ 65983 w 621074"/>
                <a:gd name="connsiteY5" fmla="*/ 440152 h 498159"/>
                <a:gd name="connsiteX6" fmla="*/ 577794 w 621074"/>
                <a:gd name="connsiteY6" fmla="*/ 416455 h 498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1074" h="498159">
                  <a:moveTo>
                    <a:pt x="577794" y="416455"/>
                  </a:moveTo>
                  <a:cubicBezTo>
                    <a:pt x="667819" y="254576"/>
                    <a:pt x="596536" y="161629"/>
                    <a:pt x="538976" y="192061"/>
                  </a:cubicBezTo>
                  <a:cubicBezTo>
                    <a:pt x="538976" y="192061"/>
                    <a:pt x="530399" y="91617"/>
                    <a:pt x="398317" y="31135"/>
                  </a:cubicBezTo>
                  <a:cubicBezTo>
                    <a:pt x="245841" y="-38750"/>
                    <a:pt x="48893" y="15633"/>
                    <a:pt x="10265" y="121159"/>
                  </a:cubicBezTo>
                  <a:cubicBezTo>
                    <a:pt x="-25186" y="218554"/>
                    <a:pt x="38156" y="265504"/>
                    <a:pt x="38156" y="265504"/>
                  </a:cubicBezTo>
                  <a:cubicBezTo>
                    <a:pt x="38156" y="265504"/>
                    <a:pt x="-1043" y="335388"/>
                    <a:pt x="65983" y="440152"/>
                  </a:cubicBezTo>
                  <a:cubicBezTo>
                    <a:pt x="133009" y="544916"/>
                    <a:pt x="537515" y="488945"/>
                    <a:pt x="577794" y="416455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 28"/>
            <p:cNvSpPr/>
            <p:nvPr/>
          </p:nvSpPr>
          <p:spPr>
            <a:xfrm>
              <a:off x="6390997" y="2695691"/>
              <a:ext cx="273341" cy="276362"/>
            </a:xfrm>
            <a:custGeom>
              <a:avLst/>
              <a:gdLst>
                <a:gd name="connsiteX0" fmla="*/ 120196 w 241420"/>
                <a:gd name="connsiteY0" fmla="*/ 243879 h 244088"/>
                <a:gd name="connsiteX1" fmla="*/ 120196 w 241420"/>
                <a:gd name="connsiteY1" fmla="*/ 243879 h 244088"/>
                <a:gd name="connsiteX2" fmla="*/ -514 w 241420"/>
                <a:gd name="connsiteY2" fmla="*/ 160017 h 244088"/>
                <a:gd name="connsiteX3" fmla="*/ -514 w 241420"/>
                <a:gd name="connsiteY3" fmla="*/ -210 h 244088"/>
                <a:gd name="connsiteX4" fmla="*/ 240906 w 241420"/>
                <a:gd name="connsiteY4" fmla="*/ -210 h 244088"/>
                <a:gd name="connsiteX5" fmla="*/ 240906 w 241420"/>
                <a:gd name="connsiteY5" fmla="*/ 160335 h 244088"/>
                <a:gd name="connsiteX6" fmla="*/ 120958 w 241420"/>
                <a:gd name="connsiteY6" fmla="*/ 243752 h 244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1420" h="244088">
                  <a:moveTo>
                    <a:pt x="120196" y="243879"/>
                  </a:moveTo>
                  <a:lnTo>
                    <a:pt x="120196" y="243879"/>
                  </a:lnTo>
                  <a:cubicBezTo>
                    <a:pt x="53551" y="243879"/>
                    <a:pt x="-514" y="206332"/>
                    <a:pt x="-514" y="160017"/>
                  </a:cubicBezTo>
                  <a:lnTo>
                    <a:pt x="-514" y="-210"/>
                  </a:lnTo>
                  <a:lnTo>
                    <a:pt x="240906" y="-210"/>
                  </a:lnTo>
                  <a:lnTo>
                    <a:pt x="240906" y="160335"/>
                  </a:lnTo>
                  <a:cubicBezTo>
                    <a:pt x="240906" y="206395"/>
                    <a:pt x="187222" y="243752"/>
                    <a:pt x="120958" y="243752"/>
                  </a:cubicBez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 29"/>
            <p:cNvSpPr/>
            <p:nvPr/>
          </p:nvSpPr>
          <p:spPr>
            <a:xfrm>
              <a:off x="6190954" y="2434905"/>
              <a:ext cx="140645" cy="163868"/>
            </a:xfrm>
            <a:custGeom>
              <a:avLst/>
              <a:gdLst>
                <a:gd name="connsiteX0" fmla="*/ 89827 w 124220"/>
                <a:gd name="connsiteY0" fmla="*/ 32284 h 144731"/>
                <a:gd name="connsiteX1" fmla="*/ -514 w 124220"/>
                <a:gd name="connsiteY1" fmla="*/ 54139 h 144731"/>
                <a:gd name="connsiteX2" fmla="*/ 109904 w 124220"/>
                <a:gd name="connsiteY2" fmla="*/ 127518 h 144731"/>
                <a:gd name="connsiteX3" fmla="*/ 89827 w 124220"/>
                <a:gd name="connsiteY3" fmla="*/ 32221 h 14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220" h="144731">
                  <a:moveTo>
                    <a:pt x="89827" y="32284"/>
                  </a:moveTo>
                  <a:cubicBezTo>
                    <a:pt x="47960" y="-30739"/>
                    <a:pt x="-514" y="9730"/>
                    <a:pt x="-514" y="54139"/>
                  </a:cubicBezTo>
                  <a:cubicBezTo>
                    <a:pt x="-514" y="118306"/>
                    <a:pt x="69752" y="173579"/>
                    <a:pt x="109904" y="127518"/>
                  </a:cubicBezTo>
                  <a:cubicBezTo>
                    <a:pt x="150056" y="81458"/>
                    <a:pt x="89827" y="32221"/>
                    <a:pt x="89827" y="3222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 30"/>
            <p:cNvSpPr/>
            <p:nvPr/>
          </p:nvSpPr>
          <p:spPr>
            <a:xfrm>
              <a:off x="6727091" y="2434905"/>
              <a:ext cx="140816" cy="163868"/>
            </a:xfrm>
            <a:custGeom>
              <a:avLst/>
              <a:gdLst>
                <a:gd name="connsiteX0" fmla="*/ 33579 w 124371"/>
                <a:gd name="connsiteY0" fmla="*/ 32284 h 144731"/>
                <a:gd name="connsiteX1" fmla="*/ 123857 w 124371"/>
                <a:gd name="connsiteY1" fmla="*/ 54139 h 144731"/>
                <a:gd name="connsiteX2" fmla="*/ 13439 w 124371"/>
                <a:gd name="connsiteY2" fmla="*/ 127518 h 144731"/>
                <a:gd name="connsiteX3" fmla="*/ 33579 w 124371"/>
                <a:gd name="connsiteY3" fmla="*/ 32221 h 14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371" h="144731">
                  <a:moveTo>
                    <a:pt x="33579" y="32284"/>
                  </a:moveTo>
                  <a:cubicBezTo>
                    <a:pt x="75319" y="-30739"/>
                    <a:pt x="123857" y="9730"/>
                    <a:pt x="123857" y="54139"/>
                  </a:cubicBezTo>
                  <a:cubicBezTo>
                    <a:pt x="123857" y="118306"/>
                    <a:pt x="53972" y="173579"/>
                    <a:pt x="13439" y="127518"/>
                  </a:cubicBezTo>
                  <a:cubicBezTo>
                    <a:pt x="-27095" y="81458"/>
                    <a:pt x="33579" y="32221"/>
                    <a:pt x="33579" y="3222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 31"/>
            <p:cNvSpPr/>
            <p:nvPr/>
          </p:nvSpPr>
          <p:spPr>
            <a:xfrm>
              <a:off x="6265196" y="2209296"/>
              <a:ext cx="527030" cy="543940"/>
            </a:xfrm>
            <a:custGeom>
              <a:avLst/>
              <a:gdLst>
                <a:gd name="connsiteX0" fmla="*/ 232068 w 465483"/>
                <a:gd name="connsiteY0" fmla="*/ 480209 h 480418"/>
                <a:gd name="connsiteX1" fmla="*/ 7928 w 465483"/>
                <a:gd name="connsiteY1" fmla="*/ 114266 h 480418"/>
                <a:gd name="connsiteX2" fmla="*/ 456589 w 465483"/>
                <a:gd name="connsiteY2" fmla="*/ 114266 h 480418"/>
                <a:gd name="connsiteX3" fmla="*/ 232068 w 465483"/>
                <a:gd name="connsiteY3" fmla="*/ 480209 h 480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5483" h="480418">
                  <a:moveTo>
                    <a:pt x="232068" y="480209"/>
                  </a:moveTo>
                  <a:cubicBezTo>
                    <a:pt x="66886" y="480209"/>
                    <a:pt x="-30763" y="299588"/>
                    <a:pt x="7928" y="114266"/>
                  </a:cubicBezTo>
                  <a:cubicBezTo>
                    <a:pt x="39694" y="-38527"/>
                    <a:pt x="424696" y="-38210"/>
                    <a:pt x="456589" y="114266"/>
                  </a:cubicBezTo>
                  <a:cubicBezTo>
                    <a:pt x="495153" y="299588"/>
                    <a:pt x="397251" y="480209"/>
                    <a:pt x="232068" y="480209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 32"/>
            <p:cNvSpPr/>
            <p:nvPr/>
          </p:nvSpPr>
          <p:spPr>
            <a:xfrm>
              <a:off x="6255890" y="2082565"/>
              <a:ext cx="448236" cy="230262"/>
            </a:xfrm>
            <a:custGeom>
              <a:avLst/>
              <a:gdLst>
                <a:gd name="connsiteX0" fmla="*/ 386663 w 395890"/>
                <a:gd name="connsiteY0" fmla="*/ 112221 h 203372"/>
                <a:gd name="connsiteX1" fmla="*/ 250388 w 395890"/>
                <a:gd name="connsiteY1" fmla="*/ 153708 h 203372"/>
                <a:gd name="connsiteX2" fmla="*/ 94799 w 395890"/>
                <a:gd name="connsiteY2" fmla="*/ 202246 h 203372"/>
                <a:gd name="connsiteX3" fmla="*/ 66146 w 395890"/>
                <a:gd name="connsiteY3" fmla="*/ 31028 h 203372"/>
                <a:gd name="connsiteX4" fmla="*/ 386663 w 395890"/>
                <a:gd name="connsiteY4" fmla="*/ 112221 h 203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5890" h="203372">
                  <a:moveTo>
                    <a:pt x="386663" y="112221"/>
                  </a:moveTo>
                  <a:cubicBezTo>
                    <a:pt x="344034" y="208472"/>
                    <a:pt x="250388" y="153708"/>
                    <a:pt x="250388" y="153708"/>
                  </a:cubicBezTo>
                  <a:cubicBezTo>
                    <a:pt x="207091" y="190022"/>
                    <a:pt x="151062" y="207500"/>
                    <a:pt x="94799" y="202246"/>
                  </a:cubicBezTo>
                  <a:cubicBezTo>
                    <a:pt x="581" y="192970"/>
                    <a:pt x="-48592" y="79439"/>
                    <a:pt x="66146" y="31028"/>
                  </a:cubicBezTo>
                  <a:cubicBezTo>
                    <a:pt x="180884" y="-17383"/>
                    <a:pt x="446701" y="-22784"/>
                    <a:pt x="386663" y="112221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 33"/>
            <p:cNvSpPr/>
            <p:nvPr/>
          </p:nvSpPr>
          <p:spPr>
            <a:xfrm>
              <a:off x="5999615" y="5296537"/>
              <a:ext cx="484830" cy="136671"/>
            </a:xfrm>
            <a:custGeom>
              <a:avLst/>
              <a:gdLst>
                <a:gd name="connsiteX0" fmla="*/ 415046 w 428211"/>
                <a:gd name="connsiteY0" fmla="*/ -210 h 120710"/>
                <a:gd name="connsiteX1" fmla="*/ 150755 w 428211"/>
                <a:gd name="connsiteY1" fmla="*/ -210 h 120710"/>
                <a:gd name="connsiteX2" fmla="*/ -514 w 428211"/>
                <a:gd name="connsiteY2" fmla="*/ 107794 h 120710"/>
                <a:gd name="connsiteX3" fmla="*/ -514 w 428211"/>
                <a:gd name="connsiteY3" fmla="*/ 120500 h 120710"/>
                <a:gd name="connsiteX4" fmla="*/ 425148 w 428211"/>
                <a:gd name="connsiteY4" fmla="*/ 120500 h 120710"/>
                <a:gd name="connsiteX5" fmla="*/ 414856 w 428211"/>
                <a:gd name="connsiteY5" fmla="*/ -210 h 120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8211" h="120710">
                  <a:moveTo>
                    <a:pt x="415046" y="-210"/>
                  </a:moveTo>
                  <a:lnTo>
                    <a:pt x="150755" y="-210"/>
                  </a:lnTo>
                  <a:cubicBezTo>
                    <a:pt x="150755" y="-210"/>
                    <a:pt x="14924" y="76981"/>
                    <a:pt x="-514" y="107794"/>
                  </a:cubicBezTo>
                  <a:lnTo>
                    <a:pt x="-514" y="120500"/>
                  </a:lnTo>
                  <a:lnTo>
                    <a:pt x="425148" y="120500"/>
                  </a:lnTo>
                  <a:cubicBezTo>
                    <a:pt x="425148" y="120500"/>
                    <a:pt x="435377" y="30412"/>
                    <a:pt x="414856" y="-210"/>
                  </a:cubicBezTo>
                  <a:close/>
                </a:path>
              </a:pathLst>
            </a:custGeom>
            <a:solidFill>
              <a:srgbClr val="00065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 34"/>
            <p:cNvSpPr/>
            <p:nvPr/>
          </p:nvSpPr>
          <p:spPr>
            <a:xfrm>
              <a:off x="5999255" y="5433496"/>
              <a:ext cx="483023" cy="22802"/>
            </a:xfrm>
            <a:custGeom>
              <a:avLst/>
              <a:gdLst>
                <a:gd name="connsiteX0" fmla="*/ 426615 w 426615"/>
                <a:gd name="connsiteY0" fmla="*/ 0 h 20139"/>
                <a:gd name="connsiteX1" fmla="*/ 0 w 426615"/>
                <a:gd name="connsiteY1" fmla="*/ 0 h 20139"/>
                <a:gd name="connsiteX2" fmla="*/ 0 w 426615"/>
                <a:gd name="connsiteY2" fmla="*/ 20140 h 20139"/>
                <a:gd name="connsiteX3" fmla="*/ 426615 w 426615"/>
                <a:gd name="connsiteY3" fmla="*/ 20140 h 20139"/>
                <a:gd name="connsiteX4" fmla="*/ 426615 w 426615"/>
                <a:gd name="connsiteY4" fmla="*/ 0 h 20139"/>
                <a:gd name="connsiteX5" fmla="*/ 426615 w 426615"/>
                <a:gd name="connsiteY5" fmla="*/ 0 h 2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6615" h="20139">
                  <a:moveTo>
                    <a:pt x="426615" y="0"/>
                  </a:moveTo>
                  <a:lnTo>
                    <a:pt x="0" y="0"/>
                  </a:lnTo>
                  <a:lnTo>
                    <a:pt x="0" y="20140"/>
                  </a:lnTo>
                  <a:lnTo>
                    <a:pt x="426615" y="20140"/>
                  </a:lnTo>
                  <a:lnTo>
                    <a:pt x="426615" y="0"/>
                  </a:lnTo>
                  <a:lnTo>
                    <a:pt x="426615" y="0"/>
                  </a:ln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 35"/>
            <p:cNvSpPr/>
            <p:nvPr/>
          </p:nvSpPr>
          <p:spPr>
            <a:xfrm>
              <a:off x="6140242" y="3782441"/>
              <a:ext cx="395626" cy="1526181"/>
            </a:xfrm>
            <a:custGeom>
              <a:avLst/>
              <a:gdLst>
                <a:gd name="connsiteX0" fmla="*/ 348910 w 349424"/>
                <a:gd name="connsiteY0" fmla="*/ -210 h 1347952"/>
                <a:gd name="connsiteX1" fmla="*/ 17656 w 349424"/>
                <a:gd name="connsiteY1" fmla="*/ -210 h 1347952"/>
                <a:gd name="connsiteX2" fmla="*/ -514 w 349424"/>
                <a:gd name="connsiteY2" fmla="*/ 1347742 h 1347952"/>
                <a:gd name="connsiteX3" fmla="*/ 305200 w 349424"/>
                <a:gd name="connsiteY3" fmla="*/ 1347742 h 1347952"/>
                <a:gd name="connsiteX4" fmla="*/ 346369 w 349424"/>
                <a:gd name="connsiteY4" fmla="*/ 202583 h 1347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424" h="1347952">
                  <a:moveTo>
                    <a:pt x="348910" y="-210"/>
                  </a:moveTo>
                  <a:lnTo>
                    <a:pt x="17656" y="-210"/>
                  </a:lnTo>
                  <a:lnTo>
                    <a:pt x="-514" y="1347742"/>
                  </a:lnTo>
                  <a:lnTo>
                    <a:pt x="305200" y="1347742"/>
                  </a:lnTo>
                  <a:cubicBezTo>
                    <a:pt x="305200" y="1347742"/>
                    <a:pt x="303548" y="602833"/>
                    <a:pt x="346369" y="202583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 36"/>
            <p:cNvSpPr/>
            <p:nvPr/>
          </p:nvSpPr>
          <p:spPr>
            <a:xfrm>
              <a:off x="6583298" y="5296537"/>
              <a:ext cx="484866" cy="136671"/>
            </a:xfrm>
            <a:custGeom>
              <a:avLst/>
              <a:gdLst>
                <a:gd name="connsiteX0" fmla="*/ 12168 w 428243"/>
                <a:gd name="connsiteY0" fmla="*/ -210 h 120710"/>
                <a:gd name="connsiteX1" fmla="*/ 276460 w 428243"/>
                <a:gd name="connsiteY1" fmla="*/ -210 h 120710"/>
                <a:gd name="connsiteX2" fmla="*/ 427729 w 428243"/>
                <a:gd name="connsiteY2" fmla="*/ 107794 h 120710"/>
                <a:gd name="connsiteX3" fmla="*/ 427729 w 428243"/>
                <a:gd name="connsiteY3" fmla="*/ 120500 h 120710"/>
                <a:gd name="connsiteX4" fmla="*/ 2067 w 428243"/>
                <a:gd name="connsiteY4" fmla="*/ 120500 h 120710"/>
                <a:gd name="connsiteX5" fmla="*/ 12295 w 428243"/>
                <a:gd name="connsiteY5" fmla="*/ -210 h 120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8243" h="120710">
                  <a:moveTo>
                    <a:pt x="12168" y="-210"/>
                  </a:moveTo>
                  <a:lnTo>
                    <a:pt x="276460" y="-210"/>
                  </a:lnTo>
                  <a:cubicBezTo>
                    <a:pt x="276460" y="-210"/>
                    <a:pt x="412354" y="76981"/>
                    <a:pt x="427729" y="107794"/>
                  </a:cubicBezTo>
                  <a:lnTo>
                    <a:pt x="427729" y="120500"/>
                  </a:lnTo>
                  <a:lnTo>
                    <a:pt x="2067" y="120500"/>
                  </a:lnTo>
                  <a:cubicBezTo>
                    <a:pt x="2067" y="120500"/>
                    <a:pt x="-8226" y="30412"/>
                    <a:pt x="12295" y="-210"/>
                  </a:cubicBezTo>
                  <a:close/>
                </a:path>
              </a:pathLst>
            </a:custGeom>
            <a:solidFill>
              <a:srgbClr val="00065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 37"/>
            <p:cNvSpPr/>
            <p:nvPr/>
          </p:nvSpPr>
          <p:spPr>
            <a:xfrm>
              <a:off x="6585142" y="5433496"/>
              <a:ext cx="483023" cy="22802"/>
            </a:xfrm>
            <a:custGeom>
              <a:avLst/>
              <a:gdLst>
                <a:gd name="connsiteX0" fmla="*/ 0 w 426615"/>
                <a:gd name="connsiteY0" fmla="*/ 0 h 20139"/>
                <a:gd name="connsiteX1" fmla="*/ 426615 w 426615"/>
                <a:gd name="connsiteY1" fmla="*/ 0 h 20139"/>
                <a:gd name="connsiteX2" fmla="*/ 426615 w 426615"/>
                <a:gd name="connsiteY2" fmla="*/ 20140 h 20139"/>
                <a:gd name="connsiteX3" fmla="*/ 0 w 426615"/>
                <a:gd name="connsiteY3" fmla="*/ 20140 h 20139"/>
                <a:gd name="connsiteX4" fmla="*/ 0 w 426615"/>
                <a:gd name="connsiteY4" fmla="*/ 0 h 20139"/>
                <a:gd name="connsiteX5" fmla="*/ 0 w 426615"/>
                <a:gd name="connsiteY5" fmla="*/ 0 h 2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6615" h="20139">
                  <a:moveTo>
                    <a:pt x="0" y="0"/>
                  </a:moveTo>
                  <a:lnTo>
                    <a:pt x="426615" y="0"/>
                  </a:lnTo>
                  <a:lnTo>
                    <a:pt x="426615" y="20140"/>
                  </a:lnTo>
                  <a:lnTo>
                    <a:pt x="0" y="2014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 38"/>
            <p:cNvSpPr/>
            <p:nvPr/>
          </p:nvSpPr>
          <p:spPr>
            <a:xfrm>
              <a:off x="6531551" y="3782441"/>
              <a:ext cx="395698" cy="1526181"/>
            </a:xfrm>
            <a:custGeom>
              <a:avLst/>
              <a:gdLst>
                <a:gd name="connsiteX0" fmla="*/ -514 w 349488"/>
                <a:gd name="connsiteY0" fmla="*/ -210 h 1347952"/>
                <a:gd name="connsiteX1" fmla="*/ 330803 w 349488"/>
                <a:gd name="connsiteY1" fmla="*/ -210 h 1347952"/>
                <a:gd name="connsiteX2" fmla="*/ 348974 w 349488"/>
                <a:gd name="connsiteY2" fmla="*/ 1347742 h 1347952"/>
                <a:gd name="connsiteX3" fmla="*/ 43259 w 349488"/>
                <a:gd name="connsiteY3" fmla="*/ 1347742 h 1347952"/>
                <a:gd name="connsiteX4" fmla="*/ 2408 w 349488"/>
                <a:gd name="connsiteY4" fmla="*/ 202583 h 1347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488" h="1347952">
                  <a:moveTo>
                    <a:pt x="-514" y="-210"/>
                  </a:moveTo>
                  <a:lnTo>
                    <a:pt x="330803" y="-210"/>
                  </a:lnTo>
                  <a:lnTo>
                    <a:pt x="348974" y="1347742"/>
                  </a:lnTo>
                  <a:lnTo>
                    <a:pt x="43259" y="1347742"/>
                  </a:lnTo>
                  <a:cubicBezTo>
                    <a:pt x="43259" y="1347742"/>
                    <a:pt x="44911" y="602833"/>
                    <a:pt x="2408" y="202583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 39"/>
            <p:cNvSpPr/>
            <p:nvPr/>
          </p:nvSpPr>
          <p:spPr>
            <a:xfrm>
              <a:off x="6096076" y="2836102"/>
              <a:ext cx="877570" cy="1154292"/>
            </a:xfrm>
            <a:custGeom>
              <a:avLst/>
              <a:gdLst>
                <a:gd name="connsiteX0" fmla="*/ 259966 w 775086"/>
                <a:gd name="connsiteY0" fmla="*/ -210 h 1019493"/>
                <a:gd name="connsiteX1" fmla="*/ 380676 w 775086"/>
                <a:gd name="connsiteY1" fmla="*/ 81873 h 1019493"/>
                <a:gd name="connsiteX2" fmla="*/ 383217 w 775086"/>
                <a:gd name="connsiteY2" fmla="*/ 81873 h 1019493"/>
                <a:gd name="connsiteX3" fmla="*/ 501132 w 775086"/>
                <a:gd name="connsiteY3" fmla="*/ -210 h 1019493"/>
                <a:gd name="connsiteX4" fmla="*/ 703735 w 775086"/>
                <a:gd name="connsiteY4" fmla="*/ 40832 h 1019493"/>
                <a:gd name="connsiteX5" fmla="*/ 774573 w 775086"/>
                <a:gd name="connsiteY5" fmla="*/ 943109 h 1019493"/>
                <a:gd name="connsiteX6" fmla="*/ -514 w 775086"/>
                <a:gd name="connsiteY6" fmla="*/ 924050 h 1019493"/>
                <a:gd name="connsiteX7" fmla="*/ 66893 w 775086"/>
                <a:gd name="connsiteY7" fmla="*/ 30603 h 1019493"/>
                <a:gd name="connsiteX8" fmla="*/ 260029 w 775086"/>
                <a:gd name="connsiteY8" fmla="*/ -210 h 1019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75086" h="1019493">
                  <a:moveTo>
                    <a:pt x="259966" y="-210"/>
                  </a:moveTo>
                  <a:cubicBezTo>
                    <a:pt x="277882" y="79268"/>
                    <a:pt x="372734" y="81873"/>
                    <a:pt x="380676" y="81873"/>
                  </a:cubicBezTo>
                  <a:lnTo>
                    <a:pt x="383217" y="81873"/>
                  </a:lnTo>
                  <a:cubicBezTo>
                    <a:pt x="390904" y="81873"/>
                    <a:pt x="480611" y="79268"/>
                    <a:pt x="501132" y="-210"/>
                  </a:cubicBezTo>
                  <a:lnTo>
                    <a:pt x="703735" y="40832"/>
                  </a:lnTo>
                  <a:lnTo>
                    <a:pt x="774573" y="943109"/>
                  </a:lnTo>
                  <a:cubicBezTo>
                    <a:pt x="615743" y="1025700"/>
                    <a:pt x="132394" y="1069347"/>
                    <a:pt x="-514" y="924050"/>
                  </a:cubicBezTo>
                  <a:lnTo>
                    <a:pt x="66893" y="30603"/>
                  </a:lnTo>
                  <a:lnTo>
                    <a:pt x="260029" y="-210"/>
                  </a:lnTo>
                  <a:close/>
                </a:path>
              </a:pathLst>
            </a:custGeom>
            <a:solidFill>
              <a:srgbClr val="00065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 40"/>
            <p:cNvSpPr/>
            <p:nvPr/>
          </p:nvSpPr>
          <p:spPr>
            <a:xfrm>
              <a:off x="5368249" y="3005839"/>
              <a:ext cx="792980" cy="422613"/>
            </a:xfrm>
            <a:custGeom>
              <a:avLst/>
              <a:gdLst>
                <a:gd name="connsiteX0" fmla="*/ 698477 w 700375"/>
                <a:gd name="connsiteY0" fmla="*/ 67344 h 373260"/>
                <a:gd name="connsiteX1" fmla="*/ 582976 w 700375"/>
                <a:gd name="connsiteY1" fmla="*/ 238880 h 373260"/>
                <a:gd name="connsiteX2" fmla="*/ 51470 w 700375"/>
                <a:gd name="connsiteY2" fmla="*/ 369755 h 373260"/>
                <a:gd name="connsiteX3" fmla="*/ 51470 w 700375"/>
                <a:gd name="connsiteY3" fmla="*/ 261751 h 373260"/>
                <a:gd name="connsiteX4" fmla="*/ 505786 w 700375"/>
                <a:gd name="connsiteY4" fmla="*/ 161816 h 373260"/>
                <a:gd name="connsiteX5" fmla="*/ 580181 w 700375"/>
                <a:gd name="connsiteY5" fmla="*/ 74714 h 373260"/>
                <a:gd name="connsiteX6" fmla="*/ 587932 w 700375"/>
                <a:gd name="connsiteY6" fmla="*/ 56798 h 373260"/>
                <a:gd name="connsiteX7" fmla="*/ 587932 w 700375"/>
                <a:gd name="connsiteY7" fmla="*/ 59339 h 373260"/>
                <a:gd name="connsiteX8" fmla="*/ 590474 w 700375"/>
                <a:gd name="connsiteY8" fmla="*/ 51652 h 373260"/>
                <a:gd name="connsiteX9" fmla="*/ 593015 w 700375"/>
                <a:gd name="connsiteY9" fmla="*/ 38945 h 373260"/>
                <a:gd name="connsiteX10" fmla="*/ 698287 w 700375"/>
                <a:gd name="connsiteY10" fmla="*/ 67154 h 37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00375" h="373260">
                  <a:moveTo>
                    <a:pt x="698477" y="67344"/>
                  </a:moveTo>
                  <a:cubicBezTo>
                    <a:pt x="683039" y="133989"/>
                    <a:pt x="634310" y="195488"/>
                    <a:pt x="582976" y="238880"/>
                  </a:cubicBezTo>
                  <a:cubicBezTo>
                    <a:pt x="439014" y="362068"/>
                    <a:pt x="233933" y="382525"/>
                    <a:pt x="51470" y="369755"/>
                  </a:cubicBezTo>
                  <a:cubicBezTo>
                    <a:pt x="-17843" y="364609"/>
                    <a:pt x="-17843" y="256986"/>
                    <a:pt x="51470" y="261751"/>
                  </a:cubicBezTo>
                  <a:cubicBezTo>
                    <a:pt x="202930" y="274457"/>
                    <a:pt x="385139" y="264356"/>
                    <a:pt x="505786" y="161816"/>
                  </a:cubicBezTo>
                  <a:cubicBezTo>
                    <a:pt x="541681" y="131066"/>
                    <a:pt x="559660" y="110609"/>
                    <a:pt x="580181" y="74714"/>
                  </a:cubicBezTo>
                  <a:cubicBezTo>
                    <a:pt x="582284" y="68545"/>
                    <a:pt x="584876" y="62554"/>
                    <a:pt x="587932" y="56798"/>
                  </a:cubicBezTo>
                  <a:cubicBezTo>
                    <a:pt x="593015" y="46506"/>
                    <a:pt x="582786" y="69504"/>
                    <a:pt x="587932" y="59339"/>
                  </a:cubicBezTo>
                  <a:cubicBezTo>
                    <a:pt x="587932" y="56798"/>
                    <a:pt x="590474" y="54193"/>
                    <a:pt x="590474" y="51652"/>
                  </a:cubicBezTo>
                  <a:cubicBezTo>
                    <a:pt x="591077" y="47370"/>
                    <a:pt x="591928" y="43132"/>
                    <a:pt x="593015" y="38945"/>
                  </a:cubicBezTo>
                  <a:cubicBezTo>
                    <a:pt x="610994" y="-30241"/>
                    <a:pt x="713725" y="509"/>
                    <a:pt x="698287" y="67154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 41"/>
            <p:cNvSpPr/>
            <p:nvPr/>
          </p:nvSpPr>
          <p:spPr>
            <a:xfrm>
              <a:off x="5555003" y="2870989"/>
              <a:ext cx="617392" cy="613005"/>
            </a:xfrm>
            <a:custGeom>
              <a:avLst/>
              <a:gdLst>
                <a:gd name="connsiteX0" fmla="*/ 14860 w 545292"/>
                <a:gd name="connsiteY0" fmla="*/ 541208 h 541418"/>
                <a:gd name="connsiteX1" fmla="*/ 534550 w 545292"/>
                <a:gd name="connsiteY1" fmla="*/ 283332 h 541418"/>
                <a:gd name="connsiteX2" fmla="*/ 544778 w 545292"/>
                <a:gd name="connsiteY2" fmla="*/ -210 h 541418"/>
                <a:gd name="connsiteX3" fmla="*/ 544778 w 545292"/>
                <a:gd name="connsiteY3" fmla="*/ -210 h 541418"/>
                <a:gd name="connsiteX4" fmla="*/ 356661 w 545292"/>
                <a:gd name="connsiteY4" fmla="*/ 143562 h 541418"/>
                <a:gd name="connsiteX5" fmla="*/ -514 w 545292"/>
                <a:gd name="connsiteY5" fmla="*/ 353662 h 541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5292" h="541418">
                  <a:moveTo>
                    <a:pt x="14860" y="541208"/>
                  </a:moveTo>
                  <a:cubicBezTo>
                    <a:pt x="14860" y="541208"/>
                    <a:pt x="369367" y="543812"/>
                    <a:pt x="534550" y="283332"/>
                  </a:cubicBezTo>
                  <a:lnTo>
                    <a:pt x="544778" y="-210"/>
                  </a:lnTo>
                  <a:lnTo>
                    <a:pt x="544778" y="-210"/>
                  </a:lnTo>
                  <a:cubicBezTo>
                    <a:pt x="544778" y="-210"/>
                    <a:pt x="471018" y="3793"/>
                    <a:pt x="356661" y="143562"/>
                  </a:cubicBezTo>
                  <a:cubicBezTo>
                    <a:pt x="285251" y="230855"/>
                    <a:pt x="140653" y="363890"/>
                    <a:pt x="-514" y="353662"/>
                  </a:cubicBez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 42"/>
            <p:cNvSpPr/>
            <p:nvPr/>
          </p:nvSpPr>
          <p:spPr>
            <a:xfrm>
              <a:off x="4621893" y="1105990"/>
              <a:ext cx="1140920" cy="1998720"/>
            </a:xfrm>
            <a:custGeom>
              <a:avLst/>
              <a:gdLst>
                <a:gd name="connsiteX0" fmla="*/ 596690 w 1007682"/>
                <a:gd name="connsiteY0" fmla="*/ 1042540 h 1765307"/>
                <a:gd name="connsiteX1" fmla="*/ 596690 w 1007682"/>
                <a:gd name="connsiteY1" fmla="*/ 1209120 h 1765307"/>
                <a:gd name="connsiteX2" fmla="*/ 479747 w 1007682"/>
                <a:gd name="connsiteY2" fmla="*/ 1332124 h 1765307"/>
                <a:gd name="connsiteX3" fmla="*/ 473502 w 1007682"/>
                <a:gd name="connsiteY3" fmla="*/ 1332118 h 1765307"/>
                <a:gd name="connsiteX4" fmla="*/ 350314 w 1007682"/>
                <a:gd name="connsiteY4" fmla="*/ 1209120 h 1765307"/>
                <a:gd name="connsiteX5" fmla="*/ 350314 w 1007682"/>
                <a:gd name="connsiteY5" fmla="*/ 945209 h 1765307"/>
                <a:gd name="connsiteX6" fmla="*/ 352855 w 1007682"/>
                <a:gd name="connsiteY6" fmla="*/ 940063 h 1765307"/>
                <a:gd name="connsiteX7" fmla="*/ 350314 w 1007682"/>
                <a:gd name="connsiteY7" fmla="*/ 934981 h 1765307"/>
                <a:gd name="connsiteX8" fmla="*/ 473502 w 1007682"/>
                <a:gd name="connsiteY8" fmla="*/ 811983 h 1765307"/>
                <a:gd name="connsiteX9" fmla="*/ 760983 w 1007682"/>
                <a:gd name="connsiteY9" fmla="*/ 530157 h 1765307"/>
                <a:gd name="connsiteX10" fmla="*/ 473502 w 1007682"/>
                <a:gd name="connsiteY10" fmla="*/ 245725 h 1765307"/>
                <a:gd name="connsiteX11" fmla="*/ 229667 w 1007682"/>
                <a:gd name="connsiteY11" fmla="*/ 384097 h 1765307"/>
                <a:gd name="connsiteX12" fmla="*/ 62134 w 1007682"/>
                <a:gd name="connsiteY12" fmla="*/ 430888 h 1765307"/>
                <a:gd name="connsiteX13" fmla="*/ 15343 w 1007682"/>
                <a:gd name="connsiteY13" fmla="*/ 263355 h 1765307"/>
                <a:gd name="connsiteX14" fmla="*/ 16645 w 1007682"/>
                <a:gd name="connsiteY14" fmla="*/ 261100 h 1765307"/>
                <a:gd name="connsiteX15" fmla="*/ 473502 w 1007682"/>
                <a:gd name="connsiteY15" fmla="*/ -206 h 1765307"/>
                <a:gd name="connsiteX16" fmla="*/ 1007168 w 1007682"/>
                <a:gd name="connsiteY16" fmla="*/ 530157 h 1765307"/>
                <a:gd name="connsiteX17" fmla="*/ 596499 w 1007682"/>
                <a:gd name="connsiteY17" fmla="*/ 1042540 h 1765307"/>
                <a:gd name="connsiteX18" fmla="*/ 596690 w 1007682"/>
                <a:gd name="connsiteY18" fmla="*/ 1595965 h 1765307"/>
                <a:gd name="connsiteX19" fmla="*/ 596690 w 1007682"/>
                <a:gd name="connsiteY19" fmla="*/ 1642089 h 1765307"/>
                <a:gd name="connsiteX20" fmla="*/ 473502 w 1007682"/>
                <a:gd name="connsiteY20" fmla="*/ 1765086 h 1765307"/>
                <a:gd name="connsiteX21" fmla="*/ 350314 w 1007682"/>
                <a:gd name="connsiteY21" fmla="*/ 1645221 h 1765307"/>
                <a:gd name="connsiteX22" fmla="*/ 350314 w 1007682"/>
                <a:gd name="connsiteY22" fmla="*/ 1642089 h 1765307"/>
                <a:gd name="connsiteX23" fmla="*/ 350314 w 1007682"/>
                <a:gd name="connsiteY23" fmla="*/ 1595965 h 1765307"/>
                <a:gd name="connsiteX24" fmla="*/ 473502 w 1007682"/>
                <a:gd name="connsiteY24" fmla="*/ 1473031 h 1765307"/>
                <a:gd name="connsiteX25" fmla="*/ 596690 w 1007682"/>
                <a:gd name="connsiteY25" fmla="*/ 1592769 h 1765307"/>
                <a:gd name="connsiteX26" fmla="*/ 596690 w 1007682"/>
                <a:gd name="connsiteY26" fmla="*/ 1595965 h 1765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07682" h="1765307">
                  <a:moveTo>
                    <a:pt x="596690" y="1042540"/>
                  </a:moveTo>
                  <a:lnTo>
                    <a:pt x="596690" y="1209120"/>
                  </a:lnTo>
                  <a:cubicBezTo>
                    <a:pt x="598361" y="1275377"/>
                    <a:pt x="546004" y="1330447"/>
                    <a:pt x="479747" y="1332124"/>
                  </a:cubicBezTo>
                  <a:cubicBezTo>
                    <a:pt x="477663" y="1332175"/>
                    <a:pt x="475579" y="1332175"/>
                    <a:pt x="473502" y="1332118"/>
                  </a:cubicBezTo>
                  <a:cubicBezTo>
                    <a:pt x="405529" y="1332156"/>
                    <a:pt x="350384" y="1277093"/>
                    <a:pt x="350314" y="1209120"/>
                  </a:cubicBezTo>
                  <a:lnTo>
                    <a:pt x="350314" y="945209"/>
                  </a:lnTo>
                  <a:cubicBezTo>
                    <a:pt x="350314" y="942668"/>
                    <a:pt x="352855" y="942668"/>
                    <a:pt x="352855" y="940063"/>
                  </a:cubicBezTo>
                  <a:cubicBezTo>
                    <a:pt x="350314" y="937522"/>
                    <a:pt x="350314" y="937522"/>
                    <a:pt x="350314" y="934981"/>
                  </a:cubicBezTo>
                  <a:cubicBezTo>
                    <a:pt x="350314" y="870941"/>
                    <a:pt x="406793" y="811983"/>
                    <a:pt x="473502" y="811983"/>
                  </a:cubicBezTo>
                  <a:cubicBezTo>
                    <a:pt x="632649" y="811983"/>
                    <a:pt x="760983" y="686445"/>
                    <a:pt x="760983" y="530157"/>
                  </a:cubicBezTo>
                  <a:cubicBezTo>
                    <a:pt x="760983" y="368723"/>
                    <a:pt x="632649" y="245725"/>
                    <a:pt x="473502" y="245725"/>
                  </a:cubicBezTo>
                  <a:cubicBezTo>
                    <a:pt x="373636" y="246094"/>
                    <a:pt x="281198" y="298552"/>
                    <a:pt x="229667" y="384097"/>
                  </a:cubicBezTo>
                  <a:cubicBezTo>
                    <a:pt x="196326" y="443283"/>
                    <a:pt x="121320" y="464230"/>
                    <a:pt x="62134" y="430888"/>
                  </a:cubicBezTo>
                  <a:cubicBezTo>
                    <a:pt x="2948" y="397547"/>
                    <a:pt x="-17999" y="322541"/>
                    <a:pt x="15343" y="263355"/>
                  </a:cubicBezTo>
                  <a:cubicBezTo>
                    <a:pt x="15769" y="262599"/>
                    <a:pt x="16201" y="261850"/>
                    <a:pt x="16645" y="261100"/>
                  </a:cubicBezTo>
                  <a:cubicBezTo>
                    <a:pt x="111346" y="98668"/>
                    <a:pt x="285480" y="-930"/>
                    <a:pt x="473502" y="-206"/>
                  </a:cubicBezTo>
                  <a:cubicBezTo>
                    <a:pt x="766129" y="-206"/>
                    <a:pt x="1007168" y="235497"/>
                    <a:pt x="1007168" y="530157"/>
                  </a:cubicBezTo>
                  <a:cubicBezTo>
                    <a:pt x="1007168" y="778693"/>
                    <a:pt x="832647" y="988792"/>
                    <a:pt x="596499" y="1042540"/>
                  </a:cubicBezTo>
                  <a:close/>
                  <a:moveTo>
                    <a:pt x="596690" y="1595965"/>
                  </a:moveTo>
                  <a:lnTo>
                    <a:pt x="596690" y="1642089"/>
                  </a:lnTo>
                  <a:cubicBezTo>
                    <a:pt x="596690" y="1713816"/>
                    <a:pt x="545356" y="1765086"/>
                    <a:pt x="473502" y="1765086"/>
                  </a:cubicBezTo>
                  <a:cubicBezTo>
                    <a:pt x="406387" y="1766001"/>
                    <a:pt x="351235" y="1712336"/>
                    <a:pt x="350314" y="1645221"/>
                  </a:cubicBezTo>
                  <a:cubicBezTo>
                    <a:pt x="350301" y="1644179"/>
                    <a:pt x="350301" y="1643131"/>
                    <a:pt x="350314" y="1642089"/>
                  </a:cubicBezTo>
                  <a:lnTo>
                    <a:pt x="350314" y="1595965"/>
                  </a:lnTo>
                  <a:cubicBezTo>
                    <a:pt x="351305" y="1528386"/>
                    <a:pt x="405923" y="1473882"/>
                    <a:pt x="473502" y="1473031"/>
                  </a:cubicBezTo>
                  <a:cubicBezTo>
                    <a:pt x="540585" y="1472078"/>
                    <a:pt x="595737" y="1525686"/>
                    <a:pt x="596690" y="1592769"/>
                  </a:cubicBezTo>
                  <a:cubicBezTo>
                    <a:pt x="596703" y="1593830"/>
                    <a:pt x="596703" y="1594897"/>
                    <a:pt x="596690" y="1595965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 43"/>
            <p:cNvSpPr/>
            <p:nvPr/>
          </p:nvSpPr>
          <p:spPr>
            <a:xfrm>
              <a:off x="6447837" y="2687348"/>
              <a:ext cx="549892" cy="723736"/>
            </a:xfrm>
            <a:custGeom>
              <a:avLst/>
              <a:gdLst>
                <a:gd name="connsiteX0" fmla="*/ 104936 w 485675"/>
                <a:gd name="connsiteY0" fmla="*/ 49599 h 639217"/>
                <a:gd name="connsiteX1" fmla="*/ 228188 w 485675"/>
                <a:gd name="connsiteY1" fmla="*/ 397943 h 639217"/>
                <a:gd name="connsiteX2" fmla="*/ 282126 w 485675"/>
                <a:gd name="connsiteY2" fmla="*/ 492733 h 639217"/>
                <a:gd name="connsiteX3" fmla="*/ 305252 w 485675"/>
                <a:gd name="connsiteY3" fmla="*/ 523482 h 639217"/>
                <a:gd name="connsiteX4" fmla="*/ 315544 w 485675"/>
                <a:gd name="connsiteY4" fmla="*/ 533711 h 639217"/>
                <a:gd name="connsiteX5" fmla="*/ 294959 w 485675"/>
                <a:gd name="connsiteY5" fmla="*/ 533711 h 639217"/>
                <a:gd name="connsiteX6" fmla="*/ 310398 w 485675"/>
                <a:gd name="connsiteY6" fmla="*/ 513253 h 639217"/>
                <a:gd name="connsiteX7" fmla="*/ 341210 w 485675"/>
                <a:gd name="connsiteY7" fmla="*/ 456837 h 639217"/>
                <a:gd name="connsiteX8" fmla="*/ 379711 w 485675"/>
                <a:gd name="connsiteY8" fmla="*/ 308300 h 639217"/>
                <a:gd name="connsiteX9" fmla="*/ 484982 w 485675"/>
                <a:gd name="connsiteY9" fmla="*/ 308300 h 639217"/>
                <a:gd name="connsiteX10" fmla="*/ 364272 w 485675"/>
                <a:gd name="connsiteY10" fmla="*/ 613252 h 639217"/>
                <a:gd name="connsiteX11" fmla="*/ 179395 w 485675"/>
                <a:gd name="connsiteY11" fmla="*/ 528692 h 639217"/>
                <a:gd name="connsiteX12" fmla="*/ 53602 w 485675"/>
                <a:gd name="connsiteY12" fmla="*/ 267449 h 639217"/>
                <a:gd name="connsiteX13" fmla="*/ -336 w 485675"/>
                <a:gd name="connsiteY13" fmla="*/ 49726 h 639217"/>
                <a:gd name="connsiteX14" fmla="*/ 104936 w 485675"/>
                <a:gd name="connsiteY14" fmla="*/ 49726 h 639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85675" h="639217">
                  <a:moveTo>
                    <a:pt x="104936" y="49599"/>
                  </a:moveTo>
                  <a:cubicBezTo>
                    <a:pt x="115228" y="172533"/>
                    <a:pt x="174312" y="290384"/>
                    <a:pt x="228188" y="397943"/>
                  </a:cubicBezTo>
                  <a:cubicBezTo>
                    <a:pt x="246167" y="431234"/>
                    <a:pt x="261605" y="461983"/>
                    <a:pt x="282126" y="492733"/>
                  </a:cubicBezTo>
                  <a:lnTo>
                    <a:pt x="305252" y="523482"/>
                  </a:lnTo>
                  <a:cubicBezTo>
                    <a:pt x="307793" y="528565"/>
                    <a:pt x="320626" y="536188"/>
                    <a:pt x="315544" y="533711"/>
                  </a:cubicBezTo>
                  <a:cubicBezTo>
                    <a:pt x="297564" y="541398"/>
                    <a:pt x="290131" y="541398"/>
                    <a:pt x="294959" y="533711"/>
                  </a:cubicBezTo>
                  <a:cubicBezTo>
                    <a:pt x="302647" y="528565"/>
                    <a:pt x="305252" y="521004"/>
                    <a:pt x="310398" y="513253"/>
                  </a:cubicBezTo>
                  <a:cubicBezTo>
                    <a:pt x="322596" y="495566"/>
                    <a:pt x="332951" y="476659"/>
                    <a:pt x="341210" y="456837"/>
                  </a:cubicBezTo>
                  <a:cubicBezTo>
                    <a:pt x="364145" y="410497"/>
                    <a:pt x="377233" y="359932"/>
                    <a:pt x="379711" y="308300"/>
                  </a:cubicBezTo>
                  <a:cubicBezTo>
                    <a:pt x="382252" y="241719"/>
                    <a:pt x="490129" y="241719"/>
                    <a:pt x="484982" y="308300"/>
                  </a:cubicBezTo>
                  <a:cubicBezTo>
                    <a:pt x="479837" y="410777"/>
                    <a:pt x="441336" y="541398"/>
                    <a:pt x="364272" y="613252"/>
                  </a:cubicBezTo>
                  <a:cubicBezTo>
                    <a:pt x="287208" y="685107"/>
                    <a:pt x="218149" y="590190"/>
                    <a:pt x="179395" y="528692"/>
                  </a:cubicBezTo>
                  <a:cubicBezTo>
                    <a:pt x="128061" y="446736"/>
                    <a:pt x="92102" y="357156"/>
                    <a:pt x="53602" y="267449"/>
                  </a:cubicBezTo>
                  <a:cubicBezTo>
                    <a:pt x="25185" y="197869"/>
                    <a:pt x="7014" y="124528"/>
                    <a:pt x="-336" y="49726"/>
                  </a:cubicBezTo>
                  <a:cubicBezTo>
                    <a:pt x="-5419" y="-16855"/>
                    <a:pt x="99853" y="-16855"/>
                    <a:pt x="104936" y="49726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 44"/>
            <p:cNvSpPr/>
            <p:nvPr/>
          </p:nvSpPr>
          <p:spPr>
            <a:xfrm>
              <a:off x="6450484" y="2821356"/>
              <a:ext cx="595677" cy="626971"/>
            </a:xfrm>
            <a:custGeom>
              <a:avLst/>
              <a:gdLst>
                <a:gd name="connsiteX0" fmla="*/ 391667 w 526113"/>
                <a:gd name="connsiteY0" fmla="*/ 53983 h 553753"/>
                <a:gd name="connsiteX1" fmla="*/ 525083 w 526113"/>
                <a:gd name="connsiteY1" fmla="*/ 215734 h 553753"/>
                <a:gd name="connsiteX2" fmla="*/ 273815 w 526113"/>
                <a:gd name="connsiteY2" fmla="*/ 552135 h 553753"/>
                <a:gd name="connsiteX3" fmla="*/ -514 w 526113"/>
                <a:gd name="connsiteY3" fmla="*/ 53983 h 553753"/>
                <a:gd name="connsiteX4" fmla="*/ 137540 w 526113"/>
                <a:gd name="connsiteY4" fmla="*/ -210 h 553753"/>
                <a:gd name="connsiteX5" fmla="*/ 299037 w 526113"/>
                <a:gd name="connsiteY5" fmla="*/ 364398 h 553753"/>
                <a:gd name="connsiteX6" fmla="*/ 391667 w 526113"/>
                <a:gd name="connsiteY6" fmla="*/ 53983 h 553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6113" h="553753">
                  <a:moveTo>
                    <a:pt x="391667" y="53983"/>
                  </a:moveTo>
                  <a:cubicBezTo>
                    <a:pt x="391667" y="53983"/>
                    <a:pt x="535248" y="69357"/>
                    <a:pt x="525083" y="215734"/>
                  </a:cubicBezTo>
                  <a:cubicBezTo>
                    <a:pt x="514791" y="364653"/>
                    <a:pt x="391667" y="572656"/>
                    <a:pt x="273815" y="552135"/>
                  </a:cubicBezTo>
                  <a:cubicBezTo>
                    <a:pt x="155837" y="529009"/>
                    <a:pt x="27630" y="187463"/>
                    <a:pt x="-514" y="53983"/>
                  </a:cubicBezTo>
                  <a:lnTo>
                    <a:pt x="137540" y="-210"/>
                  </a:lnTo>
                  <a:cubicBezTo>
                    <a:pt x="137540" y="-210"/>
                    <a:pt x="275975" y="356711"/>
                    <a:pt x="299037" y="364398"/>
                  </a:cubicBezTo>
                  <a:lnTo>
                    <a:pt x="391667" y="53983"/>
                  </a:ln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 45"/>
            <p:cNvSpPr/>
            <p:nvPr/>
          </p:nvSpPr>
          <p:spPr>
            <a:xfrm>
              <a:off x="8263601" y="2004798"/>
              <a:ext cx="273214" cy="237195"/>
            </a:xfrm>
            <a:custGeom>
              <a:avLst/>
              <a:gdLst>
                <a:gd name="connsiteX0" fmla="*/ -513 w 241308"/>
                <a:gd name="connsiteY0" fmla="*/ 130082 h 209495"/>
                <a:gd name="connsiteX1" fmla="*/ 215813 w 241308"/>
                <a:gd name="connsiteY1" fmla="*/ 56513 h 209495"/>
                <a:gd name="connsiteX2" fmla="*/ 122294 w 241308"/>
                <a:gd name="connsiteY2" fmla="*/ 208608 h 209495"/>
                <a:gd name="connsiteX3" fmla="*/ 21470 w 241308"/>
                <a:gd name="connsiteY3" fmla="*/ 130972 h 2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308" h="209495">
                  <a:moveTo>
                    <a:pt x="-513" y="130082"/>
                  </a:moveTo>
                  <a:cubicBezTo>
                    <a:pt x="-1084" y="1177"/>
                    <a:pt x="150439" y="-48188"/>
                    <a:pt x="215813" y="56513"/>
                  </a:cubicBezTo>
                  <a:cubicBezTo>
                    <a:pt x="281187" y="161213"/>
                    <a:pt x="207046" y="216104"/>
                    <a:pt x="122294" y="208608"/>
                  </a:cubicBezTo>
                  <a:cubicBezTo>
                    <a:pt x="37543" y="201111"/>
                    <a:pt x="21470" y="130972"/>
                    <a:pt x="21470" y="130972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 46"/>
            <p:cNvSpPr/>
            <p:nvPr/>
          </p:nvSpPr>
          <p:spPr>
            <a:xfrm>
              <a:off x="8197929" y="2105151"/>
              <a:ext cx="197911" cy="239513"/>
            </a:xfrm>
            <a:custGeom>
              <a:avLst/>
              <a:gdLst>
                <a:gd name="connsiteX0" fmla="*/ -514 w 174799"/>
                <a:gd name="connsiteY0" fmla="*/ 24739 h 211542"/>
                <a:gd name="connsiteX1" fmla="*/ 166701 w 174799"/>
                <a:gd name="connsiteY1" fmla="*/ 92020 h 211542"/>
                <a:gd name="connsiteX2" fmla="*/ 160348 w 174799"/>
                <a:gd name="connsiteY2" fmla="*/ 211332 h 21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4799" h="211542">
                  <a:moveTo>
                    <a:pt x="-514" y="24739"/>
                  </a:moveTo>
                  <a:cubicBezTo>
                    <a:pt x="35890" y="-41461"/>
                    <a:pt x="146498" y="39161"/>
                    <a:pt x="166701" y="92020"/>
                  </a:cubicBezTo>
                  <a:cubicBezTo>
                    <a:pt x="186904" y="144878"/>
                    <a:pt x="160348" y="211332"/>
                    <a:pt x="160348" y="211332"/>
                  </a:cubicBez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 47"/>
            <p:cNvSpPr/>
            <p:nvPr/>
          </p:nvSpPr>
          <p:spPr>
            <a:xfrm>
              <a:off x="7774250" y="2086348"/>
              <a:ext cx="652587" cy="579300"/>
            </a:xfrm>
            <a:custGeom>
              <a:avLst/>
              <a:gdLst>
                <a:gd name="connsiteX0" fmla="*/ -514 w 576377"/>
                <a:gd name="connsiteY0" fmla="*/ 291788 h 511649"/>
                <a:gd name="connsiteX1" fmla="*/ 355898 w 576377"/>
                <a:gd name="connsiteY1" fmla="*/ 7992 h 511649"/>
                <a:gd name="connsiteX2" fmla="*/ 556976 w 576377"/>
                <a:gd name="connsiteY2" fmla="*/ 175842 h 511649"/>
                <a:gd name="connsiteX3" fmla="*/ 473114 w 576377"/>
                <a:gd name="connsiteY3" fmla="*/ 482701 h 511649"/>
                <a:gd name="connsiteX4" fmla="*/ -514 w 576377"/>
                <a:gd name="connsiteY4" fmla="*/ 291661 h 511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6377" h="511649">
                  <a:moveTo>
                    <a:pt x="-514" y="291788"/>
                  </a:moveTo>
                  <a:cubicBezTo>
                    <a:pt x="10667" y="33341"/>
                    <a:pt x="203739" y="-24473"/>
                    <a:pt x="355898" y="7992"/>
                  </a:cubicBezTo>
                  <a:cubicBezTo>
                    <a:pt x="508056" y="40456"/>
                    <a:pt x="556976" y="175842"/>
                    <a:pt x="556976" y="175842"/>
                  </a:cubicBezTo>
                  <a:cubicBezTo>
                    <a:pt x="556976" y="175842"/>
                    <a:pt x="635247" y="359195"/>
                    <a:pt x="473114" y="482701"/>
                  </a:cubicBezTo>
                  <a:cubicBezTo>
                    <a:pt x="310981" y="606206"/>
                    <a:pt x="-514" y="291661"/>
                    <a:pt x="-514" y="291661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 48"/>
            <p:cNvSpPr/>
            <p:nvPr/>
          </p:nvSpPr>
          <p:spPr>
            <a:xfrm>
              <a:off x="7926027" y="2682959"/>
              <a:ext cx="248884" cy="276290"/>
            </a:xfrm>
            <a:custGeom>
              <a:avLst/>
              <a:gdLst>
                <a:gd name="connsiteX0" fmla="*/ 109395 w 219819"/>
                <a:gd name="connsiteY0" fmla="*/ 243815 h 244025"/>
                <a:gd name="connsiteX1" fmla="*/ 109395 w 219819"/>
                <a:gd name="connsiteY1" fmla="*/ 243815 h 244025"/>
                <a:gd name="connsiteX2" fmla="*/ -514 w 219819"/>
                <a:gd name="connsiteY2" fmla="*/ 160906 h 244025"/>
                <a:gd name="connsiteX3" fmla="*/ -514 w 219819"/>
                <a:gd name="connsiteY3" fmla="*/ -210 h 244025"/>
                <a:gd name="connsiteX4" fmla="*/ 219305 w 219819"/>
                <a:gd name="connsiteY4" fmla="*/ -210 h 244025"/>
                <a:gd name="connsiteX5" fmla="*/ 219305 w 219819"/>
                <a:gd name="connsiteY5" fmla="*/ 160017 h 244025"/>
                <a:gd name="connsiteX6" fmla="*/ 110602 w 219819"/>
                <a:gd name="connsiteY6" fmla="*/ 243815 h 244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819" h="244025">
                  <a:moveTo>
                    <a:pt x="109395" y="243815"/>
                  </a:moveTo>
                  <a:lnTo>
                    <a:pt x="109395" y="243815"/>
                  </a:lnTo>
                  <a:cubicBezTo>
                    <a:pt x="48976" y="243815"/>
                    <a:pt x="-197" y="206967"/>
                    <a:pt x="-514" y="160906"/>
                  </a:cubicBezTo>
                  <a:lnTo>
                    <a:pt x="-514" y="-210"/>
                  </a:lnTo>
                  <a:lnTo>
                    <a:pt x="219305" y="-210"/>
                  </a:lnTo>
                  <a:lnTo>
                    <a:pt x="219305" y="160017"/>
                  </a:lnTo>
                  <a:cubicBezTo>
                    <a:pt x="219305" y="206014"/>
                    <a:pt x="170958" y="243498"/>
                    <a:pt x="110602" y="243815"/>
                  </a:cubicBez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 49"/>
            <p:cNvSpPr/>
            <p:nvPr/>
          </p:nvSpPr>
          <p:spPr>
            <a:xfrm>
              <a:off x="7730087" y="2415564"/>
              <a:ext cx="132524" cy="169000"/>
            </a:xfrm>
            <a:custGeom>
              <a:avLst/>
              <a:gdLst>
                <a:gd name="connsiteX0" fmla="*/ 93764 w 117048"/>
                <a:gd name="connsiteY0" fmla="*/ 41043 h 149264"/>
                <a:gd name="connsiteX1" fmla="*/ 1072 w 117048"/>
                <a:gd name="connsiteY1" fmla="*/ 45490 h 149264"/>
                <a:gd name="connsiteX2" fmla="*/ 95670 w 117048"/>
                <a:gd name="connsiteY2" fmla="*/ 138183 h 149264"/>
                <a:gd name="connsiteX3" fmla="*/ 93764 w 117048"/>
                <a:gd name="connsiteY3" fmla="*/ 41043 h 149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7048" h="149264">
                  <a:moveTo>
                    <a:pt x="93764" y="41043"/>
                  </a:moveTo>
                  <a:cubicBezTo>
                    <a:pt x="64540" y="-28842"/>
                    <a:pt x="9394" y="2098"/>
                    <a:pt x="1072" y="45490"/>
                  </a:cubicBezTo>
                  <a:cubicBezTo>
                    <a:pt x="-10936" y="108450"/>
                    <a:pt x="47640" y="175857"/>
                    <a:pt x="95670" y="138183"/>
                  </a:cubicBezTo>
                  <a:cubicBezTo>
                    <a:pt x="143700" y="100509"/>
                    <a:pt x="93764" y="41043"/>
                    <a:pt x="93764" y="41043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 50"/>
            <p:cNvSpPr/>
            <p:nvPr/>
          </p:nvSpPr>
          <p:spPr>
            <a:xfrm>
              <a:off x="8248927" y="2523567"/>
              <a:ext cx="148402" cy="155616"/>
            </a:xfrm>
            <a:custGeom>
              <a:avLst/>
              <a:gdLst>
                <a:gd name="connsiteX0" fmla="*/ 44850 w 131071"/>
                <a:gd name="connsiteY0" fmla="*/ 23606 h 137443"/>
                <a:gd name="connsiteX1" fmla="*/ 129474 w 131071"/>
                <a:gd name="connsiteY1" fmla="*/ 61725 h 137443"/>
                <a:gd name="connsiteX2" fmla="*/ 7430 w 131071"/>
                <a:gd name="connsiteY2" fmla="*/ 113122 h 137443"/>
                <a:gd name="connsiteX3" fmla="*/ 44850 w 131071"/>
                <a:gd name="connsiteY3" fmla="*/ 23479 h 137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071" h="137443">
                  <a:moveTo>
                    <a:pt x="44850" y="23606"/>
                  </a:moveTo>
                  <a:cubicBezTo>
                    <a:pt x="97708" y="-30396"/>
                    <a:pt x="137734" y="18397"/>
                    <a:pt x="129474" y="61725"/>
                  </a:cubicBezTo>
                  <a:cubicBezTo>
                    <a:pt x="117466" y="124685"/>
                    <a:pt x="38115" y="165790"/>
                    <a:pt x="7430" y="113122"/>
                  </a:cubicBezTo>
                  <a:cubicBezTo>
                    <a:pt x="-23256" y="60455"/>
                    <a:pt x="44850" y="23479"/>
                    <a:pt x="44850" y="23479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 51"/>
            <p:cNvSpPr/>
            <p:nvPr/>
          </p:nvSpPr>
          <p:spPr>
            <a:xfrm>
              <a:off x="7809723" y="2240589"/>
              <a:ext cx="532212" cy="546181"/>
            </a:xfrm>
            <a:custGeom>
              <a:avLst/>
              <a:gdLst>
                <a:gd name="connsiteX0" fmla="*/ 180923 w 470060"/>
                <a:gd name="connsiteY0" fmla="*/ 478301 h 482397"/>
                <a:gd name="connsiteX1" fmla="*/ 29463 w 470060"/>
                <a:gd name="connsiteY1" fmla="*/ 77479 h 482397"/>
                <a:gd name="connsiteX2" fmla="*/ 469484 w 470060"/>
                <a:gd name="connsiteY2" fmla="*/ 161341 h 482397"/>
                <a:gd name="connsiteX3" fmla="*/ 180923 w 470060"/>
                <a:gd name="connsiteY3" fmla="*/ 478301 h 482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0060" h="482397">
                  <a:moveTo>
                    <a:pt x="180923" y="478301"/>
                  </a:moveTo>
                  <a:cubicBezTo>
                    <a:pt x="19045" y="447488"/>
                    <a:pt x="-42962" y="252065"/>
                    <a:pt x="29463" y="77479"/>
                  </a:cubicBezTo>
                  <a:cubicBezTo>
                    <a:pt x="89247" y="-66293"/>
                    <a:pt x="466880" y="5688"/>
                    <a:pt x="469484" y="161341"/>
                  </a:cubicBezTo>
                  <a:cubicBezTo>
                    <a:pt x="472788" y="350348"/>
                    <a:pt x="342929" y="509304"/>
                    <a:pt x="180923" y="47830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 52"/>
            <p:cNvSpPr/>
            <p:nvPr/>
          </p:nvSpPr>
          <p:spPr>
            <a:xfrm>
              <a:off x="7789201" y="2165401"/>
              <a:ext cx="375782" cy="560573"/>
            </a:xfrm>
            <a:custGeom>
              <a:avLst/>
              <a:gdLst>
                <a:gd name="connsiteX0" fmla="*/ 331384 w 331898"/>
                <a:gd name="connsiteY0" fmla="*/ 36709 h 495109"/>
                <a:gd name="connsiteX1" fmla="*/ 61184 w 331898"/>
                <a:gd name="connsiteY1" fmla="*/ 494899 h 495109"/>
                <a:gd name="connsiteX2" fmla="*/ 61184 w 331898"/>
                <a:gd name="connsiteY2" fmla="*/ 494899 h 495109"/>
                <a:gd name="connsiteX3" fmla="*/ 42633 w 331898"/>
                <a:gd name="connsiteY3" fmla="*/ 73430 h 495109"/>
                <a:gd name="connsiteX4" fmla="*/ 331384 w 331898"/>
                <a:gd name="connsiteY4" fmla="*/ 36709 h 495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898" h="495109">
                  <a:moveTo>
                    <a:pt x="331384" y="36709"/>
                  </a:moveTo>
                  <a:cubicBezTo>
                    <a:pt x="45491" y="74002"/>
                    <a:pt x="40409" y="335308"/>
                    <a:pt x="61184" y="494899"/>
                  </a:cubicBezTo>
                  <a:lnTo>
                    <a:pt x="61184" y="494899"/>
                  </a:lnTo>
                  <a:cubicBezTo>
                    <a:pt x="61184" y="494899"/>
                    <a:pt x="-64292" y="213962"/>
                    <a:pt x="42633" y="73430"/>
                  </a:cubicBezTo>
                  <a:cubicBezTo>
                    <a:pt x="149556" y="-67102"/>
                    <a:pt x="331384" y="36709"/>
                    <a:pt x="331384" y="36709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 53"/>
            <p:cNvSpPr/>
            <p:nvPr/>
          </p:nvSpPr>
          <p:spPr>
            <a:xfrm>
              <a:off x="7703109" y="2838260"/>
              <a:ext cx="683282" cy="765140"/>
            </a:xfrm>
            <a:custGeom>
              <a:avLst/>
              <a:gdLst>
                <a:gd name="connsiteX0" fmla="*/ 602973 w 603487"/>
                <a:gd name="connsiteY0" fmla="*/ 61225 h 675786"/>
                <a:gd name="connsiteX1" fmla="*/ 415491 w 603487"/>
                <a:gd name="connsiteY1" fmla="*/ -210 h 675786"/>
                <a:gd name="connsiteX2" fmla="*/ 302532 w 603487"/>
                <a:gd name="connsiteY2" fmla="*/ 86828 h 675786"/>
                <a:gd name="connsiteX3" fmla="*/ 299927 w 603487"/>
                <a:gd name="connsiteY3" fmla="*/ 86828 h 675786"/>
                <a:gd name="connsiteX4" fmla="*/ 197260 w 603487"/>
                <a:gd name="connsiteY4" fmla="*/ -210 h 675786"/>
                <a:gd name="connsiteX5" fmla="*/ -514 w 603487"/>
                <a:gd name="connsiteY5" fmla="*/ 61225 h 675786"/>
                <a:gd name="connsiteX6" fmla="*/ 24898 w 603487"/>
                <a:gd name="connsiteY6" fmla="*/ 268529 h 675786"/>
                <a:gd name="connsiteX7" fmla="*/ 50311 w 603487"/>
                <a:gd name="connsiteY7" fmla="*/ 406774 h 675786"/>
                <a:gd name="connsiteX8" fmla="*/ 88811 w 603487"/>
                <a:gd name="connsiteY8" fmla="*/ 675577 h 675786"/>
                <a:gd name="connsiteX9" fmla="*/ 512504 w 603487"/>
                <a:gd name="connsiteY9" fmla="*/ 675577 h 675786"/>
                <a:gd name="connsiteX10" fmla="*/ 553609 w 603487"/>
                <a:gd name="connsiteY10" fmla="*/ 406774 h 675786"/>
                <a:gd name="connsiteX11" fmla="*/ 576735 w 603487"/>
                <a:gd name="connsiteY11" fmla="*/ 268529 h 675786"/>
                <a:gd name="connsiteX12" fmla="*/ 602147 w 603487"/>
                <a:gd name="connsiteY12" fmla="*/ 61225 h 675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03487" h="675786">
                  <a:moveTo>
                    <a:pt x="602973" y="61225"/>
                  </a:moveTo>
                  <a:lnTo>
                    <a:pt x="415491" y="-210"/>
                  </a:lnTo>
                  <a:cubicBezTo>
                    <a:pt x="400116" y="66308"/>
                    <a:pt x="315365" y="86828"/>
                    <a:pt x="302532" y="86828"/>
                  </a:cubicBezTo>
                  <a:lnTo>
                    <a:pt x="299927" y="86828"/>
                  </a:lnTo>
                  <a:cubicBezTo>
                    <a:pt x="287220" y="86828"/>
                    <a:pt x="212634" y="66308"/>
                    <a:pt x="197260" y="-210"/>
                  </a:cubicBezTo>
                  <a:lnTo>
                    <a:pt x="-514" y="61225"/>
                  </a:lnTo>
                  <a:lnTo>
                    <a:pt x="24898" y="268529"/>
                  </a:lnTo>
                  <a:cubicBezTo>
                    <a:pt x="24898" y="268529"/>
                    <a:pt x="9460" y="347880"/>
                    <a:pt x="50311" y="406774"/>
                  </a:cubicBezTo>
                  <a:cubicBezTo>
                    <a:pt x="88811" y="463063"/>
                    <a:pt x="88811" y="675577"/>
                    <a:pt x="88811" y="675577"/>
                  </a:cubicBezTo>
                  <a:lnTo>
                    <a:pt x="512504" y="675577"/>
                  </a:lnTo>
                  <a:cubicBezTo>
                    <a:pt x="512504" y="675577"/>
                    <a:pt x="512504" y="463063"/>
                    <a:pt x="553609" y="406774"/>
                  </a:cubicBezTo>
                  <a:cubicBezTo>
                    <a:pt x="592109" y="347880"/>
                    <a:pt x="576735" y="268529"/>
                    <a:pt x="576735" y="268529"/>
                  </a:cubicBezTo>
                  <a:lnTo>
                    <a:pt x="602147" y="61225"/>
                  </a:ln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 54"/>
            <p:cNvSpPr/>
            <p:nvPr/>
          </p:nvSpPr>
          <p:spPr>
            <a:xfrm>
              <a:off x="7668222" y="2246131"/>
              <a:ext cx="203061" cy="147805"/>
            </a:xfrm>
            <a:custGeom>
              <a:avLst/>
              <a:gdLst>
                <a:gd name="connsiteX0" fmla="*/ -514 w 179347"/>
                <a:gd name="connsiteY0" fmla="*/ 71186 h 130544"/>
                <a:gd name="connsiteX1" fmla="*/ 171784 w 179347"/>
                <a:gd name="connsiteY1" fmla="*/ 4287 h 130544"/>
                <a:gd name="connsiteX2" fmla="*/ 43195 w 179347"/>
                <a:gd name="connsiteY2" fmla="*/ 130334 h 130544"/>
                <a:gd name="connsiteX3" fmla="*/ -514 w 179347"/>
                <a:gd name="connsiteY3" fmla="*/ 71186 h 130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9347" h="130544">
                  <a:moveTo>
                    <a:pt x="-514" y="71186"/>
                  </a:moveTo>
                  <a:cubicBezTo>
                    <a:pt x="-514" y="71186"/>
                    <a:pt x="146053" y="-21379"/>
                    <a:pt x="171784" y="4287"/>
                  </a:cubicBezTo>
                  <a:cubicBezTo>
                    <a:pt x="197196" y="27477"/>
                    <a:pt x="153804" y="73728"/>
                    <a:pt x="43195" y="130334"/>
                  </a:cubicBezTo>
                  <a:lnTo>
                    <a:pt x="-514" y="71186"/>
                  </a:ln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 55"/>
            <p:cNvSpPr/>
            <p:nvPr/>
          </p:nvSpPr>
          <p:spPr>
            <a:xfrm>
              <a:off x="7253337" y="2273163"/>
              <a:ext cx="519616" cy="812040"/>
            </a:xfrm>
            <a:custGeom>
              <a:avLst/>
              <a:gdLst>
                <a:gd name="connsiteX0" fmla="*/ 396859 w 458935"/>
                <a:gd name="connsiteY0" fmla="*/ 560775 h 717209"/>
                <a:gd name="connsiteX1" fmla="*/ 147942 w 458935"/>
                <a:gd name="connsiteY1" fmla="*/ 358426 h 717209"/>
                <a:gd name="connsiteX2" fmla="*/ 458421 w 458935"/>
                <a:gd name="connsiteY2" fmla="*/ 107349 h 717209"/>
                <a:gd name="connsiteX3" fmla="*/ 409628 w 458935"/>
                <a:gd name="connsiteY3" fmla="*/ -210 h 717209"/>
                <a:gd name="connsiteX4" fmla="*/ 4297 w 458935"/>
                <a:gd name="connsiteY4" fmla="*/ 348134 h 717209"/>
                <a:gd name="connsiteX5" fmla="*/ 417253 w 458935"/>
                <a:gd name="connsiteY5" fmla="*/ 716999 h 717209"/>
                <a:gd name="connsiteX6" fmla="*/ 396732 w 458935"/>
                <a:gd name="connsiteY6" fmla="*/ 560775 h 717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8935" h="717209">
                  <a:moveTo>
                    <a:pt x="396859" y="560775"/>
                  </a:moveTo>
                  <a:cubicBezTo>
                    <a:pt x="396859" y="560775"/>
                    <a:pt x="158234" y="399404"/>
                    <a:pt x="147942" y="358426"/>
                  </a:cubicBezTo>
                  <a:cubicBezTo>
                    <a:pt x="137713" y="320307"/>
                    <a:pt x="458421" y="107349"/>
                    <a:pt x="458421" y="107349"/>
                  </a:cubicBezTo>
                  <a:lnTo>
                    <a:pt x="409628" y="-210"/>
                  </a:lnTo>
                  <a:cubicBezTo>
                    <a:pt x="409628" y="-210"/>
                    <a:pt x="47879" y="230346"/>
                    <a:pt x="4297" y="348134"/>
                  </a:cubicBezTo>
                  <a:cubicBezTo>
                    <a:pt x="-41891" y="465986"/>
                    <a:pt x="255691" y="696542"/>
                    <a:pt x="417253" y="716999"/>
                  </a:cubicBezTo>
                  <a:lnTo>
                    <a:pt x="396732" y="560775"/>
                  </a:ln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 56"/>
            <p:cNvSpPr/>
            <p:nvPr/>
          </p:nvSpPr>
          <p:spPr>
            <a:xfrm>
              <a:off x="7861504" y="4281217"/>
              <a:ext cx="152998" cy="1017478"/>
            </a:xfrm>
            <a:custGeom>
              <a:avLst/>
              <a:gdLst>
                <a:gd name="connsiteX0" fmla="*/ 126555 w 135131"/>
                <a:gd name="connsiteY0" fmla="*/ 898656 h 898656"/>
                <a:gd name="connsiteX1" fmla="*/ 0 w 135131"/>
                <a:gd name="connsiteY1" fmla="*/ 898656 h 898656"/>
                <a:gd name="connsiteX2" fmla="*/ 0 w 135131"/>
                <a:gd name="connsiteY2" fmla="*/ 0 h 898656"/>
                <a:gd name="connsiteX3" fmla="*/ 135132 w 135131"/>
                <a:gd name="connsiteY3" fmla="*/ 0 h 898656"/>
                <a:gd name="connsiteX4" fmla="*/ 126555 w 135131"/>
                <a:gd name="connsiteY4" fmla="*/ 898656 h 898656"/>
                <a:gd name="connsiteX5" fmla="*/ 126555 w 135131"/>
                <a:gd name="connsiteY5" fmla="*/ 898656 h 898656"/>
                <a:gd name="connsiteX6" fmla="*/ 126555 w 135131"/>
                <a:gd name="connsiteY6" fmla="*/ 898656 h 898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131" h="898656">
                  <a:moveTo>
                    <a:pt x="126555" y="898656"/>
                  </a:moveTo>
                  <a:lnTo>
                    <a:pt x="0" y="898656"/>
                  </a:lnTo>
                  <a:lnTo>
                    <a:pt x="0" y="0"/>
                  </a:lnTo>
                  <a:lnTo>
                    <a:pt x="135132" y="0"/>
                  </a:lnTo>
                  <a:lnTo>
                    <a:pt x="126555" y="898656"/>
                  </a:lnTo>
                  <a:lnTo>
                    <a:pt x="126555" y="898656"/>
                  </a:lnTo>
                  <a:lnTo>
                    <a:pt x="126555" y="898656"/>
                  </a:ln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 57"/>
            <p:cNvSpPr/>
            <p:nvPr/>
          </p:nvSpPr>
          <p:spPr>
            <a:xfrm>
              <a:off x="7703109" y="5287978"/>
              <a:ext cx="316405" cy="123506"/>
            </a:xfrm>
            <a:custGeom>
              <a:avLst/>
              <a:gdLst>
                <a:gd name="connsiteX0" fmla="*/ 264603 w 279455"/>
                <a:gd name="connsiteY0" fmla="*/ -210 h 109083"/>
                <a:gd name="connsiteX1" fmla="*/ 138493 w 279455"/>
                <a:gd name="connsiteY1" fmla="*/ -210 h 109083"/>
                <a:gd name="connsiteX2" fmla="*/ -514 w 279455"/>
                <a:gd name="connsiteY2" fmla="*/ 96168 h 109083"/>
                <a:gd name="connsiteX3" fmla="*/ -514 w 279455"/>
                <a:gd name="connsiteY3" fmla="*/ 108874 h 109083"/>
                <a:gd name="connsiteX4" fmla="*/ 277500 w 279455"/>
                <a:gd name="connsiteY4" fmla="*/ 108874 h 109083"/>
                <a:gd name="connsiteX5" fmla="*/ 264794 w 279455"/>
                <a:gd name="connsiteY5" fmla="*/ -210 h 109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9455" h="109083">
                  <a:moveTo>
                    <a:pt x="264603" y="-210"/>
                  </a:moveTo>
                  <a:lnTo>
                    <a:pt x="138493" y="-210"/>
                  </a:lnTo>
                  <a:cubicBezTo>
                    <a:pt x="138493" y="-210"/>
                    <a:pt x="12382" y="68277"/>
                    <a:pt x="-514" y="96168"/>
                  </a:cubicBezTo>
                  <a:lnTo>
                    <a:pt x="-514" y="108874"/>
                  </a:lnTo>
                  <a:lnTo>
                    <a:pt x="277500" y="108874"/>
                  </a:lnTo>
                  <a:cubicBezTo>
                    <a:pt x="277500" y="108874"/>
                    <a:pt x="285251" y="27681"/>
                    <a:pt x="264794" y="-210"/>
                  </a:cubicBez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 58"/>
            <p:cNvSpPr/>
            <p:nvPr/>
          </p:nvSpPr>
          <p:spPr>
            <a:xfrm>
              <a:off x="7703109" y="5411484"/>
              <a:ext cx="314126" cy="18773"/>
            </a:xfrm>
            <a:custGeom>
              <a:avLst/>
              <a:gdLst>
                <a:gd name="connsiteX0" fmla="*/ 0 w 277442"/>
                <a:gd name="connsiteY0" fmla="*/ 0 h 16581"/>
                <a:gd name="connsiteX1" fmla="*/ 277443 w 277442"/>
                <a:gd name="connsiteY1" fmla="*/ 0 h 16581"/>
                <a:gd name="connsiteX2" fmla="*/ 277443 w 277442"/>
                <a:gd name="connsiteY2" fmla="*/ 16582 h 16581"/>
                <a:gd name="connsiteX3" fmla="*/ 0 w 277442"/>
                <a:gd name="connsiteY3" fmla="*/ 16582 h 16581"/>
                <a:gd name="connsiteX4" fmla="*/ 0 w 277442"/>
                <a:gd name="connsiteY4" fmla="*/ 0 h 16581"/>
                <a:gd name="connsiteX5" fmla="*/ 0 w 277442"/>
                <a:gd name="connsiteY5" fmla="*/ 0 h 16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7442" h="16581">
                  <a:moveTo>
                    <a:pt x="0" y="0"/>
                  </a:moveTo>
                  <a:lnTo>
                    <a:pt x="277443" y="0"/>
                  </a:lnTo>
                  <a:lnTo>
                    <a:pt x="277443" y="16582"/>
                  </a:lnTo>
                  <a:lnTo>
                    <a:pt x="0" y="1658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 59"/>
            <p:cNvSpPr/>
            <p:nvPr/>
          </p:nvSpPr>
          <p:spPr>
            <a:xfrm>
              <a:off x="8074926" y="4281217"/>
              <a:ext cx="154366" cy="1017478"/>
            </a:xfrm>
            <a:custGeom>
              <a:avLst/>
              <a:gdLst>
                <a:gd name="connsiteX0" fmla="*/ 8704 w 136339"/>
                <a:gd name="connsiteY0" fmla="*/ 898656 h 898656"/>
                <a:gd name="connsiteX1" fmla="*/ 136339 w 136339"/>
                <a:gd name="connsiteY1" fmla="*/ 898656 h 898656"/>
                <a:gd name="connsiteX2" fmla="*/ 136339 w 136339"/>
                <a:gd name="connsiteY2" fmla="*/ 0 h 898656"/>
                <a:gd name="connsiteX3" fmla="*/ 0 w 136339"/>
                <a:gd name="connsiteY3" fmla="*/ 0 h 898656"/>
                <a:gd name="connsiteX4" fmla="*/ 8704 w 136339"/>
                <a:gd name="connsiteY4" fmla="*/ 898656 h 898656"/>
                <a:gd name="connsiteX5" fmla="*/ 8704 w 136339"/>
                <a:gd name="connsiteY5" fmla="*/ 898656 h 898656"/>
                <a:gd name="connsiteX6" fmla="*/ 8704 w 136339"/>
                <a:gd name="connsiteY6" fmla="*/ 898656 h 898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6339" h="898656">
                  <a:moveTo>
                    <a:pt x="8704" y="898656"/>
                  </a:moveTo>
                  <a:lnTo>
                    <a:pt x="136339" y="898656"/>
                  </a:lnTo>
                  <a:lnTo>
                    <a:pt x="136339" y="0"/>
                  </a:lnTo>
                  <a:lnTo>
                    <a:pt x="0" y="0"/>
                  </a:lnTo>
                  <a:lnTo>
                    <a:pt x="8704" y="898656"/>
                  </a:lnTo>
                  <a:lnTo>
                    <a:pt x="8704" y="898656"/>
                  </a:lnTo>
                  <a:lnTo>
                    <a:pt x="8704" y="898656"/>
                  </a:ln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 60"/>
            <p:cNvSpPr/>
            <p:nvPr/>
          </p:nvSpPr>
          <p:spPr>
            <a:xfrm>
              <a:off x="8073764" y="5287978"/>
              <a:ext cx="312627" cy="123506"/>
            </a:xfrm>
            <a:custGeom>
              <a:avLst/>
              <a:gdLst>
                <a:gd name="connsiteX0" fmla="*/ 11376 w 276118"/>
                <a:gd name="connsiteY0" fmla="*/ -210 h 109083"/>
                <a:gd name="connsiteX1" fmla="*/ 139646 w 276118"/>
                <a:gd name="connsiteY1" fmla="*/ -210 h 109083"/>
                <a:gd name="connsiteX2" fmla="*/ 275604 w 276118"/>
                <a:gd name="connsiteY2" fmla="*/ 96168 h 109083"/>
                <a:gd name="connsiteX3" fmla="*/ 275604 w 276118"/>
                <a:gd name="connsiteY3" fmla="*/ 108874 h 109083"/>
                <a:gd name="connsiteX4" fmla="*/ 1147 w 276118"/>
                <a:gd name="connsiteY4" fmla="*/ 108874 h 109083"/>
                <a:gd name="connsiteX5" fmla="*/ 11376 w 276118"/>
                <a:gd name="connsiteY5" fmla="*/ -210 h 109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6118" h="109083">
                  <a:moveTo>
                    <a:pt x="11376" y="-210"/>
                  </a:moveTo>
                  <a:lnTo>
                    <a:pt x="139646" y="-210"/>
                  </a:lnTo>
                  <a:cubicBezTo>
                    <a:pt x="139646" y="-210"/>
                    <a:pt x="262771" y="68277"/>
                    <a:pt x="275604" y="96168"/>
                  </a:cubicBezTo>
                  <a:lnTo>
                    <a:pt x="275604" y="108874"/>
                  </a:lnTo>
                  <a:lnTo>
                    <a:pt x="1147" y="108874"/>
                  </a:lnTo>
                  <a:cubicBezTo>
                    <a:pt x="1147" y="108874"/>
                    <a:pt x="-6604" y="27681"/>
                    <a:pt x="11376" y="-210"/>
                  </a:cubicBez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 61"/>
            <p:cNvSpPr/>
            <p:nvPr/>
          </p:nvSpPr>
          <p:spPr>
            <a:xfrm>
              <a:off x="8074926" y="5411484"/>
              <a:ext cx="311393" cy="18773"/>
            </a:xfrm>
            <a:custGeom>
              <a:avLst/>
              <a:gdLst>
                <a:gd name="connsiteX0" fmla="*/ 0 w 275028"/>
                <a:gd name="connsiteY0" fmla="*/ 0 h 16581"/>
                <a:gd name="connsiteX1" fmla="*/ 275029 w 275028"/>
                <a:gd name="connsiteY1" fmla="*/ 0 h 16581"/>
                <a:gd name="connsiteX2" fmla="*/ 275029 w 275028"/>
                <a:gd name="connsiteY2" fmla="*/ 16582 h 16581"/>
                <a:gd name="connsiteX3" fmla="*/ 0 w 275028"/>
                <a:gd name="connsiteY3" fmla="*/ 16582 h 16581"/>
                <a:gd name="connsiteX4" fmla="*/ 0 w 275028"/>
                <a:gd name="connsiteY4" fmla="*/ 0 h 16581"/>
                <a:gd name="connsiteX5" fmla="*/ 0 w 275028"/>
                <a:gd name="connsiteY5" fmla="*/ 0 h 16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5028" h="16581">
                  <a:moveTo>
                    <a:pt x="0" y="0"/>
                  </a:moveTo>
                  <a:lnTo>
                    <a:pt x="275029" y="0"/>
                  </a:lnTo>
                  <a:lnTo>
                    <a:pt x="275029" y="16582"/>
                  </a:lnTo>
                  <a:lnTo>
                    <a:pt x="0" y="1658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 62"/>
            <p:cNvSpPr/>
            <p:nvPr/>
          </p:nvSpPr>
          <p:spPr>
            <a:xfrm>
              <a:off x="7564855" y="3584555"/>
              <a:ext cx="961084" cy="1110846"/>
            </a:xfrm>
            <a:custGeom>
              <a:avLst/>
              <a:gdLst>
                <a:gd name="connsiteX0" fmla="*/ 635502 w 848847"/>
                <a:gd name="connsiteY0" fmla="*/ -210 h 981120"/>
                <a:gd name="connsiteX1" fmla="*/ 212380 w 848847"/>
                <a:gd name="connsiteY1" fmla="*/ -210 h 981120"/>
                <a:gd name="connsiteX2" fmla="*/ -514 w 848847"/>
                <a:gd name="connsiteY2" fmla="*/ 980910 h 981120"/>
                <a:gd name="connsiteX3" fmla="*/ 848334 w 848847"/>
                <a:gd name="connsiteY3" fmla="*/ 980910 h 981120"/>
                <a:gd name="connsiteX4" fmla="*/ 635502 w 848847"/>
                <a:gd name="connsiteY4" fmla="*/ -210 h 981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8847" h="981120">
                  <a:moveTo>
                    <a:pt x="635502" y="-210"/>
                  </a:moveTo>
                  <a:lnTo>
                    <a:pt x="212380" y="-210"/>
                  </a:lnTo>
                  <a:cubicBezTo>
                    <a:pt x="12319" y="253281"/>
                    <a:pt x="-514" y="980910"/>
                    <a:pt x="-514" y="980910"/>
                  </a:cubicBezTo>
                  <a:lnTo>
                    <a:pt x="848334" y="980910"/>
                  </a:lnTo>
                  <a:cubicBezTo>
                    <a:pt x="848334" y="980910"/>
                    <a:pt x="838104" y="253281"/>
                    <a:pt x="635502" y="-210"/>
                  </a:cubicBez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 63"/>
            <p:cNvSpPr/>
            <p:nvPr/>
          </p:nvSpPr>
          <p:spPr>
            <a:xfrm>
              <a:off x="6993099" y="2948350"/>
              <a:ext cx="1467130" cy="1769867"/>
            </a:xfrm>
            <a:custGeom>
              <a:avLst/>
              <a:gdLst>
                <a:gd name="connsiteX0" fmla="*/ 927593 w 1295797"/>
                <a:gd name="connsiteY0" fmla="*/ 878849 h 1563180"/>
                <a:gd name="connsiteX1" fmla="*/ 1022891 w 1295797"/>
                <a:gd name="connsiteY1" fmla="*/ 1014617 h 1563180"/>
                <a:gd name="connsiteX2" fmla="*/ 992077 w 1295797"/>
                <a:gd name="connsiteY2" fmla="*/ 1186152 h 1563180"/>
                <a:gd name="connsiteX3" fmla="*/ 821876 w 1295797"/>
                <a:gd name="connsiteY3" fmla="*/ 1157900 h 1563180"/>
                <a:gd name="connsiteX4" fmla="*/ 820161 w 1295797"/>
                <a:gd name="connsiteY4" fmla="*/ 1155403 h 1563180"/>
                <a:gd name="connsiteX5" fmla="*/ 668447 w 1295797"/>
                <a:gd name="connsiteY5" fmla="*/ 940348 h 1563180"/>
                <a:gd name="connsiteX6" fmla="*/ 668447 w 1295797"/>
                <a:gd name="connsiteY6" fmla="*/ 935202 h 1563180"/>
                <a:gd name="connsiteX7" fmla="*/ 663300 w 1295797"/>
                <a:gd name="connsiteY7" fmla="*/ 932661 h 1563180"/>
                <a:gd name="connsiteX8" fmla="*/ 694114 w 1295797"/>
                <a:gd name="connsiteY8" fmla="*/ 761125 h 1563180"/>
                <a:gd name="connsiteX9" fmla="*/ 765968 w 1295797"/>
                <a:gd name="connsiteY9" fmla="*/ 364243 h 1563180"/>
                <a:gd name="connsiteX10" fmla="*/ 368196 w 1295797"/>
                <a:gd name="connsiteY10" fmla="*/ 297661 h 1563180"/>
                <a:gd name="connsiteX11" fmla="*/ 250154 w 1295797"/>
                <a:gd name="connsiteY11" fmla="*/ 551153 h 1563180"/>
                <a:gd name="connsiteX12" fmla="*/ 134780 w 1295797"/>
                <a:gd name="connsiteY12" fmla="*/ 686793 h 1563180"/>
                <a:gd name="connsiteX13" fmla="*/ 1364 w 1295797"/>
                <a:gd name="connsiteY13" fmla="*/ 574152 h 1563180"/>
                <a:gd name="connsiteX14" fmla="*/ 224614 w 1295797"/>
                <a:gd name="connsiteY14" fmla="*/ 95313 h 1563180"/>
                <a:gd name="connsiteX15" fmla="*/ 966156 w 1295797"/>
                <a:gd name="connsiteY15" fmla="*/ 223329 h 1563180"/>
                <a:gd name="connsiteX16" fmla="*/ 927657 w 1295797"/>
                <a:gd name="connsiteY16" fmla="*/ 878849 h 1563180"/>
                <a:gd name="connsiteX17" fmla="*/ 1245823 w 1295797"/>
                <a:gd name="connsiteY17" fmla="*/ 1332149 h 1563180"/>
                <a:gd name="connsiteX18" fmla="*/ 1271236 w 1295797"/>
                <a:gd name="connsiteY18" fmla="*/ 1367980 h 1563180"/>
                <a:gd name="connsiteX19" fmla="*/ 1242965 w 1295797"/>
                <a:gd name="connsiteY19" fmla="*/ 1542121 h 1563180"/>
                <a:gd name="connsiteX20" fmla="*/ 1068506 w 1295797"/>
                <a:gd name="connsiteY20" fmla="*/ 1511371 h 1563180"/>
                <a:gd name="connsiteX21" fmla="*/ 1043093 w 1295797"/>
                <a:gd name="connsiteY21" fmla="*/ 1473252 h 1563180"/>
                <a:gd name="connsiteX22" fmla="*/ 1073906 w 1295797"/>
                <a:gd name="connsiteY22" fmla="*/ 1301717 h 1563180"/>
                <a:gd name="connsiteX23" fmla="*/ 1242583 w 1295797"/>
                <a:gd name="connsiteY23" fmla="*/ 1327847 h 1563180"/>
                <a:gd name="connsiteX24" fmla="*/ 1245823 w 1295797"/>
                <a:gd name="connsiteY24" fmla="*/ 1332466 h 1563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95797" h="1563180">
                  <a:moveTo>
                    <a:pt x="927593" y="878849"/>
                  </a:moveTo>
                  <a:lnTo>
                    <a:pt x="1022891" y="1014617"/>
                  </a:lnTo>
                  <a:cubicBezTo>
                    <a:pt x="1063932" y="1070906"/>
                    <a:pt x="1051098" y="1145174"/>
                    <a:pt x="992077" y="1186152"/>
                  </a:cubicBezTo>
                  <a:cubicBezTo>
                    <a:pt x="937313" y="1225345"/>
                    <a:pt x="861075" y="1212696"/>
                    <a:pt x="821876" y="1157900"/>
                  </a:cubicBezTo>
                  <a:cubicBezTo>
                    <a:pt x="821305" y="1157074"/>
                    <a:pt x="820732" y="1156242"/>
                    <a:pt x="820161" y="1155403"/>
                  </a:cubicBezTo>
                  <a:lnTo>
                    <a:pt x="668447" y="940348"/>
                  </a:lnTo>
                  <a:lnTo>
                    <a:pt x="668447" y="935202"/>
                  </a:lnTo>
                  <a:cubicBezTo>
                    <a:pt x="663300" y="935202"/>
                    <a:pt x="663300" y="935202"/>
                    <a:pt x="663300" y="932661"/>
                  </a:cubicBezTo>
                  <a:cubicBezTo>
                    <a:pt x="624801" y="878849"/>
                    <a:pt x="640239" y="799244"/>
                    <a:pt x="694114" y="761125"/>
                  </a:cubicBezTo>
                  <a:cubicBezTo>
                    <a:pt x="822384" y="668941"/>
                    <a:pt x="855738" y="492259"/>
                    <a:pt x="765968" y="364243"/>
                  </a:cubicBezTo>
                  <a:cubicBezTo>
                    <a:pt x="673593" y="233621"/>
                    <a:pt x="499135" y="208018"/>
                    <a:pt x="368196" y="297661"/>
                  </a:cubicBezTo>
                  <a:cubicBezTo>
                    <a:pt x="283572" y="359096"/>
                    <a:pt x="239926" y="456491"/>
                    <a:pt x="250154" y="551153"/>
                  </a:cubicBezTo>
                  <a:cubicBezTo>
                    <a:pt x="255618" y="620421"/>
                    <a:pt x="204030" y="681056"/>
                    <a:pt x="134780" y="686793"/>
                  </a:cubicBezTo>
                  <a:cubicBezTo>
                    <a:pt x="65467" y="691939"/>
                    <a:pt x="9051" y="643274"/>
                    <a:pt x="1364" y="574152"/>
                  </a:cubicBezTo>
                  <a:cubicBezTo>
                    <a:pt x="-14456" y="386231"/>
                    <a:pt x="70486" y="204003"/>
                    <a:pt x="224614" y="95313"/>
                  </a:cubicBezTo>
                  <a:cubicBezTo>
                    <a:pt x="466035" y="-71140"/>
                    <a:pt x="799386" y="-14788"/>
                    <a:pt x="966156" y="223329"/>
                  </a:cubicBezTo>
                  <a:cubicBezTo>
                    <a:pt x="1107832" y="424058"/>
                    <a:pt x="1091822" y="696081"/>
                    <a:pt x="927657" y="878849"/>
                  </a:cubicBezTo>
                  <a:close/>
                  <a:moveTo>
                    <a:pt x="1245823" y="1332149"/>
                  </a:moveTo>
                  <a:lnTo>
                    <a:pt x="1271236" y="1367980"/>
                  </a:lnTo>
                  <a:cubicBezTo>
                    <a:pt x="1312277" y="1426874"/>
                    <a:pt x="1299444" y="1501397"/>
                    <a:pt x="1242965" y="1542121"/>
                  </a:cubicBezTo>
                  <a:cubicBezTo>
                    <a:pt x="1189089" y="1577953"/>
                    <a:pt x="1109548" y="1567533"/>
                    <a:pt x="1068506" y="1511371"/>
                  </a:cubicBezTo>
                  <a:lnTo>
                    <a:pt x="1043093" y="1473252"/>
                  </a:lnTo>
                  <a:cubicBezTo>
                    <a:pt x="1004593" y="1419505"/>
                    <a:pt x="1019968" y="1339836"/>
                    <a:pt x="1073906" y="1301717"/>
                  </a:cubicBezTo>
                  <a:cubicBezTo>
                    <a:pt x="1127718" y="1262346"/>
                    <a:pt x="1203257" y="1274049"/>
                    <a:pt x="1242583" y="1327847"/>
                  </a:cubicBezTo>
                  <a:cubicBezTo>
                    <a:pt x="1243727" y="1329359"/>
                    <a:pt x="1244806" y="1330903"/>
                    <a:pt x="1245823" y="1332466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 64"/>
            <p:cNvSpPr/>
            <p:nvPr/>
          </p:nvSpPr>
          <p:spPr>
            <a:xfrm>
              <a:off x="8074926" y="2908035"/>
              <a:ext cx="512041" cy="826857"/>
            </a:xfrm>
            <a:custGeom>
              <a:avLst/>
              <a:gdLst>
                <a:gd name="connsiteX0" fmla="*/ 274260 w 452244"/>
                <a:gd name="connsiteY0" fmla="*/ -210 h 730296"/>
                <a:gd name="connsiteX1" fmla="*/ 451387 w 452244"/>
                <a:gd name="connsiteY1" fmla="*/ 381616 h 730296"/>
                <a:gd name="connsiteX2" fmla="*/ 43132 w 452244"/>
                <a:gd name="connsiteY2" fmla="*/ 730087 h 730296"/>
                <a:gd name="connsiteX3" fmla="*/ -514 w 452244"/>
                <a:gd name="connsiteY3" fmla="*/ 558551 h 730296"/>
                <a:gd name="connsiteX4" fmla="*/ 315302 w 452244"/>
                <a:gd name="connsiteY4" fmla="*/ 366368 h 730296"/>
                <a:gd name="connsiteX5" fmla="*/ 248594 w 452244"/>
                <a:gd name="connsiteY5" fmla="*/ 207539 h 730296"/>
                <a:gd name="connsiteX6" fmla="*/ 274007 w 452244"/>
                <a:gd name="connsiteY6" fmla="*/ -19 h 730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2244" h="730296">
                  <a:moveTo>
                    <a:pt x="274260" y="-210"/>
                  </a:moveTo>
                  <a:cubicBezTo>
                    <a:pt x="274260" y="-210"/>
                    <a:pt x="438553" y="292036"/>
                    <a:pt x="451387" y="381616"/>
                  </a:cubicBezTo>
                  <a:cubicBezTo>
                    <a:pt x="464093" y="473864"/>
                    <a:pt x="120196" y="717317"/>
                    <a:pt x="43132" y="730087"/>
                  </a:cubicBezTo>
                  <a:lnTo>
                    <a:pt x="-514" y="558551"/>
                  </a:lnTo>
                  <a:cubicBezTo>
                    <a:pt x="-514" y="558551"/>
                    <a:pt x="284489" y="425135"/>
                    <a:pt x="315302" y="366368"/>
                  </a:cubicBezTo>
                  <a:lnTo>
                    <a:pt x="248594" y="207539"/>
                  </a:lnTo>
                  <a:lnTo>
                    <a:pt x="274007" y="-19"/>
                  </a:ln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 65"/>
            <p:cNvSpPr/>
            <p:nvPr/>
          </p:nvSpPr>
          <p:spPr>
            <a:xfrm>
              <a:off x="8008236" y="3573622"/>
              <a:ext cx="101648" cy="117572"/>
            </a:xfrm>
            <a:custGeom>
              <a:avLst/>
              <a:gdLst>
                <a:gd name="connsiteX0" fmla="*/ 66265 w 89777"/>
                <a:gd name="connsiteY0" fmla="*/ 362 h 103842"/>
                <a:gd name="connsiteX1" fmla="*/ 5147 w 89777"/>
                <a:gd name="connsiteY1" fmla="*/ 15800 h 103842"/>
                <a:gd name="connsiteX2" fmla="*/ 89263 w 89777"/>
                <a:gd name="connsiteY2" fmla="*/ 95596 h 103842"/>
                <a:gd name="connsiteX3" fmla="*/ 66265 w 89777"/>
                <a:gd name="connsiteY3" fmla="*/ 298 h 103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777" h="103842">
                  <a:moveTo>
                    <a:pt x="66265" y="362"/>
                  </a:moveTo>
                  <a:cubicBezTo>
                    <a:pt x="66265" y="362"/>
                    <a:pt x="15439" y="-4784"/>
                    <a:pt x="5147" y="15800"/>
                  </a:cubicBezTo>
                  <a:cubicBezTo>
                    <a:pt x="-5145" y="36384"/>
                    <a:pt x="-12705" y="131555"/>
                    <a:pt x="89263" y="95596"/>
                  </a:cubicBezTo>
                  <a:lnTo>
                    <a:pt x="66265" y="298"/>
                  </a:ln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 67"/>
            <p:cNvSpPr/>
            <p:nvPr/>
          </p:nvSpPr>
          <p:spPr>
            <a:xfrm rot="19901924">
              <a:off x="4001212" y="2597109"/>
              <a:ext cx="340051" cy="595716"/>
            </a:xfrm>
            <a:custGeom>
              <a:avLst/>
              <a:gdLst>
                <a:gd name="connsiteX0" fmla="*/ 596690 w 1007682"/>
                <a:gd name="connsiteY0" fmla="*/ 1042540 h 1765307"/>
                <a:gd name="connsiteX1" fmla="*/ 596690 w 1007682"/>
                <a:gd name="connsiteY1" fmla="*/ 1209120 h 1765307"/>
                <a:gd name="connsiteX2" fmla="*/ 479747 w 1007682"/>
                <a:gd name="connsiteY2" fmla="*/ 1332124 h 1765307"/>
                <a:gd name="connsiteX3" fmla="*/ 473502 w 1007682"/>
                <a:gd name="connsiteY3" fmla="*/ 1332118 h 1765307"/>
                <a:gd name="connsiteX4" fmla="*/ 350314 w 1007682"/>
                <a:gd name="connsiteY4" fmla="*/ 1209120 h 1765307"/>
                <a:gd name="connsiteX5" fmla="*/ 350314 w 1007682"/>
                <a:gd name="connsiteY5" fmla="*/ 945209 h 1765307"/>
                <a:gd name="connsiteX6" fmla="*/ 352855 w 1007682"/>
                <a:gd name="connsiteY6" fmla="*/ 940063 h 1765307"/>
                <a:gd name="connsiteX7" fmla="*/ 350314 w 1007682"/>
                <a:gd name="connsiteY7" fmla="*/ 934981 h 1765307"/>
                <a:gd name="connsiteX8" fmla="*/ 473502 w 1007682"/>
                <a:gd name="connsiteY8" fmla="*/ 811983 h 1765307"/>
                <a:gd name="connsiteX9" fmla="*/ 760983 w 1007682"/>
                <a:gd name="connsiteY9" fmla="*/ 530157 h 1765307"/>
                <a:gd name="connsiteX10" fmla="*/ 473502 w 1007682"/>
                <a:gd name="connsiteY10" fmla="*/ 245725 h 1765307"/>
                <a:gd name="connsiteX11" fmla="*/ 229667 w 1007682"/>
                <a:gd name="connsiteY11" fmla="*/ 384097 h 1765307"/>
                <a:gd name="connsiteX12" fmla="*/ 62134 w 1007682"/>
                <a:gd name="connsiteY12" fmla="*/ 430888 h 1765307"/>
                <a:gd name="connsiteX13" fmla="*/ 15343 w 1007682"/>
                <a:gd name="connsiteY13" fmla="*/ 263355 h 1765307"/>
                <a:gd name="connsiteX14" fmla="*/ 16645 w 1007682"/>
                <a:gd name="connsiteY14" fmla="*/ 261100 h 1765307"/>
                <a:gd name="connsiteX15" fmla="*/ 473502 w 1007682"/>
                <a:gd name="connsiteY15" fmla="*/ -206 h 1765307"/>
                <a:gd name="connsiteX16" fmla="*/ 1007168 w 1007682"/>
                <a:gd name="connsiteY16" fmla="*/ 530157 h 1765307"/>
                <a:gd name="connsiteX17" fmla="*/ 596499 w 1007682"/>
                <a:gd name="connsiteY17" fmla="*/ 1042540 h 1765307"/>
                <a:gd name="connsiteX18" fmla="*/ 596690 w 1007682"/>
                <a:gd name="connsiteY18" fmla="*/ 1595965 h 1765307"/>
                <a:gd name="connsiteX19" fmla="*/ 596690 w 1007682"/>
                <a:gd name="connsiteY19" fmla="*/ 1642089 h 1765307"/>
                <a:gd name="connsiteX20" fmla="*/ 473502 w 1007682"/>
                <a:gd name="connsiteY20" fmla="*/ 1765086 h 1765307"/>
                <a:gd name="connsiteX21" fmla="*/ 350314 w 1007682"/>
                <a:gd name="connsiteY21" fmla="*/ 1645221 h 1765307"/>
                <a:gd name="connsiteX22" fmla="*/ 350314 w 1007682"/>
                <a:gd name="connsiteY22" fmla="*/ 1642089 h 1765307"/>
                <a:gd name="connsiteX23" fmla="*/ 350314 w 1007682"/>
                <a:gd name="connsiteY23" fmla="*/ 1595965 h 1765307"/>
                <a:gd name="connsiteX24" fmla="*/ 473502 w 1007682"/>
                <a:gd name="connsiteY24" fmla="*/ 1473031 h 1765307"/>
                <a:gd name="connsiteX25" fmla="*/ 596690 w 1007682"/>
                <a:gd name="connsiteY25" fmla="*/ 1592769 h 1765307"/>
                <a:gd name="connsiteX26" fmla="*/ 596690 w 1007682"/>
                <a:gd name="connsiteY26" fmla="*/ 1595965 h 1765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07682" h="1765307">
                  <a:moveTo>
                    <a:pt x="596690" y="1042540"/>
                  </a:moveTo>
                  <a:lnTo>
                    <a:pt x="596690" y="1209120"/>
                  </a:lnTo>
                  <a:cubicBezTo>
                    <a:pt x="598361" y="1275377"/>
                    <a:pt x="546004" y="1330447"/>
                    <a:pt x="479747" y="1332124"/>
                  </a:cubicBezTo>
                  <a:cubicBezTo>
                    <a:pt x="477663" y="1332175"/>
                    <a:pt x="475579" y="1332175"/>
                    <a:pt x="473502" y="1332118"/>
                  </a:cubicBezTo>
                  <a:cubicBezTo>
                    <a:pt x="405529" y="1332156"/>
                    <a:pt x="350384" y="1277093"/>
                    <a:pt x="350314" y="1209120"/>
                  </a:cubicBezTo>
                  <a:lnTo>
                    <a:pt x="350314" y="945209"/>
                  </a:lnTo>
                  <a:cubicBezTo>
                    <a:pt x="350314" y="942668"/>
                    <a:pt x="352855" y="942668"/>
                    <a:pt x="352855" y="940063"/>
                  </a:cubicBezTo>
                  <a:cubicBezTo>
                    <a:pt x="350314" y="937522"/>
                    <a:pt x="350314" y="937522"/>
                    <a:pt x="350314" y="934981"/>
                  </a:cubicBezTo>
                  <a:cubicBezTo>
                    <a:pt x="350314" y="870941"/>
                    <a:pt x="406793" y="811983"/>
                    <a:pt x="473502" y="811983"/>
                  </a:cubicBezTo>
                  <a:cubicBezTo>
                    <a:pt x="632649" y="811983"/>
                    <a:pt x="760983" y="686445"/>
                    <a:pt x="760983" y="530157"/>
                  </a:cubicBezTo>
                  <a:cubicBezTo>
                    <a:pt x="760983" y="368723"/>
                    <a:pt x="632649" y="245725"/>
                    <a:pt x="473502" y="245725"/>
                  </a:cubicBezTo>
                  <a:cubicBezTo>
                    <a:pt x="373636" y="246094"/>
                    <a:pt x="281198" y="298552"/>
                    <a:pt x="229667" y="384097"/>
                  </a:cubicBezTo>
                  <a:cubicBezTo>
                    <a:pt x="196326" y="443283"/>
                    <a:pt x="121320" y="464230"/>
                    <a:pt x="62134" y="430888"/>
                  </a:cubicBezTo>
                  <a:cubicBezTo>
                    <a:pt x="2948" y="397547"/>
                    <a:pt x="-17999" y="322541"/>
                    <a:pt x="15343" y="263355"/>
                  </a:cubicBezTo>
                  <a:cubicBezTo>
                    <a:pt x="15769" y="262599"/>
                    <a:pt x="16201" y="261850"/>
                    <a:pt x="16645" y="261100"/>
                  </a:cubicBezTo>
                  <a:cubicBezTo>
                    <a:pt x="111346" y="98668"/>
                    <a:pt x="285480" y="-930"/>
                    <a:pt x="473502" y="-206"/>
                  </a:cubicBezTo>
                  <a:cubicBezTo>
                    <a:pt x="766129" y="-206"/>
                    <a:pt x="1007168" y="235497"/>
                    <a:pt x="1007168" y="530157"/>
                  </a:cubicBezTo>
                  <a:cubicBezTo>
                    <a:pt x="1007168" y="778693"/>
                    <a:pt x="832647" y="988792"/>
                    <a:pt x="596499" y="1042540"/>
                  </a:cubicBezTo>
                  <a:close/>
                  <a:moveTo>
                    <a:pt x="596690" y="1595965"/>
                  </a:moveTo>
                  <a:lnTo>
                    <a:pt x="596690" y="1642089"/>
                  </a:lnTo>
                  <a:cubicBezTo>
                    <a:pt x="596690" y="1713816"/>
                    <a:pt x="545356" y="1765086"/>
                    <a:pt x="473502" y="1765086"/>
                  </a:cubicBezTo>
                  <a:cubicBezTo>
                    <a:pt x="406387" y="1766001"/>
                    <a:pt x="351235" y="1712336"/>
                    <a:pt x="350314" y="1645221"/>
                  </a:cubicBezTo>
                  <a:cubicBezTo>
                    <a:pt x="350301" y="1644179"/>
                    <a:pt x="350301" y="1643131"/>
                    <a:pt x="350314" y="1642089"/>
                  </a:cubicBezTo>
                  <a:lnTo>
                    <a:pt x="350314" y="1595965"/>
                  </a:lnTo>
                  <a:cubicBezTo>
                    <a:pt x="351305" y="1528386"/>
                    <a:pt x="405923" y="1473882"/>
                    <a:pt x="473502" y="1473031"/>
                  </a:cubicBezTo>
                  <a:cubicBezTo>
                    <a:pt x="540585" y="1472078"/>
                    <a:pt x="595737" y="1525686"/>
                    <a:pt x="596690" y="1592769"/>
                  </a:cubicBezTo>
                  <a:cubicBezTo>
                    <a:pt x="596703" y="1593830"/>
                    <a:pt x="596703" y="1594897"/>
                    <a:pt x="596690" y="1595965"/>
                  </a:cubicBezTo>
                  <a:close/>
                </a:path>
              </a:pathLst>
            </a:custGeom>
            <a:solidFill>
              <a:srgbClr val="D0D4DA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pic>
        <p:nvPicPr>
          <p:cNvPr id="74" name="图片 73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3035" y="299594"/>
            <a:ext cx="1837445" cy="501494"/>
          </a:xfrm>
          <a:prstGeom prst="rect">
            <a:avLst/>
          </a:prstGeom>
        </p:spPr>
      </p:pic>
      <p:sp>
        <p:nvSpPr>
          <p:cNvPr id="2" name="文本框 1"/>
          <p:cNvSpPr txBox="1"/>
          <p:nvPr/>
        </p:nvSpPr>
        <p:spPr>
          <a:xfrm>
            <a:off x="556260" y="3006725"/>
            <a:ext cx="11079480" cy="53213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rmAutofit/>
          </a:bodyPr>
          <a:p>
            <a:pPr marL="106045" indent="0">
              <a:buFont typeface="Arial" panose="020B0604020202090204" pitchFamily="34" charset="0"/>
              <a:buNone/>
            </a:pPr>
            <a:r>
              <a:rPr lang="zh-CN" altLang="en-US" sz="18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在前端项目开发中，你认为性能优化的哪一部分最容易被忽视？</a:t>
            </a:r>
            <a:endParaRPr lang="zh-CN" altLang="en-US" sz="1800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75" name="文本框 74"/>
          <p:cNvSpPr txBox="1"/>
          <p:nvPr/>
        </p:nvSpPr>
        <p:spPr>
          <a:xfrm>
            <a:off x="556260" y="4122420"/>
            <a:ext cx="11079480" cy="122301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rmAutofit/>
          </a:bodyPr>
          <a:p>
            <a:pPr marL="106045" indent="0">
              <a:buFont typeface="Arial" panose="020B0604020202090204" pitchFamily="34" charset="0"/>
              <a:buNone/>
            </a:pPr>
            <a:r>
              <a:rPr sz="18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常常专注于代码层面的优化，如组件优化和懒加载等</a:t>
            </a:r>
            <a:endParaRPr sz="1800" dirty="0" smtClean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  <a:p>
            <a:pPr marL="106045" indent="0">
              <a:buFont typeface="Arial" panose="020B0604020202090204" pitchFamily="34" charset="0"/>
              <a:buNone/>
            </a:pPr>
            <a:endParaRPr sz="1800" dirty="0" smtClean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  <a:p>
            <a:pPr marL="106045" indent="0">
              <a:buFont typeface="Arial" panose="020B0604020202090204" pitchFamily="34" charset="0"/>
              <a:buNone/>
            </a:pPr>
            <a:r>
              <a:rPr sz="18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构建效率的提升被低估</a:t>
            </a:r>
            <a:r>
              <a:rPr lang="zh-CN" sz="18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：大部分开发者可能仅仅依赖默认配置；</a:t>
            </a:r>
            <a:endParaRPr lang="zh-CN" sz="1800" dirty="0" smtClean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  <a:p>
            <a:pPr marL="106045" indent="0">
              <a:buFont typeface="Arial" panose="020B0604020202090204" pitchFamily="34" charset="0"/>
              <a:buNone/>
            </a:pPr>
            <a:r>
              <a:rPr lang="zh-CN" sz="18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构建过程中的冗余代码问题未被重视</a:t>
            </a:r>
            <a:r>
              <a:rPr lang="zh-CN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  <a:sym typeface="+mn-ea"/>
              </a:rPr>
              <a:t>：</a:t>
            </a:r>
            <a:r>
              <a:rPr lang="en-US" altLang="zh-CN" sz="18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时往往会引入大量不必要的第三方库或未进行按需加载</a:t>
            </a:r>
            <a:r>
              <a:rPr lang="zh-CN" sz="18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；</a:t>
            </a:r>
            <a:endParaRPr lang="zh-CN" sz="1800" dirty="0" smtClean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5" grpId="0"/>
      <p:bldP spid="75" grpId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直线连接符 3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/>
          <p:cNvCxnSpPr/>
          <p:nvPr/>
        </p:nvCxnSpPr>
        <p:spPr>
          <a:xfrm>
            <a:off x="725817" y="2640474"/>
            <a:ext cx="10591442" cy="0"/>
          </a:xfrm>
          <a:prstGeom prst="line">
            <a:avLst/>
          </a:prstGeom>
          <a:ln w="508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A_文本框 21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/>
          <p:cNvSpPr txBox="1"/>
          <p:nvPr>
            <p:custDataLst>
              <p:tags r:id="rId1"/>
            </p:custDataLst>
          </p:nvPr>
        </p:nvSpPr>
        <p:spPr>
          <a:xfrm>
            <a:off x="3824605" y="1777365"/>
            <a:ext cx="6821170" cy="46164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zh-CN"/>
            </a:defPPr>
            <a:lvl1pPr marL="12700" marR="0" lvl="0" indent="0" fontAlgn="auto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defRPr kumimoji="0" sz="2400" b="1" i="0" u="none" strike="noStrike" cap="none" spc="0" normalizeH="0" baseline="0">
                <a:ln>
                  <a:noFill/>
                </a:ln>
                <a:solidFill>
                  <a:srgbClr val="F05A23"/>
                </a:solidFill>
                <a:effectLst/>
                <a:uLnTx/>
                <a:uFillTx/>
                <a:latin typeface="Arial" panose="020B0604020202090204"/>
                <a:ea typeface="华文楷体" panose="02010600040101010101" pitchFamily="2" charset="-122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  <a:lvl6pPr>
              <a:defRPr>
                <a:latin typeface="+mn-lt"/>
                <a:ea typeface="+mn-ea"/>
                <a:cs typeface="+mn-cs"/>
              </a:defRPr>
            </a:lvl6pPr>
            <a:lvl7pPr>
              <a:defRPr>
                <a:latin typeface="+mn-lt"/>
                <a:ea typeface="+mn-ea"/>
                <a:cs typeface="+mn-cs"/>
              </a:defRPr>
            </a:lvl7pPr>
            <a:lvl8pPr>
              <a:defRPr>
                <a:latin typeface="+mn-lt"/>
                <a:ea typeface="+mn-ea"/>
                <a:cs typeface="+mn-cs"/>
              </a:defRPr>
            </a:lvl8pPr>
            <a:lvl9pPr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3200" dirty="0"/>
              <a:t>小练习：</a:t>
            </a:r>
            <a:r>
              <a:rPr lang="zh-CN" altLang="en-US" sz="3200" dirty="0" smtClean="0">
                <a:sym typeface="+mn-ea"/>
              </a:rPr>
              <a:t>这些是好规则吗</a:t>
            </a:r>
            <a:endParaRPr lang="zh-CN" altLang="en-US" sz="3200" dirty="0"/>
          </a:p>
        </p:txBody>
      </p:sp>
      <p:sp>
        <p:nvSpPr>
          <p:cNvPr id="3" name="e7d195523061f1c0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 hidden="1"/>
          <p:cNvSpPr txBox="1"/>
          <p:nvPr/>
        </p:nvSpPr>
        <p:spPr>
          <a:xfrm>
            <a:off x="-355600" y="1803400"/>
            <a:ext cx="26225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/>
              <a:t>e7d195523061f1c0d318120d6aeaf1b6ccceb6ba3da59c0775C5DE19DDDEBC09ED96DBD9900D9848D623ECAD1D4904B78047D0015C22C8BE97228BE8B5BFF08FE7A3AE04126DA07312A96C0F69F9BAB71A8D4487C13BBD21E3F9DE587F01A2EC9B24CE25FF0E9B2136662A47C8B58C275121A88EC20F5D58602B203067E5F6C927344A314878098B</a:t>
            </a:r>
            <a:endParaRPr lang="zh-CN" altLang="en-US" sz="100"/>
          </a:p>
        </p:txBody>
      </p:sp>
      <p:grpSp>
        <p:nvGrpSpPr>
          <p:cNvPr id="9" name="组合 8"/>
          <p:cNvGrpSpPr/>
          <p:nvPr/>
        </p:nvGrpSpPr>
        <p:grpSpPr>
          <a:xfrm>
            <a:off x="812799" y="551745"/>
            <a:ext cx="2344293" cy="1885528"/>
            <a:chOff x="3207781" y="1105990"/>
            <a:chExt cx="5776438" cy="4646020"/>
          </a:xfrm>
        </p:grpSpPr>
        <p:sp>
          <p:nvSpPr>
            <p:cNvPr id="10" name="任意多边形 4"/>
            <p:cNvSpPr/>
            <p:nvPr/>
          </p:nvSpPr>
          <p:spPr>
            <a:xfrm>
              <a:off x="3598883" y="5220505"/>
              <a:ext cx="5385336" cy="531505"/>
            </a:xfrm>
            <a:custGeom>
              <a:avLst/>
              <a:gdLst>
                <a:gd name="connsiteX0" fmla="*/ -514 w 4756429"/>
                <a:gd name="connsiteY0" fmla="*/ 234476 h 469435"/>
                <a:gd name="connsiteX1" fmla="*/ 2377732 w 4756429"/>
                <a:gd name="connsiteY1" fmla="*/ -210 h 469435"/>
                <a:gd name="connsiteX2" fmla="*/ 4755915 w 4756429"/>
                <a:gd name="connsiteY2" fmla="*/ 234476 h 469435"/>
                <a:gd name="connsiteX3" fmla="*/ 2377732 w 4756429"/>
                <a:gd name="connsiteY3" fmla="*/ 469226 h 469435"/>
                <a:gd name="connsiteX4" fmla="*/ -514 w 4756429"/>
                <a:gd name="connsiteY4" fmla="*/ 234476 h 469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56429" h="469435">
                  <a:moveTo>
                    <a:pt x="-514" y="234476"/>
                  </a:moveTo>
                  <a:cubicBezTo>
                    <a:pt x="-514" y="104871"/>
                    <a:pt x="1064277" y="-210"/>
                    <a:pt x="2377732" y="-210"/>
                  </a:cubicBezTo>
                  <a:cubicBezTo>
                    <a:pt x="3691187" y="-210"/>
                    <a:pt x="4755915" y="104871"/>
                    <a:pt x="4755915" y="234476"/>
                  </a:cubicBezTo>
                  <a:cubicBezTo>
                    <a:pt x="4755915" y="364081"/>
                    <a:pt x="3691187" y="469226"/>
                    <a:pt x="2377732" y="469226"/>
                  </a:cubicBezTo>
                  <a:cubicBezTo>
                    <a:pt x="1064277" y="469226"/>
                    <a:pt x="-514" y="364144"/>
                    <a:pt x="-514" y="234476"/>
                  </a:cubicBezTo>
                  <a:close/>
                </a:path>
              </a:pathLst>
            </a:custGeom>
            <a:solidFill>
              <a:srgbClr val="E8E8E8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 5"/>
            <p:cNvSpPr/>
            <p:nvPr/>
          </p:nvSpPr>
          <p:spPr>
            <a:xfrm>
              <a:off x="4313321" y="3382454"/>
              <a:ext cx="883608" cy="1118025"/>
            </a:xfrm>
            <a:custGeom>
              <a:avLst/>
              <a:gdLst>
                <a:gd name="connsiteX0" fmla="*/ 304303 w 780419"/>
                <a:gd name="connsiteY0" fmla="*/ 118570 h 987461"/>
                <a:gd name="connsiteX1" fmla="*/ 254240 w 780419"/>
                <a:gd name="connsiteY1" fmla="*/ 127782 h 987461"/>
                <a:gd name="connsiteX2" fmla="*/ 200428 w 780419"/>
                <a:gd name="connsiteY2" fmla="*/ 182038 h 987461"/>
                <a:gd name="connsiteX3" fmla="*/ 189374 w 780419"/>
                <a:gd name="connsiteY3" fmla="*/ 260437 h 987461"/>
                <a:gd name="connsiteX4" fmla="*/ 195727 w 780419"/>
                <a:gd name="connsiteY4" fmla="*/ 517740 h 987461"/>
                <a:gd name="connsiteX5" fmla="*/ 71395 w 780419"/>
                <a:gd name="connsiteY5" fmla="*/ 592835 h 987461"/>
                <a:gd name="connsiteX6" fmla="*/ 24001 w 780419"/>
                <a:gd name="connsiteY6" fmla="*/ 840164 h 987461"/>
                <a:gd name="connsiteX7" fmla="*/ 249411 w 780419"/>
                <a:gd name="connsiteY7" fmla="*/ 982284 h 987461"/>
                <a:gd name="connsiteX8" fmla="*/ 522597 w 780419"/>
                <a:gd name="connsiteY8" fmla="*/ 959286 h 987461"/>
                <a:gd name="connsiteX9" fmla="*/ 699597 w 780419"/>
                <a:gd name="connsiteY9" fmla="*/ 889401 h 987461"/>
                <a:gd name="connsiteX10" fmla="*/ 708555 w 780419"/>
                <a:gd name="connsiteY10" fmla="*/ 575617 h 987461"/>
                <a:gd name="connsiteX11" fmla="*/ 764082 w 780419"/>
                <a:gd name="connsiteY11" fmla="*/ 389088 h 987461"/>
                <a:gd name="connsiteX12" fmla="*/ 606968 w 780419"/>
                <a:gd name="connsiteY12" fmla="*/ 27466 h 987461"/>
                <a:gd name="connsiteX13" fmla="*/ 304303 w 780419"/>
                <a:gd name="connsiteY13" fmla="*/ 118761 h 987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80419" h="987461">
                  <a:moveTo>
                    <a:pt x="304303" y="118570"/>
                  </a:moveTo>
                  <a:cubicBezTo>
                    <a:pt x="307860" y="110184"/>
                    <a:pt x="258432" y="125940"/>
                    <a:pt x="254240" y="127782"/>
                  </a:cubicBezTo>
                  <a:cubicBezTo>
                    <a:pt x="230002" y="138284"/>
                    <a:pt x="210733" y="157712"/>
                    <a:pt x="200428" y="182038"/>
                  </a:cubicBezTo>
                  <a:cubicBezTo>
                    <a:pt x="191299" y="207108"/>
                    <a:pt x="187531" y="233817"/>
                    <a:pt x="189374" y="260437"/>
                  </a:cubicBezTo>
                  <a:cubicBezTo>
                    <a:pt x="191216" y="342393"/>
                    <a:pt x="253985" y="444679"/>
                    <a:pt x="195727" y="517740"/>
                  </a:cubicBezTo>
                  <a:cubicBezTo>
                    <a:pt x="165486" y="555478"/>
                    <a:pt x="111484" y="565706"/>
                    <a:pt x="71395" y="592835"/>
                  </a:cubicBezTo>
                  <a:cubicBezTo>
                    <a:pt x="-4843" y="644295"/>
                    <a:pt x="-20154" y="759351"/>
                    <a:pt x="24001" y="840164"/>
                  </a:cubicBezTo>
                  <a:cubicBezTo>
                    <a:pt x="68155" y="920976"/>
                    <a:pt x="158306" y="968752"/>
                    <a:pt x="249411" y="982284"/>
                  </a:cubicBezTo>
                  <a:cubicBezTo>
                    <a:pt x="340516" y="995816"/>
                    <a:pt x="433081" y="979552"/>
                    <a:pt x="522597" y="959286"/>
                  </a:cubicBezTo>
                  <a:cubicBezTo>
                    <a:pt x="584986" y="945182"/>
                    <a:pt x="648835" y="928092"/>
                    <a:pt x="699597" y="889401"/>
                  </a:cubicBezTo>
                  <a:cubicBezTo>
                    <a:pt x="819354" y="797724"/>
                    <a:pt x="763510" y="682986"/>
                    <a:pt x="708555" y="575617"/>
                  </a:cubicBezTo>
                  <a:cubicBezTo>
                    <a:pt x="673358" y="506876"/>
                    <a:pt x="736509" y="474475"/>
                    <a:pt x="764082" y="389088"/>
                  </a:cubicBezTo>
                  <a:cubicBezTo>
                    <a:pt x="813700" y="235469"/>
                    <a:pt x="742608" y="86360"/>
                    <a:pt x="606968" y="27466"/>
                  </a:cubicBezTo>
                  <a:cubicBezTo>
                    <a:pt x="384225" y="-69039"/>
                    <a:pt x="304747" y="117744"/>
                    <a:pt x="304303" y="118761"/>
                  </a:cubicBezTo>
                  <a:close/>
                </a:path>
              </a:pathLst>
            </a:custGeom>
            <a:solidFill>
              <a:srgbClr val="971D0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 6"/>
            <p:cNvSpPr/>
            <p:nvPr/>
          </p:nvSpPr>
          <p:spPr>
            <a:xfrm>
              <a:off x="4743753" y="3967018"/>
              <a:ext cx="251762" cy="311178"/>
            </a:xfrm>
            <a:custGeom>
              <a:avLst/>
              <a:gdLst>
                <a:gd name="connsiteX0" fmla="*/ 110730 w 222361"/>
                <a:gd name="connsiteY0" fmla="*/ 274628 h 274838"/>
                <a:gd name="connsiteX1" fmla="*/ 110730 w 222361"/>
                <a:gd name="connsiteY1" fmla="*/ 274628 h 274838"/>
                <a:gd name="connsiteX2" fmla="*/ -514 w 222361"/>
                <a:gd name="connsiteY2" fmla="*/ 126853 h 274838"/>
                <a:gd name="connsiteX3" fmla="*/ -514 w 222361"/>
                <a:gd name="connsiteY3" fmla="*/ -210 h 274838"/>
                <a:gd name="connsiteX4" fmla="*/ 221847 w 222361"/>
                <a:gd name="connsiteY4" fmla="*/ -210 h 274838"/>
                <a:gd name="connsiteX5" fmla="*/ 221847 w 222361"/>
                <a:gd name="connsiteY5" fmla="*/ 126853 h 274838"/>
                <a:gd name="connsiteX6" fmla="*/ 111937 w 222361"/>
                <a:gd name="connsiteY6" fmla="*/ 274628 h 274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2361" h="274838">
                  <a:moveTo>
                    <a:pt x="110730" y="274628"/>
                  </a:moveTo>
                  <a:lnTo>
                    <a:pt x="110730" y="274628"/>
                  </a:lnTo>
                  <a:cubicBezTo>
                    <a:pt x="49358" y="274628"/>
                    <a:pt x="-451" y="163639"/>
                    <a:pt x="-514" y="126853"/>
                  </a:cubicBezTo>
                  <a:lnTo>
                    <a:pt x="-514" y="-210"/>
                  </a:lnTo>
                  <a:lnTo>
                    <a:pt x="221847" y="-210"/>
                  </a:lnTo>
                  <a:lnTo>
                    <a:pt x="221847" y="126853"/>
                  </a:lnTo>
                  <a:cubicBezTo>
                    <a:pt x="221847" y="163448"/>
                    <a:pt x="172991" y="274438"/>
                    <a:pt x="111937" y="274628"/>
                  </a:cubicBez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 7"/>
            <p:cNvSpPr/>
            <p:nvPr/>
          </p:nvSpPr>
          <p:spPr>
            <a:xfrm>
              <a:off x="4572555" y="3764605"/>
              <a:ext cx="121406" cy="141542"/>
            </a:xfrm>
            <a:custGeom>
              <a:avLst/>
              <a:gdLst>
                <a:gd name="connsiteX0" fmla="*/ 77312 w 107228"/>
                <a:gd name="connsiteY0" fmla="*/ 27741 h 125013"/>
                <a:gd name="connsiteX1" fmla="*/ -514 w 107228"/>
                <a:gd name="connsiteY1" fmla="*/ 46801 h 125013"/>
                <a:gd name="connsiteX2" fmla="*/ 94783 w 107228"/>
                <a:gd name="connsiteY2" fmla="*/ 110332 h 125013"/>
                <a:gd name="connsiteX3" fmla="*/ 77312 w 107228"/>
                <a:gd name="connsiteY3" fmla="*/ 27741 h 125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228" h="125013">
                  <a:moveTo>
                    <a:pt x="77312" y="27741"/>
                  </a:moveTo>
                  <a:cubicBezTo>
                    <a:pt x="41226" y="-26515"/>
                    <a:pt x="-514" y="8364"/>
                    <a:pt x="-514" y="46801"/>
                  </a:cubicBezTo>
                  <a:cubicBezTo>
                    <a:pt x="-514" y="102073"/>
                    <a:pt x="60031" y="149722"/>
                    <a:pt x="94783" y="110332"/>
                  </a:cubicBezTo>
                  <a:cubicBezTo>
                    <a:pt x="129535" y="70943"/>
                    <a:pt x="77312" y="27741"/>
                    <a:pt x="77312" y="2774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 8"/>
            <p:cNvSpPr/>
            <p:nvPr/>
          </p:nvSpPr>
          <p:spPr>
            <a:xfrm>
              <a:off x="5034066" y="3764605"/>
              <a:ext cx="121425" cy="141542"/>
            </a:xfrm>
            <a:custGeom>
              <a:avLst/>
              <a:gdLst>
                <a:gd name="connsiteX0" fmla="*/ 28968 w 107245"/>
                <a:gd name="connsiteY0" fmla="*/ 27741 h 125013"/>
                <a:gd name="connsiteX1" fmla="*/ 106731 w 107245"/>
                <a:gd name="connsiteY1" fmla="*/ 46801 h 125013"/>
                <a:gd name="connsiteX2" fmla="*/ 11433 w 107245"/>
                <a:gd name="connsiteY2" fmla="*/ 110332 h 125013"/>
                <a:gd name="connsiteX3" fmla="*/ 28968 w 107245"/>
                <a:gd name="connsiteY3" fmla="*/ 27741 h 125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245" h="125013">
                  <a:moveTo>
                    <a:pt x="28968" y="27741"/>
                  </a:moveTo>
                  <a:cubicBezTo>
                    <a:pt x="64927" y="-26515"/>
                    <a:pt x="106731" y="8364"/>
                    <a:pt x="106731" y="46801"/>
                  </a:cubicBezTo>
                  <a:cubicBezTo>
                    <a:pt x="106731" y="102073"/>
                    <a:pt x="46249" y="149722"/>
                    <a:pt x="11433" y="110332"/>
                  </a:cubicBezTo>
                  <a:cubicBezTo>
                    <a:pt x="-23382" y="70943"/>
                    <a:pt x="28968" y="27741"/>
                    <a:pt x="28968" y="2774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 9"/>
            <p:cNvSpPr/>
            <p:nvPr/>
          </p:nvSpPr>
          <p:spPr>
            <a:xfrm>
              <a:off x="4636485" y="3571274"/>
              <a:ext cx="453974" cy="467243"/>
            </a:xfrm>
            <a:custGeom>
              <a:avLst/>
              <a:gdLst>
                <a:gd name="connsiteX0" fmla="*/ 199817 w 400958"/>
                <a:gd name="connsiteY0" fmla="*/ 412468 h 412678"/>
                <a:gd name="connsiteX1" fmla="*/ 6744 w 400958"/>
                <a:gd name="connsiteY1" fmla="*/ 98113 h 412678"/>
                <a:gd name="connsiteX2" fmla="*/ 393207 w 400958"/>
                <a:gd name="connsiteY2" fmla="*/ 98113 h 412678"/>
                <a:gd name="connsiteX3" fmla="*/ 199817 w 400958"/>
                <a:gd name="connsiteY3" fmla="*/ 412468 h 41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0958" h="412678">
                  <a:moveTo>
                    <a:pt x="199817" y="412468"/>
                  </a:moveTo>
                  <a:cubicBezTo>
                    <a:pt x="57569" y="412468"/>
                    <a:pt x="-26547" y="257387"/>
                    <a:pt x="6744" y="98113"/>
                  </a:cubicBezTo>
                  <a:cubicBezTo>
                    <a:pt x="34063" y="-33016"/>
                    <a:pt x="365762" y="-32953"/>
                    <a:pt x="393207" y="98113"/>
                  </a:cubicBezTo>
                  <a:cubicBezTo>
                    <a:pt x="426434" y="257387"/>
                    <a:pt x="342382" y="412595"/>
                    <a:pt x="199817" y="412468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 10"/>
            <p:cNvSpPr/>
            <p:nvPr/>
          </p:nvSpPr>
          <p:spPr>
            <a:xfrm>
              <a:off x="4757636" y="3487392"/>
              <a:ext cx="367502" cy="234313"/>
            </a:xfrm>
            <a:custGeom>
              <a:avLst/>
              <a:gdLst>
                <a:gd name="connsiteX0" fmla="*/ -514 w 324585"/>
                <a:gd name="connsiteY0" fmla="*/ 31541 h 206950"/>
                <a:gd name="connsiteX1" fmla="*/ 303231 w 324585"/>
                <a:gd name="connsiteY1" fmla="*/ 198693 h 206950"/>
                <a:gd name="connsiteX2" fmla="*/ 184045 w 324585"/>
                <a:gd name="connsiteY2" fmla="*/ 21757 h 206950"/>
                <a:gd name="connsiteX3" fmla="*/ -514 w 324585"/>
                <a:gd name="connsiteY3" fmla="*/ 31541 h 206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585" h="206950">
                  <a:moveTo>
                    <a:pt x="-514" y="31541"/>
                  </a:moveTo>
                  <a:cubicBezTo>
                    <a:pt x="-514" y="165911"/>
                    <a:pt x="253612" y="230650"/>
                    <a:pt x="303231" y="198693"/>
                  </a:cubicBezTo>
                  <a:cubicBezTo>
                    <a:pt x="352849" y="166737"/>
                    <a:pt x="314158" y="52951"/>
                    <a:pt x="184045" y="21757"/>
                  </a:cubicBezTo>
                  <a:cubicBezTo>
                    <a:pt x="53932" y="-9437"/>
                    <a:pt x="-197" y="-8484"/>
                    <a:pt x="-514" y="31541"/>
                  </a:cubicBezTo>
                  <a:close/>
                </a:path>
              </a:pathLst>
            </a:custGeom>
            <a:solidFill>
              <a:srgbClr val="971D0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 11"/>
            <p:cNvSpPr/>
            <p:nvPr/>
          </p:nvSpPr>
          <p:spPr>
            <a:xfrm>
              <a:off x="4592900" y="3508707"/>
              <a:ext cx="173053" cy="238281"/>
            </a:xfrm>
            <a:custGeom>
              <a:avLst/>
              <a:gdLst>
                <a:gd name="connsiteX0" fmla="*/ 145428 w 152844"/>
                <a:gd name="connsiteY0" fmla="*/ 11762 h 210454"/>
                <a:gd name="connsiteX1" fmla="*/ 38759 w 152844"/>
                <a:gd name="connsiteY1" fmla="*/ 209790 h 210454"/>
                <a:gd name="connsiteX2" fmla="*/ 27704 w 152844"/>
                <a:gd name="connsiteY2" fmla="*/ 78089 h 210454"/>
                <a:gd name="connsiteX3" fmla="*/ 145428 w 152844"/>
                <a:gd name="connsiteY3" fmla="*/ 11762 h 210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844" h="210454">
                  <a:moveTo>
                    <a:pt x="145428" y="11762"/>
                  </a:moveTo>
                  <a:cubicBezTo>
                    <a:pt x="177703" y="76501"/>
                    <a:pt x="89076" y="219320"/>
                    <a:pt x="38759" y="209790"/>
                  </a:cubicBezTo>
                  <a:cubicBezTo>
                    <a:pt x="-11559" y="200261"/>
                    <a:pt x="-11622" y="144416"/>
                    <a:pt x="27704" y="78089"/>
                  </a:cubicBezTo>
                  <a:cubicBezTo>
                    <a:pt x="67030" y="11762"/>
                    <a:pt x="130117" y="-18987"/>
                    <a:pt x="145428" y="11762"/>
                  </a:cubicBezTo>
                  <a:close/>
                </a:path>
              </a:pathLst>
            </a:custGeom>
            <a:solidFill>
              <a:srgbClr val="971D0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 12"/>
            <p:cNvSpPr/>
            <p:nvPr/>
          </p:nvSpPr>
          <p:spPr>
            <a:xfrm>
              <a:off x="3612370" y="4281731"/>
              <a:ext cx="915035" cy="627652"/>
            </a:xfrm>
            <a:custGeom>
              <a:avLst/>
              <a:gdLst>
                <a:gd name="connsiteX0" fmla="*/ 797158 w 808176"/>
                <a:gd name="connsiteY0" fmla="*/ 72207 h 554354"/>
                <a:gd name="connsiteX1" fmla="*/ 561011 w 808176"/>
                <a:gd name="connsiteY1" fmla="*/ 325698 h 554354"/>
                <a:gd name="connsiteX2" fmla="*/ 47611 w 808176"/>
                <a:gd name="connsiteY2" fmla="*/ 553523 h 554354"/>
                <a:gd name="connsiteX3" fmla="*/ 47611 w 808176"/>
                <a:gd name="connsiteY3" fmla="*/ 451110 h 554354"/>
                <a:gd name="connsiteX4" fmla="*/ 496844 w 808176"/>
                <a:gd name="connsiteY4" fmla="*/ 243743 h 554354"/>
                <a:gd name="connsiteX5" fmla="*/ 650844 w 808176"/>
                <a:gd name="connsiteY5" fmla="*/ 90123 h 554354"/>
                <a:gd name="connsiteX6" fmla="*/ 699637 w 808176"/>
                <a:gd name="connsiteY6" fmla="*/ 36375 h 554354"/>
                <a:gd name="connsiteX7" fmla="*/ 709866 w 808176"/>
                <a:gd name="connsiteY7" fmla="*/ 18459 h 554354"/>
                <a:gd name="connsiteX8" fmla="*/ 709866 w 808176"/>
                <a:gd name="connsiteY8" fmla="*/ 21000 h 554354"/>
                <a:gd name="connsiteX9" fmla="*/ 797158 w 808176"/>
                <a:gd name="connsiteY9" fmla="*/ 72207 h 554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8176" h="554354">
                  <a:moveTo>
                    <a:pt x="797158" y="72207"/>
                  </a:moveTo>
                  <a:cubicBezTo>
                    <a:pt x="727280" y="164525"/>
                    <a:pt x="648151" y="249460"/>
                    <a:pt x="561011" y="325698"/>
                  </a:cubicBezTo>
                  <a:cubicBezTo>
                    <a:pt x="422385" y="446027"/>
                    <a:pt x="242717" y="563752"/>
                    <a:pt x="47611" y="553523"/>
                  </a:cubicBezTo>
                  <a:cubicBezTo>
                    <a:pt x="-16556" y="548377"/>
                    <a:pt x="-16556" y="446027"/>
                    <a:pt x="47611" y="451110"/>
                  </a:cubicBezTo>
                  <a:cubicBezTo>
                    <a:pt x="219591" y="461339"/>
                    <a:pt x="376197" y="351302"/>
                    <a:pt x="496844" y="243743"/>
                  </a:cubicBezTo>
                  <a:cubicBezTo>
                    <a:pt x="553323" y="197682"/>
                    <a:pt x="602052" y="143871"/>
                    <a:pt x="650844" y="90123"/>
                  </a:cubicBezTo>
                  <a:cubicBezTo>
                    <a:pt x="668824" y="72207"/>
                    <a:pt x="684199" y="54291"/>
                    <a:pt x="699637" y="36375"/>
                  </a:cubicBezTo>
                  <a:cubicBezTo>
                    <a:pt x="703589" y="30727"/>
                    <a:pt x="707013" y="24730"/>
                    <a:pt x="709866" y="18459"/>
                  </a:cubicBezTo>
                  <a:cubicBezTo>
                    <a:pt x="717553" y="10772"/>
                    <a:pt x="702178" y="31165"/>
                    <a:pt x="709866" y="21000"/>
                  </a:cubicBezTo>
                  <a:cubicBezTo>
                    <a:pt x="748366" y="-30206"/>
                    <a:pt x="838199" y="21000"/>
                    <a:pt x="797158" y="72207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 13"/>
            <p:cNvSpPr/>
            <p:nvPr/>
          </p:nvSpPr>
          <p:spPr>
            <a:xfrm>
              <a:off x="5248839" y="3957542"/>
              <a:ext cx="415701" cy="712692"/>
            </a:xfrm>
            <a:custGeom>
              <a:avLst/>
              <a:gdLst>
                <a:gd name="connsiteX0" fmla="*/ 90290 w 367155"/>
                <a:gd name="connsiteY0" fmla="*/ 275691 h 629463"/>
                <a:gd name="connsiteX1" fmla="*/ 229361 w 367155"/>
                <a:gd name="connsiteY1" fmla="*/ 451738 h 629463"/>
                <a:gd name="connsiteX2" fmla="*/ 246959 w 367155"/>
                <a:gd name="connsiteY2" fmla="*/ 471877 h 629463"/>
                <a:gd name="connsiteX3" fmla="*/ 201979 w 367155"/>
                <a:gd name="connsiteY3" fmla="*/ 211016 h 629463"/>
                <a:gd name="connsiteX4" fmla="*/ 194292 w 367155"/>
                <a:gd name="connsiteY4" fmla="*/ 113241 h 629463"/>
                <a:gd name="connsiteX5" fmla="*/ 298420 w 367155"/>
                <a:gd name="connsiteY5" fmla="*/ 6952 h 629463"/>
                <a:gd name="connsiteX6" fmla="*/ 340732 w 367155"/>
                <a:gd name="connsiteY6" fmla="*/ 100280 h 629463"/>
                <a:gd name="connsiteX7" fmla="*/ 314748 w 367155"/>
                <a:gd name="connsiteY7" fmla="*/ 117624 h 629463"/>
                <a:gd name="connsiteX8" fmla="*/ 294544 w 367155"/>
                <a:gd name="connsiteY8" fmla="*/ 135286 h 629463"/>
                <a:gd name="connsiteX9" fmla="*/ 296006 w 367155"/>
                <a:gd name="connsiteY9" fmla="*/ 157077 h 629463"/>
                <a:gd name="connsiteX10" fmla="*/ 320402 w 367155"/>
                <a:gd name="connsiteY10" fmla="*/ 297927 h 629463"/>
                <a:gd name="connsiteX11" fmla="*/ 354518 w 367155"/>
                <a:gd name="connsiteY11" fmla="*/ 572194 h 629463"/>
                <a:gd name="connsiteX12" fmla="*/ 268560 w 367155"/>
                <a:gd name="connsiteY12" fmla="*/ 625243 h 629463"/>
                <a:gd name="connsiteX13" fmla="*/ 170785 w 367155"/>
                <a:gd name="connsiteY13" fmla="*/ 540237 h 629463"/>
                <a:gd name="connsiteX14" fmla="*/ 9668 w 367155"/>
                <a:gd name="connsiteY14" fmla="*/ 340176 h 629463"/>
                <a:gd name="connsiteX15" fmla="*/ 90290 w 367155"/>
                <a:gd name="connsiteY15" fmla="*/ 275437 h 629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67155" h="629463">
                  <a:moveTo>
                    <a:pt x="90290" y="275691"/>
                  </a:moveTo>
                  <a:cubicBezTo>
                    <a:pt x="134762" y="336999"/>
                    <a:pt x="181013" y="394877"/>
                    <a:pt x="229361" y="451738"/>
                  </a:cubicBezTo>
                  <a:cubicBezTo>
                    <a:pt x="235714" y="459997"/>
                    <a:pt x="241432" y="465969"/>
                    <a:pt x="246959" y="471877"/>
                  </a:cubicBezTo>
                  <a:cubicBezTo>
                    <a:pt x="235460" y="384267"/>
                    <a:pt x="213478" y="298626"/>
                    <a:pt x="201979" y="211016"/>
                  </a:cubicBezTo>
                  <a:cubicBezTo>
                    <a:pt x="196325" y="179822"/>
                    <a:pt x="189273" y="146277"/>
                    <a:pt x="194292" y="113241"/>
                  </a:cubicBezTo>
                  <a:cubicBezTo>
                    <a:pt x="199692" y="62923"/>
                    <a:pt x="258395" y="30649"/>
                    <a:pt x="298420" y="6952"/>
                  </a:cubicBezTo>
                  <a:cubicBezTo>
                    <a:pt x="353692" y="-26593"/>
                    <a:pt x="396068" y="66735"/>
                    <a:pt x="340732" y="100280"/>
                  </a:cubicBezTo>
                  <a:cubicBezTo>
                    <a:pt x="351342" y="92593"/>
                    <a:pt x="319449" y="115528"/>
                    <a:pt x="314748" y="117624"/>
                  </a:cubicBezTo>
                  <a:cubicBezTo>
                    <a:pt x="304138" y="125311"/>
                    <a:pt x="296705" y="139924"/>
                    <a:pt x="294544" y="135286"/>
                  </a:cubicBezTo>
                  <a:cubicBezTo>
                    <a:pt x="294544" y="141004"/>
                    <a:pt x="296451" y="145642"/>
                    <a:pt x="296006" y="157077"/>
                  </a:cubicBezTo>
                  <a:cubicBezTo>
                    <a:pt x="303375" y="204409"/>
                    <a:pt x="310682" y="251740"/>
                    <a:pt x="320402" y="297927"/>
                  </a:cubicBezTo>
                  <a:cubicBezTo>
                    <a:pt x="335523" y="381090"/>
                    <a:pt x="369321" y="486744"/>
                    <a:pt x="354518" y="572194"/>
                  </a:cubicBezTo>
                  <a:cubicBezTo>
                    <a:pt x="348165" y="614442"/>
                    <a:pt x="311698" y="639474"/>
                    <a:pt x="268560" y="625243"/>
                  </a:cubicBezTo>
                  <a:cubicBezTo>
                    <a:pt x="230124" y="608915"/>
                    <a:pt x="198358" y="569906"/>
                    <a:pt x="170785" y="540237"/>
                  </a:cubicBezTo>
                  <a:cubicBezTo>
                    <a:pt x="113695" y="476343"/>
                    <a:pt x="59922" y="409571"/>
                    <a:pt x="9668" y="340176"/>
                  </a:cubicBezTo>
                  <a:cubicBezTo>
                    <a:pt x="-28451" y="287127"/>
                    <a:pt x="49821" y="223468"/>
                    <a:pt x="90290" y="275437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 14"/>
            <p:cNvSpPr/>
            <p:nvPr/>
          </p:nvSpPr>
          <p:spPr>
            <a:xfrm>
              <a:off x="4494869" y="4089375"/>
              <a:ext cx="731188" cy="915335"/>
            </a:xfrm>
            <a:custGeom>
              <a:avLst/>
              <a:gdLst>
                <a:gd name="connsiteX0" fmla="*/ -514 w 645799"/>
                <a:gd name="connsiteY0" fmla="*/ 61416 h 808441"/>
                <a:gd name="connsiteX1" fmla="*/ 219877 w 645799"/>
                <a:gd name="connsiteY1" fmla="*/ -210 h 808441"/>
                <a:gd name="connsiteX2" fmla="*/ 333662 w 645799"/>
                <a:gd name="connsiteY2" fmla="*/ 71263 h 808441"/>
                <a:gd name="connsiteX3" fmla="*/ 441666 w 645799"/>
                <a:gd name="connsiteY3" fmla="*/ -210 h 808441"/>
                <a:gd name="connsiteX4" fmla="*/ 481564 w 645799"/>
                <a:gd name="connsiteY4" fmla="*/ 3475 h 808441"/>
                <a:gd name="connsiteX5" fmla="*/ 625527 w 645799"/>
                <a:gd name="connsiteY5" fmla="*/ 23360 h 808441"/>
                <a:gd name="connsiteX6" fmla="*/ 637598 w 645799"/>
                <a:gd name="connsiteY6" fmla="*/ 333459 h 808441"/>
                <a:gd name="connsiteX7" fmla="*/ 645285 w 645799"/>
                <a:gd name="connsiteY7" fmla="*/ 792920 h 808441"/>
                <a:gd name="connsiteX8" fmla="*/ 384488 w 645799"/>
                <a:gd name="connsiteY8" fmla="*/ 808231 h 808441"/>
                <a:gd name="connsiteX9" fmla="*/ 20006 w 645799"/>
                <a:gd name="connsiteY9" fmla="*/ 792920 h 808441"/>
                <a:gd name="connsiteX10" fmla="*/ 27694 w 645799"/>
                <a:gd name="connsiteY10" fmla="*/ 333459 h 808441"/>
                <a:gd name="connsiteX11" fmla="*/ -514 w 645799"/>
                <a:gd name="connsiteY11" fmla="*/ 61416 h 808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45799" h="808441">
                  <a:moveTo>
                    <a:pt x="-514" y="61416"/>
                  </a:moveTo>
                  <a:lnTo>
                    <a:pt x="219877" y="-210"/>
                  </a:lnTo>
                  <a:cubicBezTo>
                    <a:pt x="235252" y="69103"/>
                    <a:pt x="308250" y="71263"/>
                    <a:pt x="333662" y="71263"/>
                  </a:cubicBezTo>
                  <a:cubicBezTo>
                    <a:pt x="365428" y="71263"/>
                    <a:pt x="426292" y="69103"/>
                    <a:pt x="441666" y="-210"/>
                  </a:cubicBezTo>
                  <a:lnTo>
                    <a:pt x="481564" y="3475"/>
                  </a:lnTo>
                  <a:cubicBezTo>
                    <a:pt x="594142" y="14085"/>
                    <a:pt x="625527" y="23360"/>
                    <a:pt x="625527" y="23360"/>
                  </a:cubicBezTo>
                  <a:cubicBezTo>
                    <a:pt x="597382" y="336508"/>
                    <a:pt x="658436" y="258428"/>
                    <a:pt x="637598" y="333459"/>
                  </a:cubicBezTo>
                  <a:cubicBezTo>
                    <a:pt x="581436" y="535045"/>
                    <a:pt x="645285" y="792920"/>
                    <a:pt x="645285" y="792920"/>
                  </a:cubicBezTo>
                  <a:cubicBezTo>
                    <a:pt x="543317" y="808231"/>
                    <a:pt x="455770" y="808231"/>
                    <a:pt x="384488" y="808231"/>
                  </a:cubicBezTo>
                  <a:cubicBezTo>
                    <a:pt x="17401" y="808231"/>
                    <a:pt x="20006" y="792920"/>
                    <a:pt x="20006" y="792920"/>
                  </a:cubicBezTo>
                  <a:cubicBezTo>
                    <a:pt x="20006" y="792920"/>
                    <a:pt x="85889" y="477866"/>
                    <a:pt x="27694" y="333459"/>
                  </a:cubicBezTo>
                  <a:cubicBezTo>
                    <a:pt x="2281" y="269927"/>
                    <a:pt x="-514" y="61416"/>
                    <a:pt x="-514" y="61416"/>
                  </a:cubicBezTo>
                  <a:close/>
                </a:path>
              </a:pathLst>
            </a:custGeom>
            <a:solidFill>
              <a:srgbClr val="BE5ED3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 15"/>
            <p:cNvSpPr/>
            <p:nvPr/>
          </p:nvSpPr>
          <p:spPr>
            <a:xfrm>
              <a:off x="4736560" y="4414867"/>
              <a:ext cx="302114" cy="302114"/>
            </a:xfrm>
            <a:custGeom>
              <a:avLst/>
              <a:gdLst>
                <a:gd name="connsiteX0" fmla="*/ 266833 w 266833"/>
                <a:gd name="connsiteY0" fmla="*/ 133417 h 266833"/>
                <a:gd name="connsiteX1" fmla="*/ 133417 w 266833"/>
                <a:gd name="connsiteY1" fmla="*/ 266833 h 266833"/>
                <a:gd name="connsiteX2" fmla="*/ 0 w 266833"/>
                <a:gd name="connsiteY2" fmla="*/ 133417 h 266833"/>
                <a:gd name="connsiteX3" fmla="*/ 133417 w 266833"/>
                <a:gd name="connsiteY3" fmla="*/ 0 h 266833"/>
                <a:gd name="connsiteX4" fmla="*/ 266833 w 266833"/>
                <a:gd name="connsiteY4" fmla="*/ 133417 h 2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833" h="266833">
                  <a:moveTo>
                    <a:pt x="266833" y="133417"/>
                  </a:moveTo>
                  <a:cubicBezTo>
                    <a:pt x="266833" y="207101"/>
                    <a:pt x="207101" y="266833"/>
                    <a:pt x="133417" y="266833"/>
                  </a:cubicBezTo>
                  <a:cubicBezTo>
                    <a:pt x="59733" y="266833"/>
                    <a:pt x="0" y="207101"/>
                    <a:pt x="0" y="133417"/>
                  </a:cubicBezTo>
                  <a:cubicBezTo>
                    <a:pt x="0" y="59733"/>
                    <a:pt x="59733" y="0"/>
                    <a:pt x="133417" y="0"/>
                  </a:cubicBezTo>
                  <a:cubicBezTo>
                    <a:pt x="207101" y="0"/>
                    <a:pt x="266833" y="59733"/>
                    <a:pt x="266833" y="133417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 16"/>
            <p:cNvSpPr/>
            <p:nvPr/>
          </p:nvSpPr>
          <p:spPr>
            <a:xfrm>
              <a:off x="4808492" y="4501185"/>
              <a:ext cx="28772" cy="57545"/>
            </a:xfrm>
            <a:custGeom>
              <a:avLst/>
              <a:gdLst>
                <a:gd name="connsiteX0" fmla="*/ 25413 w 25412"/>
                <a:gd name="connsiteY0" fmla="*/ 25413 h 50825"/>
                <a:gd name="connsiteX1" fmla="*/ 12706 w 25412"/>
                <a:gd name="connsiteY1" fmla="*/ 50825 h 50825"/>
                <a:gd name="connsiteX2" fmla="*/ 0 w 25412"/>
                <a:gd name="connsiteY2" fmla="*/ 25413 h 50825"/>
                <a:gd name="connsiteX3" fmla="*/ 12706 w 25412"/>
                <a:gd name="connsiteY3" fmla="*/ 0 h 50825"/>
                <a:gd name="connsiteX4" fmla="*/ 25413 w 25412"/>
                <a:gd name="connsiteY4" fmla="*/ 25413 h 50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12" h="50825">
                  <a:moveTo>
                    <a:pt x="25413" y="25413"/>
                  </a:moveTo>
                  <a:cubicBezTo>
                    <a:pt x="25413" y="39448"/>
                    <a:pt x="19724" y="50825"/>
                    <a:pt x="12706" y="50825"/>
                  </a:cubicBezTo>
                  <a:cubicBezTo>
                    <a:pt x="5689" y="50825"/>
                    <a:pt x="0" y="39448"/>
                    <a:pt x="0" y="25413"/>
                  </a:cubicBezTo>
                  <a:cubicBezTo>
                    <a:pt x="0" y="11378"/>
                    <a:pt x="5689" y="0"/>
                    <a:pt x="12706" y="0"/>
                  </a:cubicBezTo>
                  <a:cubicBezTo>
                    <a:pt x="19724" y="0"/>
                    <a:pt x="25413" y="11378"/>
                    <a:pt x="25413" y="25413"/>
                  </a:cubicBez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 17"/>
            <p:cNvSpPr/>
            <p:nvPr/>
          </p:nvSpPr>
          <p:spPr>
            <a:xfrm>
              <a:off x="4937970" y="4501185"/>
              <a:ext cx="28772" cy="57545"/>
            </a:xfrm>
            <a:custGeom>
              <a:avLst/>
              <a:gdLst>
                <a:gd name="connsiteX0" fmla="*/ 25413 w 25412"/>
                <a:gd name="connsiteY0" fmla="*/ 25413 h 50825"/>
                <a:gd name="connsiteX1" fmla="*/ 12706 w 25412"/>
                <a:gd name="connsiteY1" fmla="*/ 50825 h 50825"/>
                <a:gd name="connsiteX2" fmla="*/ 0 w 25412"/>
                <a:gd name="connsiteY2" fmla="*/ 25413 h 50825"/>
                <a:gd name="connsiteX3" fmla="*/ 12706 w 25412"/>
                <a:gd name="connsiteY3" fmla="*/ 0 h 50825"/>
                <a:gd name="connsiteX4" fmla="*/ 25413 w 25412"/>
                <a:gd name="connsiteY4" fmla="*/ 25413 h 50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12" h="50825">
                  <a:moveTo>
                    <a:pt x="25413" y="25413"/>
                  </a:moveTo>
                  <a:cubicBezTo>
                    <a:pt x="25413" y="39448"/>
                    <a:pt x="19724" y="50825"/>
                    <a:pt x="12706" y="50825"/>
                  </a:cubicBezTo>
                  <a:cubicBezTo>
                    <a:pt x="5689" y="50825"/>
                    <a:pt x="0" y="39448"/>
                    <a:pt x="0" y="25413"/>
                  </a:cubicBezTo>
                  <a:cubicBezTo>
                    <a:pt x="0" y="11378"/>
                    <a:pt x="5689" y="0"/>
                    <a:pt x="12706" y="0"/>
                  </a:cubicBezTo>
                  <a:cubicBezTo>
                    <a:pt x="19724" y="0"/>
                    <a:pt x="25413" y="11378"/>
                    <a:pt x="25413" y="25413"/>
                  </a:cubicBez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 18"/>
            <p:cNvSpPr/>
            <p:nvPr/>
          </p:nvSpPr>
          <p:spPr>
            <a:xfrm>
              <a:off x="4809355" y="4601890"/>
              <a:ext cx="156524" cy="64640"/>
            </a:xfrm>
            <a:custGeom>
              <a:avLst/>
              <a:gdLst>
                <a:gd name="connsiteX0" fmla="*/ -514 w 138245"/>
                <a:gd name="connsiteY0" fmla="*/ -210 h 57091"/>
                <a:gd name="connsiteX1" fmla="*/ 81924 w 138245"/>
                <a:gd name="connsiteY1" fmla="*/ 55596 h 57091"/>
                <a:gd name="connsiteX2" fmla="*/ 137731 w 138245"/>
                <a:gd name="connsiteY2" fmla="*/ -210 h 57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8245" h="57091">
                  <a:moveTo>
                    <a:pt x="-514" y="-210"/>
                  </a:moveTo>
                  <a:cubicBezTo>
                    <a:pt x="6836" y="37966"/>
                    <a:pt x="43748" y="62953"/>
                    <a:pt x="81924" y="55596"/>
                  </a:cubicBezTo>
                  <a:cubicBezTo>
                    <a:pt x="110183" y="50152"/>
                    <a:pt x="132286" y="28055"/>
                    <a:pt x="137731" y="-210"/>
                  </a:cubicBezTo>
                  <a:close/>
                </a:path>
              </a:pathLst>
            </a:custGeom>
            <a:solidFill>
              <a:srgbClr val="E27AA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 19"/>
            <p:cNvSpPr/>
            <p:nvPr/>
          </p:nvSpPr>
          <p:spPr>
            <a:xfrm>
              <a:off x="4509837" y="4987374"/>
              <a:ext cx="724245" cy="307437"/>
            </a:xfrm>
            <a:custGeom>
              <a:avLst/>
              <a:gdLst>
                <a:gd name="connsiteX0" fmla="*/ 6214 w 639667"/>
                <a:gd name="connsiteY0" fmla="*/ -210 h 271534"/>
                <a:gd name="connsiteX1" fmla="*/ 632637 w 639667"/>
                <a:gd name="connsiteY1" fmla="*/ -210 h 271534"/>
                <a:gd name="connsiteX2" fmla="*/ 537657 w 639667"/>
                <a:gd name="connsiteY2" fmla="*/ 271325 h 271534"/>
                <a:gd name="connsiteX3" fmla="*/ 101194 w 639667"/>
                <a:gd name="connsiteY3" fmla="*/ 271325 h 271534"/>
                <a:gd name="connsiteX4" fmla="*/ 5897 w 639667"/>
                <a:gd name="connsiteY4" fmla="*/ -210 h 271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9667" h="271534">
                  <a:moveTo>
                    <a:pt x="6214" y="-210"/>
                  </a:moveTo>
                  <a:cubicBezTo>
                    <a:pt x="295029" y="15101"/>
                    <a:pt x="632637" y="-210"/>
                    <a:pt x="632637" y="-210"/>
                  </a:cubicBezTo>
                  <a:cubicBezTo>
                    <a:pt x="632637" y="-210"/>
                    <a:pt x="676283" y="271325"/>
                    <a:pt x="537657" y="271325"/>
                  </a:cubicBezTo>
                  <a:lnTo>
                    <a:pt x="101194" y="271325"/>
                  </a:lnTo>
                  <a:cubicBezTo>
                    <a:pt x="-37432" y="271325"/>
                    <a:pt x="5897" y="-210"/>
                    <a:pt x="5897" y="-210"/>
                  </a:cubicBez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 20"/>
            <p:cNvSpPr/>
            <p:nvPr/>
          </p:nvSpPr>
          <p:spPr>
            <a:xfrm>
              <a:off x="5524719" y="5246473"/>
              <a:ext cx="230304" cy="183920"/>
            </a:xfrm>
            <a:custGeom>
              <a:avLst/>
              <a:gdLst>
                <a:gd name="connsiteX0" fmla="*/ 27630 w 203409"/>
                <a:gd name="connsiteY0" fmla="*/ -210 h 162442"/>
                <a:gd name="connsiteX1" fmla="*/ 202787 w 203409"/>
                <a:gd name="connsiteY1" fmla="*/ 97057 h 162442"/>
                <a:gd name="connsiteX2" fmla="*/ -514 w 203409"/>
                <a:gd name="connsiteY2" fmla="*/ 161034 h 162442"/>
                <a:gd name="connsiteX3" fmla="*/ 27630 w 203409"/>
                <a:gd name="connsiteY3" fmla="*/ -210 h 162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3409" h="162442">
                  <a:moveTo>
                    <a:pt x="27630" y="-210"/>
                  </a:moveTo>
                  <a:cubicBezTo>
                    <a:pt x="27630" y="-210"/>
                    <a:pt x="207933" y="20247"/>
                    <a:pt x="202787" y="97057"/>
                  </a:cubicBezTo>
                  <a:cubicBezTo>
                    <a:pt x="200246" y="176408"/>
                    <a:pt x="-514" y="161034"/>
                    <a:pt x="-514" y="161034"/>
                  </a:cubicBezTo>
                  <a:lnTo>
                    <a:pt x="27630" y="-210"/>
                  </a:ln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 21"/>
            <p:cNvSpPr/>
            <p:nvPr/>
          </p:nvSpPr>
          <p:spPr>
            <a:xfrm>
              <a:off x="4100646" y="5006258"/>
              <a:ext cx="1488236" cy="437236"/>
            </a:xfrm>
            <a:custGeom>
              <a:avLst/>
              <a:gdLst>
                <a:gd name="connsiteX0" fmla="*/ 1313924 w 1314438"/>
                <a:gd name="connsiteY0" fmla="*/ 208966 h 386175"/>
                <a:gd name="connsiteX1" fmla="*/ 2820 w 1314438"/>
                <a:gd name="connsiteY1" fmla="*/ 90797 h 386175"/>
                <a:gd name="connsiteX2" fmla="*/ 1293403 w 1314438"/>
                <a:gd name="connsiteY2" fmla="*/ 385966 h 386175"/>
                <a:gd name="connsiteX3" fmla="*/ 1313924 w 1314438"/>
                <a:gd name="connsiteY3" fmla="*/ 208712 h 386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4438" h="386175">
                  <a:moveTo>
                    <a:pt x="1313924" y="208966"/>
                  </a:moveTo>
                  <a:cubicBezTo>
                    <a:pt x="1313924" y="208966"/>
                    <a:pt x="82361" y="-168603"/>
                    <a:pt x="2820" y="90797"/>
                  </a:cubicBezTo>
                  <a:cubicBezTo>
                    <a:pt x="-76722" y="347847"/>
                    <a:pt x="1293403" y="385966"/>
                    <a:pt x="1293403" y="385966"/>
                  </a:cubicBezTo>
                  <a:lnTo>
                    <a:pt x="1313924" y="208712"/>
                  </a:lnTo>
                  <a:close/>
                </a:path>
              </a:pathLst>
            </a:custGeom>
            <a:solidFill>
              <a:srgbClr val="1E216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 22"/>
            <p:cNvSpPr/>
            <p:nvPr/>
          </p:nvSpPr>
          <p:spPr>
            <a:xfrm>
              <a:off x="4002665" y="5286755"/>
              <a:ext cx="235837" cy="184637"/>
            </a:xfrm>
            <a:custGeom>
              <a:avLst/>
              <a:gdLst>
                <a:gd name="connsiteX0" fmla="*/ 169282 w 208296"/>
                <a:gd name="connsiteY0" fmla="*/ -210 h 163075"/>
                <a:gd name="connsiteX1" fmla="*/ -94 w 208296"/>
                <a:gd name="connsiteY1" fmla="*/ 109382 h 163075"/>
                <a:gd name="connsiteX2" fmla="*/ 207782 w 208296"/>
                <a:gd name="connsiteY2" fmla="*/ 157857 h 163075"/>
                <a:gd name="connsiteX3" fmla="*/ 169282 w 208296"/>
                <a:gd name="connsiteY3" fmla="*/ -210 h 163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8296" h="163075">
                  <a:moveTo>
                    <a:pt x="169282" y="-210"/>
                  </a:moveTo>
                  <a:cubicBezTo>
                    <a:pt x="169282" y="-210"/>
                    <a:pt x="-10322" y="32890"/>
                    <a:pt x="-94" y="109382"/>
                  </a:cubicBezTo>
                  <a:cubicBezTo>
                    <a:pt x="10135" y="185874"/>
                    <a:pt x="207782" y="157857"/>
                    <a:pt x="207782" y="157857"/>
                  </a:cubicBezTo>
                  <a:lnTo>
                    <a:pt x="169282" y="-210"/>
                  </a:ln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 23"/>
            <p:cNvSpPr/>
            <p:nvPr/>
          </p:nvSpPr>
          <p:spPr>
            <a:xfrm>
              <a:off x="4163334" y="4959760"/>
              <a:ext cx="1475212" cy="524448"/>
            </a:xfrm>
            <a:custGeom>
              <a:avLst/>
              <a:gdLst>
                <a:gd name="connsiteX0" fmla="*/ -514 w 1302935"/>
                <a:gd name="connsiteY0" fmla="*/ 288407 h 463202"/>
                <a:gd name="connsiteX1" fmla="*/ 1297439 w 1302935"/>
                <a:gd name="connsiteY1" fmla="*/ 75449 h 463202"/>
                <a:gd name="connsiteX2" fmla="*/ 30298 w 1302935"/>
                <a:gd name="connsiteY2" fmla="*/ 462992 h 463202"/>
                <a:gd name="connsiteX3" fmla="*/ -514 w 1302935"/>
                <a:gd name="connsiteY3" fmla="*/ 288535 h 463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2935" h="463202">
                  <a:moveTo>
                    <a:pt x="-514" y="288407"/>
                  </a:moveTo>
                  <a:cubicBezTo>
                    <a:pt x="-514" y="288407"/>
                    <a:pt x="1197376" y="-178551"/>
                    <a:pt x="1297439" y="75449"/>
                  </a:cubicBezTo>
                  <a:cubicBezTo>
                    <a:pt x="1394896" y="326908"/>
                    <a:pt x="30298" y="462992"/>
                    <a:pt x="30298" y="462992"/>
                  </a:cubicBezTo>
                  <a:lnTo>
                    <a:pt x="-514" y="288535"/>
                  </a:lnTo>
                  <a:close/>
                </a:path>
              </a:pathLst>
            </a:custGeom>
            <a:solidFill>
              <a:srgbClr val="2A3072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 24"/>
            <p:cNvSpPr/>
            <p:nvPr/>
          </p:nvSpPr>
          <p:spPr>
            <a:xfrm>
              <a:off x="4197069" y="4159220"/>
              <a:ext cx="334881" cy="457055"/>
            </a:xfrm>
            <a:custGeom>
              <a:avLst/>
              <a:gdLst>
                <a:gd name="connsiteX0" fmla="*/ 262507 w 295773"/>
                <a:gd name="connsiteY0" fmla="*/ -210 h 403680"/>
                <a:gd name="connsiteX1" fmla="*/ -514 w 295773"/>
                <a:gd name="connsiteY1" fmla="*/ 206522 h 403680"/>
                <a:gd name="connsiteX2" fmla="*/ 151962 w 295773"/>
                <a:gd name="connsiteY2" fmla="*/ 403470 h 403680"/>
                <a:gd name="connsiteX3" fmla="*/ 290969 w 295773"/>
                <a:gd name="connsiteY3" fmla="*/ 272468 h 403680"/>
                <a:gd name="connsiteX4" fmla="*/ 262507 w 295773"/>
                <a:gd name="connsiteY4" fmla="*/ -210 h 403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5773" h="403680">
                  <a:moveTo>
                    <a:pt x="262507" y="-210"/>
                  </a:moveTo>
                  <a:cubicBezTo>
                    <a:pt x="262507" y="-210"/>
                    <a:pt x="113843" y="47693"/>
                    <a:pt x="-514" y="206522"/>
                  </a:cubicBezTo>
                  <a:lnTo>
                    <a:pt x="151962" y="403470"/>
                  </a:lnTo>
                  <a:cubicBezTo>
                    <a:pt x="151962" y="403470"/>
                    <a:pt x="278326" y="317766"/>
                    <a:pt x="290969" y="272468"/>
                  </a:cubicBezTo>
                  <a:cubicBezTo>
                    <a:pt x="309393" y="206395"/>
                    <a:pt x="262507" y="-210"/>
                    <a:pt x="262507" y="-210"/>
                  </a:cubicBezTo>
                  <a:close/>
                </a:path>
              </a:pathLst>
            </a:custGeom>
            <a:solidFill>
              <a:srgbClr val="BE5ED3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 25"/>
            <p:cNvSpPr/>
            <p:nvPr/>
          </p:nvSpPr>
          <p:spPr>
            <a:xfrm>
              <a:off x="5168201" y="4116061"/>
              <a:ext cx="316452" cy="449862"/>
            </a:xfrm>
            <a:custGeom>
              <a:avLst/>
              <a:gdLst>
                <a:gd name="connsiteX0" fmla="*/ 30827 w 279496"/>
                <a:gd name="connsiteY0" fmla="*/ -210 h 397327"/>
                <a:gd name="connsiteX1" fmla="*/ 278982 w 279496"/>
                <a:gd name="connsiteY1" fmla="*/ 203092 h 397327"/>
                <a:gd name="connsiteX2" fmla="*/ 134892 w 279496"/>
                <a:gd name="connsiteY2" fmla="*/ 397117 h 397327"/>
                <a:gd name="connsiteX3" fmla="*/ 3508 w 279496"/>
                <a:gd name="connsiteY3" fmla="*/ 268148 h 397327"/>
                <a:gd name="connsiteX4" fmla="*/ 30827 w 279496"/>
                <a:gd name="connsiteY4" fmla="*/ -210 h 397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9496" h="397327">
                  <a:moveTo>
                    <a:pt x="30827" y="-210"/>
                  </a:moveTo>
                  <a:cubicBezTo>
                    <a:pt x="30827" y="-210"/>
                    <a:pt x="161575" y="21899"/>
                    <a:pt x="278982" y="203092"/>
                  </a:cubicBezTo>
                  <a:lnTo>
                    <a:pt x="134892" y="397117"/>
                  </a:lnTo>
                  <a:cubicBezTo>
                    <a:pt x="134892" y="397117"/>
                    <a:pt x="15452" y="312747"/>
                    <a:pt x="3508" y="268148"/>
                  </a:cubicBezTo>
                  <a:cubicBezTo>
                    <a:pt x="-13899" y="203155"/>
                    <a:pt x="30827" y="-210"/>
                    <a:pt x="30827" y="-210"/>
                  </a:cubicBezTo>
                  <a:close/>
                </a:path>
              </a:pathLst>
            </a:custGeom>
            <a:solidFill>
              <a:srgbClr val="BE5ED3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 26"/>
            <p:cNvSpPr/>
            <p:nvPr/>
          </p:nvSpPr>
          <p:spPr>
            <a:xfrm>
              <a:off x="3207781" y="3560975"/>
              <a:ext cx="1486066" cy="1759003"/>
            </a:xfrm>
            <a:custGeom>
              <a:avLst/>
              <a:gdLst>
                <a:gd name="connsiteX0" fmla="*/ 933471 w 1312521"/>
                <a:gd name="connsiteY0" fmla="*/ 872704 h 1553585"/>
                <a:gd name="connsiteX1" fmla="*/ 1030738 w 1312521"/>
                <a:gd name="connsiteY1" fmla="*/ 1006121 h 1553585"/>
                <a:gd name="connsiteX2" fmla="*/ 1002848 w 1312521"/>
                <a:gd name="connsiteY2" fmla="*/ 1177656 h 1553585"/>
                <a:gd name="connsiteX3" fmla="*/ 831211 w 1312521"/>
                <a:gd name="connsiteY3" fmla="*/ 1152962 h 1553585"/>
                <a:gd name="connsiteX4" fmla="*/ 830677 w 1312521"/>
                <a:gd name="connsiteY4" fmla="*/ 1152244 h 1553585"/>
                <a:gd name="connsiteX5" fmla="*/ 674897 w 1312521"/>
                <a:gd name="connsiteY5" fmla="*/ 940874 h 1553585"/>
                <a:gd name="connsiteX6" fmla="*/ 674008 w 1312521"/>
                <a:gd name="connsiteY6" fmla="*/ 935220 h 1553585"/>
                <a:gd name="connsiteX7" fmla="*/ 669942 w 1312521"/>
                <a:gd name="connsiteY7" fmla="*/ 931217 h 1553585"/>
                <a:gd name="connsiteX8" fmla="*/ 695354 w 1312521"/>
                <a:gd name="connsiteY8" fmla="*/ 758792 h 1553585"/>
                <a:gd name="connsiteX9" fmla="*/ 761046 w 1312521"/>
                <a:gd name="connsiteY9" fmla="*/ 359495 h 1553585"/>
                <a:gd name="connsiteX10" fmla="*/ 364075 w 1312521"/>
                <a:gd name="connsiteY10" fmla="*/ 301001 h 1553585"/>
                <a:gd name="connsiteX11" fmla="*/ 362321 w 1312521"/>
                <a:gd name="connsiteY11" fmla="*/ 302316 h 1553585"/>
                <a:gd name="connsiteX12" fmla="*/ 248727 w 1312521"/>
                <a:gd name="connsiteY12" fmla="*/ 557015 h 1553585"/>
                <a:gd name="connsiteX13" fmla="*/ 137946 w 1312521"/>
                <a:gd name="connsiteY13" fmla="*/ 696670 h 1553585"/>
                <a:gd name="connsiteX14" fmla="*/ 136910 w 1312521"/>
                <a:gd name="connsiteY14" fmla="*/ 696785 h 1553585"/>
                <a:gd name="connsiteX15" fmla="*/ 2668 w 1312521"/>
                <a:gd name="connsiteY15" fmla="*/ 586557 h 1553585"/>
                <a:gd name="connsiteX16" fmla="*/ 216389 w 1312521"/>
                <a:gd name="connsiteY16" fmla="*/ 102509 h 1553585"/>
                <a:gd name="connsiteX17" fmla="*/ 960282 w 1312521"/>
                <a:gd name="connsiteY17" fmla="*/ 215786 h 1553585"/>
                <a:gd name="connsiteX18" fmla="*/ 933471 w 1312521"/>
                <a:gd name="connsiteY18" fmla="*/ 872704 h 1553585"/>
                <a:gd name="connsiteX19" fmla="*/ 1259071 w 1312521"/>
                <a:gd name="connsiteY19" fmla="*/ 1318824 h 1553585"/>
                <a:gd name="connsiteX20" fmla="*/ 1287153 w 1312521"/>
                <a:gd name="connsiteY20" fmla="*/ 1357388 h 1553585"/>
                <a:gd name="connsiteX21" fmla="*/ 1259199 w 1312521"/>
                <a:gd name="connsiteY21" fmla="*/ 1528923 h 1553585"/>
                <a:gd name="connsiteX22" fmla="*/ 1087644 w 1312521"/>
                <a:gd name="connsiteY22" fmla="*/ 1504260 h 1553585"/>
                <a:gd name="connsiteX23" fmla="*/ 1087091 w 1312521"/>
                <a:gd name="connsiteY23" fmla="*/ 1503511 h 1553585"/>
                <a:gd name="connsiteX24" fmla="*/ 1061678 w 1312521"/>
                <a:gd name="connsiteY24" fmla="*/ 1465391 h 1553585"/>
                <a:gd name="connsiteX25" fmla="*/ 1087091 w 1312521"/>
                <a:gd name="connsiteY25" fmla="*/ 1292967 h 1553585"/>
                <a:gd name="connsiteX26" fmla="*/ 1259199 w 1312521"/>
                <a:gd name="connsiteY26" fmla="*/ 1318379 h 1553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312521" h="1553585">
                  <a:moveTo>
                    <a:pt x="933471" y="872704"/>
                  </a:moveTo>
                  <a:lnTo>
                    <a:pt x="1030738" y="1006121"/>
                  </a:lnTo>
                  <a:cubicBezTo>
                    <a:pt x="1071971" y="1062410"/>
                    <a:pt x="1061551" y="1137187"/>
                    <a:pt x="1002848" y="1177656"/>
                  </a:cubicBezTo>
                  <a:cubicBezTo>
                    <a:pt x="948630" y="1218234"/>
                    <a:pt x="871788" y="1207179"/>
                    <a:pt x="831211" y="1152962"/>
                  </a:cubicBezTo>
                  <a:cubicBezTo>
                    <a:pt x="831033" y="1152720"/>
                    <a:pt x="830855" y="1152485"/>
                    <a:pt x="830677" y="1152244"/>
                  </a:cubicBezTo>
                  <a:lnTo>
                    <a:pt x="674897" y="940874"/>
                  </a:lnTo>
                  <a:cubicBezTo>
                    <a:pt x="673246" y="937633"/>
                    <a:pt x="676486" y="935982"/>
                    <a:pt x="674008" y="935220"/>
                  </a:cubicBezTo>
                  <a:cubicBezTo>
                    <a:pt x="671530" y="934457"/>
                    <a:pt x="671594" y="934457"/>
                    <a:pt x="669942" y="931217"/>
                  </a:cubicBezTo>
                  <a:cubicBezTo>
                    <a:pt x="630362" y="878168"/>
                    <a:pt x="642369" y="798499"/>
                    <a:pt x="695354" y="758792"/>
                  </a:cubicBezTo>
                  <a:cubicBezTo>
                    <a:pt x="824769" y="665400"/>
                    <a:pt x="855010" y="486495"/>
                    <a:pt x="761046" y="359495"/>
                  </a:cubicBezTo>
                  <a:cubicBezTo>
                    <a:pt x="667578" y="233721"/>
                    <a:pt x="489849" y="207534"/>
                    <a:pt x="364075" y="301001"/>
                  </a:cubicBezTo>
                  <a:cubicBezTo>
                    <a:pt x="363490" y="301439"/>
                    <a:pt x="362906" y="301878"/>
                    <a:pt x="362321" y="302316"/>
                  </a:cubicBezTo>
                  <a:cubicBezTo>
                    <a:pt x="281636" y="360797"/>
                    <a:pt x="238326" y="457912"/>
                    <a:pt x="248727" y="557015"/>
                  </a:cubicBezTo>
                  <a:cubicBezTo>
                    <a:pt x="256700" y="626169"/>
                    <a:pt x="207101" y="688697"/>
                    <a:pt x="137946" y="696670"/>
                  </a:cubicBezTo>
                  <a:cubicBezTo>
                    <a:pt x="137603" y="696708"/>
                    <a:pt x="137254" y="696747"/>
                    <a:pt x="136910" y="696785"/>
                  </a:cubicBezTo>
                  <a:cubicBezTo>
                    <a:pt x="68106" y="701741"/>
                    <a:pt x="9847" y="656252"/>
                    <a:pt x="2668" y="586557"/>
                  </a:cubicBezTo>
                  <a:cubicBezTo>
                    <a:pt x="-18056" y="398554"/>
                    <a:pt x="63493" y="213855"/>
                    <a:pt x="216389" y="102509"/>
                  </a:cubicBezTo>
                  <a:cubicBezTo>
                    <a:pt x="453375" y="-70456"/>
                    <a:pt x="785519" y="-19878"/>
                    <a:pt x="960282" y="215786"/>
                  </a:cubicBezTo>
                  <a:cubicBezTo>
                    <a:pt x="1106405" y="415975"/>
                    <a:pt x="1089251" y="688017"/>
                    <a:pt x="933471" y="872704"/>
                  </a:cubicBezTo>
                  <a:close/>
                  <a:moveTo>
                    <a:pt x="1259071" y="1318824"/>
                  </a:moveTo>
                  <a:lnTo>
                    <a:pt x="1287153" y="1357388"/>
                  </a:lnTo>
                  <a:cubicBezTo>
                    <a:pt x="1328321" y="1413677"/>
                    <a:pt x="1317902" y="1488454"/>
                    <a:pt x="1259199" y="1528923"/>
                  </a:cubicBezTo>
                  <a:cubicBezTo>
                    <a:pt x="1205012" y="1569488"/>
                    <a:pt x="1128209" y="1558440"/>
                    <a:pt x="1087644" y="1504260"/>
                  </a:cubicBezTo>
                  <a:cubicBezTo>
                    <a:pt x="1087460" y="1504013"/>
                    <a:pt x="1087275" y="1503758"/>
                    <a:pt x="1087091" y="1503511"/>
                  </a:cubicBezTo>
                  <a:lnTo>
                    <a:pt x="1061678" y="1465391"/>
                  </a:lnTo>
                  <a:cubicBezTo>
                    <a:pt x="1019684" y="1411517"/>
                    <a:pt x="1034106" y="1332610"/>
                    <a:pt x="1087091" y="1292967"/>
                  </a:cubicBezTo>
                  <a:cubicBezTo>
                    <a:pt x="1141671" y="1252592"/>
                    <a:pt x="1218621" y="1263958"/>
                    <a:pt x="1259199" y="1318379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 27"/>
            <p:cNvSpPr/>
            <p:nvPr/>
          </p:nvSpPr>
          <p:spPr>
            <a:xfrm>
              <a:off x="6164723" y="1962102"/>
              <a:ext cx="703194" cy="564027"/>
            </a:xfrm>
            <a:custGeom>
              <a:avLst/>
              <a:gdLst>
                <a:gd name="connsiteX0" fmla="*/ 577794 w 621074"/>
                <a:gd name="connsiteY0" fmla="*/ 416455 h 498159"/>
                <a:gd name="connsiteX1" fmla="*/ 538976 w 621074"/>
                <a:gd name="connsiteY1" fmla="*/ 192061 h 498159"/>
                <a:gd name="connsiteX2" fmla="*/ 398317 w 621074"/>
                <a:gd name="connsiteY2" fmla="*/ 31135 h 498159"/>
                <a:gd name="connsiteX3" fmla="*/ 10265 w 621074"/>
                <a:gd name="connsiteY3" fmla="*/ 121159 h 498159"/>
                <a:gd name="connsiteX4" fmla="*/ 38156 w 621074"/>
                <a:gd name="connsiteY4" fmla="*/ 265504 h 498159"/>
                <a:gd name="connsiteX5" fmla="*/ 65983 w 621074"/>
                <a:gd name="connsiteY5" fmla="*/ 440152 h 498159"/>
                <a:gd name="connsiteX6" fmla="*/ 577794 w 621074"/>
                <a:gd name="connsiteY6" fmla="*/ 416455 h 498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1074" h="498159">
                  <a:moveTo>
                    <a:pt x="577794" y="416455"/>
                  </a:moveTo>
                  <a:cubicBezTo>
                    <a:pt x="667819" y="254576"/>
                    <a:pt x="596536" y="161629"/>
                    <a:pt x="538976" y="192061"/>
                  </a:cubicBezTo>
                  <a:cubicBezTo>
                    <a:pt x="538976" y="192061"/>
                    <a:pt x="530399" y="91617"/>
                    <a:pt x="398317" y="31135"/>
                  </a:cubicBezTo>
                  <a:cubicBezTo>
                    <a:pt x="245841" y="-38750"/>
                    <a:pt x="48893" y="15633"/>
                    <a:pt x="10265" y="121159"/>
                  </a:cubicBezTo>
                  <a:cubicBezTo>
                    <a:pt x="-25186" y="218554"/>
                    <a:pt x="38156" y="265504"/>
                    <a:pt x="38156" y="265504"/>
                  </a:cubicBezTo>
                  <a:cubicBezTo>
                    <a:pt x="38156" y="265504"/>
                    <a:pt x="-1043" y="335388"/>
                    <a:pt x="65983" y="440152"/>
                  </a:cubicBezTo>
                  <a:cubicBezTo>
                    <a:pt x="133009" y="544916"/>
                    <a:pt x="537515" y="488945"/>
                    <a:pt x="577794" y="416455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 28"/>
            <p:cNvSpPr/>
            <p:nvPr/>
          </p:nvSpPr>
          <p:spPr>
            <a:xfrm>
              <a:off x="6390997" y="2695691"/>
              <a:ext cx="273341" cy="276362"/>
            </a:xfrm>
            <a:custGeom>
              <a:avLst/>
              <a:gdLst>
                <a:gd name="connsiteX0" fmla="*/ 120196 w 241420"/>
                <a:gd name="connsiteY0" fmla="*/ 243879 h 244088"/>
                <a:gd name="connsiteX1" fmla="*/ 120196 w 241420"/>
                <a:gd name="connsiteY1" fmla="*/ 243879 h 244088"/>
                <a:gd name="connsiteX2" fmla="*/ -514 w 241420"/>
                <a:gd name="connsiteY2" fmla="*/ 160017 h 244088"/>
                <a:gd name="connsiteX3" fmla="*/ -514 w 241420"/>
                <a:gd name="connsiteY3" fmla="*/ -210 h 244088"/>
                <a:gd name="connsiteX4" fmla="*/ 240906 w 241420"/>
                <a:gd name="connsiteY4" fmla="*/ -210 h 244088"/>
                <a:gd name="connsiteX5" fmla="*/ 240906 w 241420"/>
                <a:gd name="connsiteY5" fmla="*/ 160335 h 244088"/>
                <a:gd name="connsiteX6" fmla="*/ 120958 w 241420"/>
                <a:gd name="connsiteY6" fmla="*/ 243752 h 244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1420" h="244088">
                  <a:moveTo>
                    <a:pt x="120196" y="243879"/>
                  </a:moveTo>
                  <a:lnTo>
                    <a:pt x="120196" y="243879"/>
                  </a:lnTo>
                  <a:cubicBezTo>
                    <a:pt x="53551" y="243879"/>
                    <a:pt x="-514" y="206332"/>
                    <a:pt x="-514" y="160017"/>
                  </a:cubicBezTo>
                  <a:lnTo>
                    <a:pt x="-514" y="-210"/>
                  </a:lnTo>
                  <a:lnTo>
                    <a:pt x="240906" y="-210"/>
                  </a:lnTo>
                  <a:lnTo>
                    <a:pt x="240906" y="160335"/>
                  </a:lnTo>
                  <a:cubicBezTo>
                    <a:pt x="240906" y="206395"/>
                    <a:pt x="187222" y="243752"/>
                    <a:pt x="120958" y="243752"/>
                  </a:cubicBez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 29"/>
            <p:cNvSpPr/>
            <p:nvPr/>
          </p:nvSpPr>
          <p:spPr>
            <a:xfrm>
              <a:off x="6190954" y="2434905"/>
              <a:ext cx="140645" cy="163868"/>
            </a:xfrm>
            <a:custGeom>
              <a:avLst/>
              <a:gdLst>
                <a:gd name="connsiteX0" fmla="*/ 89827 w 124220"/>
                <a:gd name="connsiteY0" fmla="*/ 32284 h 144731"/>
                <a:gd name="connsiteX1" fmla="*/ -514 w 124220"/>
                <a:gd name="connsiteY1" fmla="*/ 54139 h 144731"/>
                <a:gd name="connsiteX2" fmla="*/ 109904 w 124220"/>
                <a:gd name="connsiteY2" fmla="*/ 127518 h 144731"/>
                <a:gd name="connsiteX3" fmla="*/ 89827 w 124220"/>
                <a:gd name="connsiteY3" fmla="*/ 32221 h 14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220" h="144731">
                  <a:moveTo>
                    <a:pt x="89827" y="32284"/>
                  </a:moveTo>
                  <a:cubicBezTo>
                    <a:pt x="47960" y="-30739"/>
                    <a:pt x="-514" y="9730"/>
                    <a:pt x="-514" y="54139"/>
                  </a:cubicBezTo>
                  <a:cubicBezTo>
                    <a:pt x="-514" y="118306"/>
                    <a:pt x="69752" y="173579"/>
                    <a:pt x="109904" y="127518"/>
                  </a:cubicBezTo>
                  <a:cubicBezTo>
                    <a:pt x="150056" y="81458"/>
                    <a:pt x="89827" y="32221"/>
                    <a:pt x="89827" y="3222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 30"/>
            <p:cNvSpPr/>
            <p:nvPr/>
          </p:nvSpPr>
          <p:spPr>
            <a:xfrm>
              <a:off x="6727091" y="2434905"/>
              <a:ext cx="140816" cy="163868"/>
            </a:xfrm>
            <a:custGeom>
              <a:avLst/>
              <a:gdLst>
                <a:gd name="connsiteX0" fmla="*/ 33579 w 124371"/>
                <a:gd name="connsiteY0" fmla="*/ 32284 h 144731"/>
                <a:gd name="connsiteX1" fmla="*/ 123857 w 124371"/>
                <a:gd name="connsiteY1" fmla="*/ 54139 h 144731"/>
                <a:gd name="connsiteX2" fmla="*/ 13439 w 124371"/>
                <a:gd name="connsiteY2" fmla="*/ 127518 h 144731"/>
                <a:gd name="connsiteX3" fmla="*/ 33579 w 124371"/>
                <a:gd name="connsiteY3" fmla="*/ 32221 h 14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371" h="144731">
                  <a:moveTo>
                    <a:pt x="33579" y="32284"/>
                  </a:moveTo>
                  <a:cubicBezTo>
                    <a:pt x="75319" y="-30739"/>
                    <a:pt x="123857" y="9730"/>
                    <a:pt x="123857" y="54139"/>
                  </a:cubicBezTo>
                  <a:cubicBezTo>
                    <a:pt x="123857" y="118306"/>
                    <a:pt x="53972" y="173579"/>
                    <a:pt x="13439" y="127518"/>
                  </a:cubicBezTo>
                  <a:cubicBezTo>
                    <a:pt x="-27095" y="81458"/>
                    <a:pt x="33579" y="32221"/>
                    <a:pt x="33579" y="3222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 31"/>
            <p:cNvSpPr/>
            <p:nvPr/>
          </p:nvSpPr>
          <p:spPr>
            <a:xfrm>
              <a:off x="6265196" y="2209296"/>
              <a:ext cx="527030" cy="543940"/>
            </a:xfrm>
            <a:custGeom>
              <a:avLst/>
              <a:gdLst>
                <a:gd name="connsiteX0" fmla="*/ 232068 w 465483"/>
                <a:gd name="connsiteY0" fmla="*/ 480209 h 480418"/>
                <a:gd name="connsiteX1" fmla="*/ 7928 w 465483"/>
                <a:gd name="connsiteY1" fmla="*/ 114266 h 480418"/>
                <a:gd name="connsiteX2" fmla="*/ 456589 w 465483"/>
                <a:gd name="connsiteY2" fmla="*/ 114266 h 480418"/>
                <a:gd name="connsiteX3" fmla="*/ 232068 w 465483"/>
                <a:gd name="connsiteY3" fmla="*/ 480209 h 480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5483" h="480418">
                  <a:moveTo>
                    <a:pt x="232068" y="480209"/>
                  </a:moveTo>
                  <a:cubicBezTo>
                    <a:pt x="66886" y="480209"/>
                    <a:pt x="-30763" y="299588"/>
                    <a:pt x="7928" y="114266"/>
                  </a:cubicBezTo>
                  <a:cubicBezTo>
                    <a:pt x="39694" y="-38527"/>
                    <a:pt x="424696" y="-38210"/>
                    <a:pt x="456589" y="114266"/>
                  </a:cubicBezTo>
                  <a:cubicBezTo>
                    <a:pt x="495153" y="299588"/>
                    <a:pt x="397251" y="480209"/>
                    <a:pt x="232068" y="480209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 32"/>
            <p:cNvSpPr/>
            <p:nvPr/>
          </p:nvSpPr>
          <p:spPr>
            <a:xfrm>
              <a:off x="6255890" y="2082565"/>
              <a:ext cx="448236" cy="230262"/>
            </a:xfrm>
            <a:custGeom>
              <a:avLst/>
              <a:gdLst>
                <a:gd name="connsiteX0" fmla="*/ 386663 w 395890"/>
                <a:gd name="connsiteY0" fmla="*/ 112221 h 203372"/>
                <a:gd name="connsiteX1" fmla="*/ 250388 w 395890"/>
                <a:gd name="connsiteY1" fmla="*/ 153708 h 203372"/>
                <a:gd name="connsiteX2" fmla="*/ 94799 w 395890"/>
                <a:gd name="connsiteY2" fmla="*/ 202246 h 203372"/>
                <a:gd name="connsiteX3" fmla="*/ 66146 w 395890"/>
                <a:gd name="connsiteY3" fmla="*/ 31028 h 203372"/>
                <a:gd name="connsiteX4" fmla="*/ 386663 w 395890"/>
                <a:gd name="connsiteY4" fmla="*/ 112221 h 203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5890" h="203372">
                  <a:moveTo>
                    <a:pt x="386663" y="112221"/>
                  </a:moveTo>
                  <a:cubicBezTo>
                    <a:pt x="344034" y="208472"/>
                    <a:pt x="250388" y="153708"/>
                    <a:pt x="250388" y="153708"/>
                  </a:cubicBezTo>
                  <a:cubicBezTo>
                    <a:pt x="207091" y="190022"/>
                    <a:pt x="151062" y="207500"/>
                    <a:pt x="94799" y="202246"/>
                  </a:cubicBezTo>
                  <a:cubicBezTo>
                    <a:pt x="581" y="192970"/>
                    <a:pt x="-48592" y="79439"/>
                    <a:pt x="66146" y="31028"/>
                  </a:cubicBezTo>
                  <a:cubicBezTo>
                    <a:pt x="180884" y="-17383"/>
                    <a:pt x="446701" y="-22784"/>
                    <a:pt x="386663" y="112221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 33"/>
            <p:cNvSpPr/>
            <p:nvPr/>
          </p:nvSpPr>
          <p:spPr>
            <a:xfrm>
              <a:off x="5999615" y="5296537"/>
              <a:ext cx="484830" cy="136671"/>
            </a:xfrm>
            <a:custGeom>
              <a:avLst/>
              <a:gdLst>
                <a:gd name="connsiteX0" fmla="*/ 415046 w 428211"/>
                <a:gd name="connsiteY0" fmla="*/ -210 h 120710"/>
                <a:gd name="connsiteX1" fmla="*/ 150755 w 428211"/>
                <a:gd name="connsiteY1" fmla="*/ -210 h 120710"/>
                <a:gd name="connsiteX2" fmla="*/ -514 w 428211"/>
                <a:gd name="connsiteY2" fmla="*/ 107794 h 120710"/>
                <a:gd name="connsiteX3" fmla="*/ -514 w 428211"/>
                <a:gd name="connsiteY3" fmla="*/ 120500 h 120710"/>
                <a:gd name="connsiteX4" fmla="*/ 425148 w 428211"/>
                <a:gd name="connsiteY4" fmla="*/ 120500 h 120710"/>
                <a:gd name="connsiteX5" fmla="*/ 414856 w 428211"/>
                <a:gd name="connsiteY5" fmla="*/ -210 h 120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8211" h="120710">
                  <a:moveTo>
                    <a:pt x="415046" y="-210"/>
                  </a:moveTo>
                  <a:lnTo>
                    <a:pt x="150755" y="-210"/>
                  </a:lnTo>
                  <a:cubicBezTo>
                    <a:pt x="150755" y="-210"/>
                    <a:pt x="14924" y="76981"/>
                    <a:pt x="-514" y="107794"/>
                  </a:cubicBezTo>
                  <a:lnTo>
                    <a:pt x="-514" y="120500"/>
                  </a:lnTo>
                  <a:lnTo>
                    <a:pt x="425148" y="120500"/>
                  </a:lnTo>
                  <a:cubicBezTo>
                    <a:pt x="425148" y="120500"/>
                    <a:pt x="435377" y="30412"/>
                    <a:pt x="414856" y="-210"/>
                  </a:cubicBezTo>
                  <a:close/>
                </a:path>
              </a:pathLst>
            </a:custGeom>
            <a:solidFill>
              <a:srgbClr val="00065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 34"/>
            <p:cNvSpPr/>
            <p:nvPr/>
          </p:nvSpPr>
          <p:spPr>
            <a:xfrm>
              <a:off x="5999255" y="5433496"/>
              <a:ext cx="483023" cy="22802"/>
            </a:xfrm>
            <a:custGeom>
              <a:avLst/>
              <a:gdLst>
                <a:gd name="connsiteX0" fmla="*/ 426615 w 426615"/>
                <a:gd name="connsiteY0" fmla="*/ 0 h 20139"/>
                <a:gd name="connsiteX1" fmla="*/ 0 w 426615"/>
                <a:gd name="connsiteY1" fmla="*/ 0 h 20139"/>
                <a:gd name="connsiteX2" fmla="*/ 0 w 426615"/>
                <a:gd name="connsiteY2" fmla="*/ 20140 h 20139"/>
                <a:gd name="connsiteX3" fmla="*/ 426615 w 426615"/>
                <a:gd name="connsiteY3" fmla="*/ 20140 h 20139"/>
                <a:gd name="connsiteX4" fmla="*/ 426615 w 426615"/>
                <a:gd name="connsiteY4" fmla="*/ 0 h 20139"/>
                <a:gd name="connsiteX5" fmla="*/ 426615 w 426615"/>
                <a:gd name="connsiteY5" fmla="*/ 0 h 2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6615" h="20139">
                  <a:moveTo>
                    <a:pt x="426615" y="0"/>
                  </a:moveTo>
                  <a:lnTo>
                    <a:pt x="0" y="0"/>
                  </a:lnTo>
                  <a:lnTo>
                    <a:pt x="0" y="20140"/>
                  </a:lnTo>
                  <a:lnTo>
                    <a:pt x="426615" y="20140"/>
                  </a:lnTo>
                  <a:lnTo>
                    <a:pt x="426615" y="0"/>
                  </a:lnTo>
                  <a:lnTo>
                    <a:pt x="426615" y="0"/>
                  </a:ln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 35"/>
            <p:cNvSpPr/>
            <p:nvPr/>
          </p:nvSpPr>
          <p:spPr>
            <a:xfrm>
              <a:off x="6140242" y="3782441"/>
              <a:ext cx="395626" cy="1526181"/>
            </a:xfrm>
            <a:custGeom>
              <a:avLst/>
              <a:gdLst>
                <a:gd name="connsiteX0" fmla="*/ 348910 w 349424"/>
                <a:gd name="connsiteY0" fmla="*/ -210 h 1347952"/>
                <a:gd name="connsiteX1" fmla="*/ 17656 w 349424"/>
                <a:gd name="connsiteY1" fmla="*/ -210 h 1347952"/>
                <a:gd name="connsiteX2" fmla="*/ -514 w 349424"/>
                <a:gd name="connsiteY2" fmla="*/ 1347742 h 1347952"/>
                <a:gd name="connsiteX3" fmla="*/ 305200 w 349424"/>
                <a:gd name="connsiteY3" fmla="*/ 1347742 h 1347952"/>
                <a:gd name="connsiteX4" fmla="*/ 346369 w 349424"/>
                <a:gd name="connsiteY4" fmla="*/ 202583 h 1347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424" h="1347952">
                  <a:moveTo>
                    <a:pt x="348910" y="-210"/>
                  </a:moveTo>
                  <a:lnTo>
                    <a:pt x="17656" y="-210"/>
                  </a:lnTo>
                  <a:lnTo>
                    <a:pt x="-514" y="1347742"/>
                  </a:lnTo>
                  <a:lnTo>
                    <a:pt x="305200" y="1347742"/>
                  </a:lnTo>
                  <a:cubicBezTo>
                    <a:pt x="305200" y="1347742"/>
                    <a:pt x="303548" y="602833"/>
                    <a:pt x="346369" y="202583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 36"/>
            <p:cNvSpPr/>
            <p:nvPr/>
          </p:nvSpPr>
          <p:spPr>
            <a:xfrm>
              <a:off x="6583298" y="5296537"/>
              <a:ext cx="484866" cy="136671"/>
            </a:xfrm>
            <a:custGeom>
              <a:avLst/>
              <a:gdLst>
                <a:gd name="connsiteX0" fmla="*/ 12168 w 428243"/>
                <a:gd name="connsiteY0" fmla="*/ -210 h 120710"/>
                <a:gd name="connsiteX1" fmla="*/ 276460 w 428243"/>
                <a:gd name="connsiteY1" fmla="*/ -210 h 120710"/>
                <a:gd name="connsiteX2" fmla="*/ 427729 w 428243"/>
                <a:gd name="connsiteY2" fmla="*/ 107794 h 120710"/>
                <a:gd name="connsiteX3" fmla="*/ 427729 w 428243"/>
                <a:gd name="connsiteY3" fmla="*/ 120500 h 120710"/>
                <a:gd name="connsiteX4" fmla="*/ 2067 w 428243"/>
                <a:gd name="connsiteY4" fmla="*/ 120500 h 120710"/>
                <a:gd name="connsiteX5" fmla="*/ 12295 w 428243"/>
                <a:gd name="connsiteY5" fmla="*/ -210 h 120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8243" h="120710">
                  <a:moveTo>
                    <a:pt x="12168" y="-210"/>
                  </a:moveTo>
                  <a:lnTo>
                    <a:pt x="276460" y="-210"/>
                  </a:lnTo>
                  <a:cubicBezTo>
                    <a:pt x="276460" y="-210"/>
                    <a:pt x="412354" y="76981"/>
                    <a:pt x="427729" y="107794"/>
                  </a:cubicBezTo>
                  <a:lnTo>
                    <a:pt x="427729" y="120500"/>
                  </a:lnTo>
                  <a:lnTo>
                    <a:pt x="2067" y="120500"/>
                  </a:lnTo>
                  <a:cubicBezTo>
                    <a:pt x="2067" y="120500"/>
                    <a:pt x="-8226" y="30412"/>
                    <a:pt x="12295" y="-210"/>
                  </a:cubicBezTo>
                  <a:close/>
                </a:path>
              </a:pathLst>
            </a:custGeom>
            <a:solidFill>
              <a:srgbClr val="00065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 37"/>
            <p:cNvSpPr/>
            <p:nvPr/>
          </p:nvSpPr>
          <p:spPr>
            <a:xfrm>
              <a:off x="6585142" y="5433496"/>
              <a:ext cx="483023" cy="22802"/>
            </a:xfrm>
            <a:custGeom>
              <a:avLst/>
              <a:gdLst>
                <a:gd name="connsiteX0" fmla="*/ 0 w 426615"/>
                <a:gd name="connsiteY0" fmla="*/ 0 h 20139"/>
                <a:gd name="connsiteX1" fmla="*/ 426615 w 426615"/>
                <a:gd name="connsiteY1" fmla="*/ 0 h 20139"/>
                <a:gd name="connsiteX2" fmla="*/ 426615 w 426615"/>
                <a:gd name="connsiteY2" fmla="*/ 20140 h 20139"/>
                <a:gd name="connsiteX3" fmla="*/ 0 w 426615"/>
                <a:gd name="connsiteY3" fmla="*/ 20140 h 20139"/>
                <a:gd name="connsiteX4" fmla="*/ 0 w 426615"/>
                <a:gd name="connsiteY4" fmla="*/ 0 h 20139"/>
                <a:gd name="connsiteX5" fmla="*/ 0 w 426615"/>
                <a:gd name="connsiteY5" fmla="*/ 0 h 2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6615" h="20139">
                  <a:moveTo>
                    <a:pt x="0" y="0"/>
                  </a:moveTo>
                  <a:lnTo>
                    <a:pt x="426615" y="0"/>
                  </a:lnTo>
                  <a:lnTo>
                    <a:pt x="426615" y="20140"/>
                  </a:lnTo>
                  <a:lnTo>
                    <a:pt x="0" y="2014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 38"/>
            <p:cNvSpPr/>
            <p:nvPr/>
          </p:nvSpPr>
          <p:spPr>
            <a:xfrm>
              <a:off x="6531551" y="3782441"/>
              <a:ext cx="395698" cy="1526181"/>
            </a:xfrm>
            <a:custGeom>
              <a:avLst/>
              <a:gdLst>
                <a:gd name="connsiteX0" fmla="*/ -514 w 349488"/>
                <a:gd name="connsiteY0" fmla="*/ -210 h 1347952"/>
                <a:gd name="connsiteX1" fmla="*/ 330803 w 349488"/>
                <a:gd name="connsiteY1" fmla="*/ -210 h 1347952"/>
                <a:gd name="connsiteX2" fmla="*/ 348974 w 349488"/>
                <a:gd name="connsiteY2" fmla="*/ 1347742 h 1347952"/>
                <a:gd name="connsiteX3" fmla="*/ 43259 w 349488"/>
                <a:gd name="connsiteY3" fmla="*/ 1347742 h 1347952"/>
                <a:gd name="connsiteX4" fmla="*/ 2408 w 349488"/>
                <a:gd name="connsiteY4" fmla="*/ 202583 h 1347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488" h="1347952">
                  <a:moveTo>
                    <a:pt x="-514" y="-210"/>
                  </a:moveTo>
                  <a:lnTo>
                    <a:pt x="330803" y="-210"/>
                  </a:lnTo>
                  <a:lnTo>
                    <a:pt x="348974" y="1347742"/>
                  </a:lnTo>
                  <a:lnTo>
                    <a:pt x="43259" y="1347742"/>
                  </a:lnTo>
                  <a:cubicBezTo>
                    <a:pt x="43259" y="1347742"/>
                    <a:pt x="44911" y="602833"/>
                    <a:pt x="2408" y="202583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 39"/>
            <p:cNvSpPr/>
            <p:nvPr/>
          </p:nvSpPr>
          <p:spPr>
            <a:xfrm>
              <a:off x="6096076" y="2836102"/>
              <a:ext cx="877570" cy="1154292"/>
            </a:xfrm>
            <a:custGeom>
              <a:avLst/>
              <a:gdLst>
                <a:gd name="connsiteX0" fmla="*/ 259966 w 775086"/>
                <a:gd name="connsiteY0" fmla="*/ -210 h 1019493"/>
                <a:gd name="connsiteX1" fmla="*/ 380676 w 775086"/>
                <a:gd name="connsiteY1" fmla="*/ 81873 h 1019493"/>
                <a:gd name="connsiteX2" fmla="*/ 383217 w 775086"/>
                <a:gd name="connsiteY2" fmla="*/ 81873 h 1019493"/>
                <a:gd name="connsiteX3" fmla="*/ 501132 w 775086"/>
                <a:gd name="connsiteY3" fmla="*/ -210 h 1019493"/>
                <a:gd name="connsiteX4" fmla="*/ 703735 w 775086"/>
                <a:gd name="connsiteY4" fmla="*/ 40832 h 1019493"/>
                <a:gd name="connsiteX5" fmla="*/ 774573 w 775086"/>
                <a:gd name="connsiteY5" fmla="*/ 943109 h 1019493"/>
                <a:gd name="connsiteX6" fmla="*/ -514 w 775086"/>
                <a:gd name="connsiteY6" fmla="*/ 924050 h 1019493"/>
                <a:gd name="connsiteX7" fmla="*/ 66893 w 775086"/>
                <a:gd name="connsiteY7" fmla="*/ 30603 h 1019493"/>
                <a:gd name="connsiteX8" fmla="*/ 260029 w 775086"/>
                <a:gd name="connsiteY8" fmla="*/ -210 h 1019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75086" h="1019493">
                  <a:moveTo>
                    <a:pt x="259966" y="-210"/>
                  </a:moveTo>
                  <a:cubicBezTo>
                    <a:pt x="277882" y="79268"/>
                    <a:pt x="372734" y="81873"/>
                    <a:pt x="380676" y="81873"/>
                  </a:cubicBezTo>
                  <a:lnTo>
                    <a:pt x="383217" y="81873"/>
                  </a:lnTo>
                  <a:cubicBezTo>
                    <a:pt x="390904" y="81873"/>
                    <a:pt x="480611" y="79268"/>
                    <a:pt x="501132" y="-210"/>
                  </a:cubicBezTo>
                  <a:lnTo>
                    <a:pt x="703735" y="40832"/>
                  </a:lnTo>
                  <a:lnTo>
                    <a:pt x="774573" y="943109"/>
                  </a:lnTo>
                  <a:cubicBezTo>
                    <a:pt x="615743" y="1025700"/>
                    <a:pt x="132394" y="1069347"/>
                    <a:pt x="-514" y="924050"/>
                  </a:cubicBezTo>
                  <a:lnTo>
                    <a:pt x="66893" y="30603"/>
                  </a:lnTo>
                  <a:lnTo>
                    <a:pt x="260029" y="-210"/>
                  </a:lnTo>
                  <a:close/>
                </a:path>
              </a:pathLst>
            </a:custGeom>
            <a:solidFill>
              <a:srgbClr val="00065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 40"/>
            <p:cNvSpPr/>
            <p:nvPr/>
          </p:nvSpPr>
          <p:spPr>
            <a:xfrm>
              <a:off x="5368249" y="3005839"/>
              <a:ext cx="792980" cy="422613"/>
            </a:xfrm>
            <a:custGeom>
              <a:avLst/>
              <a:gdLst>
                <a:gd name="connsiteX0" fmla="*/ 698477 w 700375"/>
                <a:gd name="connsiteY0" fmla="*/ 67344 h 373260"/>
                <a:gd name="connsiteX1" fmla="*/ 582976 w 700375"/>
                <a:gd name="connsiteY1" fmla="*/ 238880 h 373260"/>
                <a:gd name="connsiteX2" fmla="*/ 51470 w 700375"/>
                <a:gd name="connsiteY2" fmla="*/ 369755 h 373260"/>
                <a:gd name="connsiteX3" fmla="*/ 51470 w 700375"/>
                <a:gd name="connsiteY3" fmla="*/ 261751 h 373260"/>
                <a:gd name="connsiteX4" fmla="*/ 505786 w 700375"/>
                <a:gd name="connsiteY4" fmla="*/ 161816 h 373260"/>
                <a:gd name="connsiteX5" fmla="*/ 580181 w 700375"/>
                <a:gd name="connsiteY5" fmla="*/ 74714 h 373260"/>
                <a:gd name="connsiteX6" fmla="*/ 587932 w 700375"/>
                <a:gd name="connsiteY6" fmla="*/ 56798 h 373260"/>
                <a:gd name="connsiteX7" fmla="*/ 587932 w 700375"/>
                <a:gd name="connsiteY7" fmla="*/ 59339 h 373260"/>
                <a:gd name="connsiteX8" fmla="*/ 590474 w 700375"/>
                <a:gd name="connsiteY8" fmla="*/ 51652 h 373260"/>
                <a:gd name="connsiteX9" fmla="*/ 593015 w 700375"/>
                <a:gd name="connsiteY9" fmla="*/ 38945 h 373260"/>
                <a:gd name="connsiteX10" fmla="*/ 698287 w 700375"/>
                <a:gd name="connsiteY10" fmla="*/ 67154 h 37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00375" h="373260">
                  <a:moveTo>
                    <a:pt x="698477" y="67344"/>
                  </a:moveTo>
                  <a:cubicBezTo>
                    <a:pt x="683039" y="133989"/>
                    <a:pt x="634310" y="195488"/>
                    <a:pt x="582976" y="238880"/>
                  </a:cubicBezTo>
                  <a:cubicBezTo>
                    <a:pt x="439014" y="362068"/>
                    <a:pt x="233933" y="382525"/>
                    <a:pt x="51470" y="369755"/>
                  </a:cubicBezTo>
                  <a:cubicBezTo>
                    <a:pt x="-17843" y="364609"/>
                    <a:pt x="-17843" y="256986"/>
                    <a:pt x="51470" y="261751"/>
                  </a:cubicBezTo>
                  <a:cubicBezTo>
                    <a:pt x="202930" y="274457"/>
                    <a:pt x="385139" y="264356"/>
                    <a:pt x="505786" y="161816"/>
                  </a:cubicBezTo>
                  <a:cubicBezTo>
                    <a:pt x="541681" y="131066"/>
                    <a:pt x="559660" y="110609"/>
                    <a:pt x="580181" y="74714"/>
                  </a:cubicBezTo>
                  <a:cubicBezTo>
                    <a:pt x="582284" y="68545"/>
                    <a:pt x="584876" y="62554"/>
                    <a:pt x="587932" y="56798"/>
                  </a:cubicBezTo>
                  <a:cubicBezTo>
                    <a:pt x="593015" y="46506"/>
                    <a:pt x="582786" y="69504"/>
                    <a:pt x="587932" y="59339"/>
                  </a:cubicBezTo>
                  <a:cubicBezTo>
                    <a:pt x="587932" y="56798"/>
                    <a:pt x="590474" y="54193"/>
                    <a:pt x="590474" y="51652"/>
                  </a:cubicBezTo>
                  <a:cubicBezTo>
                    <a:pt x="591077" y="47370"/>
                    <a:pt x="591928" y="43132"/>
                    <a:pt x="593015" y="38945"/>
                  </a:cubicBezTo>
                  <a:cubicBezTo>
                    <a:pt x="610994" y="-30241"/>
                    <a:pt x="713725" y="509"/>
                    <a:pt x="698287" y="67154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 41"/>
            <p:cNvSpPr/>
            <p:nvPr/>
          </p:nvSpPr>
          <p:spPr>
            <a:xfrm>
              <a:off x="5555003" y="2870989"/>
              <a:ext cx="617392" cy="613005"/>
            </a:xfrm>
            <a:custGeom>
              <a:avLst/>
              <a:gdLst>
                <a:gd name="connsiteX0" fmla="*/ 14860 w 545292"/>
                <a:gd name="connsiteY0" fmla="*/ 541208 h 541418"/>
                <a:gd name="connsiteX1" fmla="*/ 534550 w 545292"/>
                <a:gd name="connsiteY1" fmla="*/ 283332 h 541418"/>
                <a:gd name="connsiteX2" fmla="*/ 544778 w 545292"/>
                <a:gd name="connsiteY2" fmla="*/ -210 h 541418"/>
                <a:gd name="connsiteX3" fmla="*/ 544778 w 545292"/>
                <a:gd name="connsiteY3" fmla="*/ -210 h 541418"/>
                <a:gd name="connsiteX4" fmla="*/ 356661 w 545292"/>
                <a:gd name="connsiteY4" fmla="*/ 143562 h 541418"/>
                <a:gd name="connsiteX5" fmla="*/ -514 w 545292"/>
                <a:gd name="connsiteY5" fmla="*/ 353662 h 541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5292" h="541418">
                  <a:moveTo>
                    <a:pt x="14860" y="541208"/>
                  </a:moveTo>
                  <a:cubicBezTo>
                    <a:pt x="14860" y="541208"/>
                    <a:pt x="369367" y="543812"/>
                    <a:pt x="534550" y="283332"/>
                  </a:cubicBezTo>
                  <a:lnTo>
                    <a:pt x="544778" y="-210"/>
                  </a:lnTo>
                  <a:lnTo>
                    <a:pt x="544778" y="-210"/>
                  </a:lnTo>
                  <a:cubicBezTo>
                    <a:pt x="544778" y="-210"/>
                    <a:pt x="471018" y="3793"/>
                    <a:pt x="356661" y="143562"/>
                  </a:cubicBezTo>
                  <a:cubicBezTo>
                    <a:pt x="285251" y="230855"/>
                    <a:pt x="140653" y="363890"/>
                    <a:pt x="-514" y="353662"/>
                  </a:cubicBez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 42"/>
            <p:cNvSpPr/>
            <p:nvPr/>
          </p:nvSpPr>
          <p:spPr>
            <a:xfrm>
              <a:off x="4621893" y="1105990"/>
              <a:ext cx="1140920" cy="1998720"/>
            </a:xfrm>
            <a:custGeom>
              <a:avLst/>
              <a:gdLst>
                <a:gd name="connsiteX0" fmla="*/ 596690 w 1007682"/>
                <a:gd name="connsiteY0" fmla="*/ 1042540 h 1765307"/>
                <a:gd name="connsiteX1" fmla="*/ 596690 w 1007682"/>
                <a:gd name="connsiteY1" fmla="*/ 1209120 h 1765307"/>
                <a:gd name="connsiteX2" fmla="*/ 479747 w 1007682"/>
                <a:gd name="connsiteY2" fmla="*/ 1332124 h 1765307"/>
                <a:gd name="connsiteX3" fmla="*/ 473502 w 1007682"/>
                <a:gd name="connsiteY3" fmla="*/ 1332118 h 1765307"/>
                <a:gd name="connsiteX4" fmla="*/ 350314 w 1007682"/>
                <a:gd name="connsiteY4" fmla="*/ 1209120 h 1765307"/>
                <a:gd name="connsiteX5" fmla="*/ 350314 w 1007682"/>
                <a:gd name="connsiteY5" fmla="*/ 945209 h 1765307"/>
                <a:gd name="connsiteX6" fmla="*/ 352855 w 1007682"/>
                <a:gd name="connsiteY6" fmla="*/ 940063 h 1765307"/>
                <a:gd name="connsiteX7" fmla="*/ 350314 w 1007682"/>
                <a:gd name="connsiteY7" fmla="*/ 934981 h 1765307"/>
                <a:gd name="connsiteX8" fmla="*/ 473502 w 1007682"/>
                <a:gd name="connsiteY8" fmla="*/ 811983 h 1765307"/>
                <a:gd name="connsiteX9" fmla="*/ 760983 w 1007682"/>
                <a:gd name="connsiteY9" fmla="*/ 530157 h 1765307"/>
                <a:gd name="connsiteX10" fmla="*/ 473502 w 1007682"/>
                <a:gd name="connsiteY10" fmla="*/ 245725 h 1765307"/>
                <a:gd name="connsiteX11" fmla="*/ 229667 w 1007682"/>
                <a:gd name="connsiteY11" fmla="*/ 384097 h 1765307"/>
                <a:gd name="connsiteX12" fmla="*/ 62134 w 1007682"/>
                <a:gd name="connsiteY12" fmla="*/ 430888 h 1765307"/>
                <a:gd name="connsiteX13" fmla="*/ 15343 w 1007682"/>
                <a:gd name="connsiteY13" fmla="*/ 263355 h 1765307"/>
                <a:gd name="connsiteX14" fmla="*/ 16645 w 1007682"/>
                <a:gd name="connsiteY14" fmla="*/ 261100 h 1765307"/>
                <a:gd name="connsiteX15" fmla="*/ 473502 w 1007682"/>
                <a:gd name="connsiteY15" fmla="*/ -206 h 1765307"/>
                <a:gd name="connsiteX16" fmla="*/ 1007168 w 1007682"/>
                <a:gd name="connsiteY16" fmla="*/ 530157 h 1765307"/>
                <a:gd name="connsiteX17" fmla="*/ 596499 w 1007682"/>
                <a:gd name="connsiteY17" fmla="*/ 1042540 h 1765307"/>
                <a:gd name="connsiteX18" fmla="*/ 596690 w 1007682"/>
                <a:gd name="connsiteY18" fmla="*/ 1595965 h 1765307"/>
                <a:gd name="connsiteX19" fmla="*/ 596690 w 1007682"/>
                <a:gd name="connsiteY19" fmla="*/ 1642089 h 1765307"/>
                <a:gd name="connsiteX20" fmla="*/ 473502 w 1007682"/>
                <a:gd name="connsiteY20" fmla="*/ 1765086 h 1765307"/>
                <a:gd name="connsiteX21" fmla="*/ 350314 w 1007682"/>
                <a:gd name="connsiteY21" fmla="*/ 1645221 h 1765307"/>
                <a:gd name="connsiteX22" fmla="*/ 350314 w 1007682"/>
                <a:gd name="connsiteY22" fmla="*/ 1642089 h 1765307"/>
                <a:gd name="connsiteX23" fmla="*/ 350314 w 1007682"/>
                <a:gd name="connsiteY23" fmla="*/ 1595965 h 1765307"/>
                <a:gd name="connsiteX24" fmla="*/ 473502 w 1007682"/>
                <a:gd name="connsiteY24" fmla="*/ 1473031 h 1765307"/>
                <a:gd name="connsiteX25" fmla="*/ 596690 w 1007682"/>
                <a:gd name="connsiteY25" fmla="*/ 1592769 h 1765307"/>
                <a:gd name="connsiteX26" fmla="*/ 596690 w 1007682"/>
                <a:gd name="connsiteY26" fmla="*/ 1595965 h 1765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07682" h="1765307">
                  <a:moveTo>
                    <a:pt x="596690" y="1042540"/>
                  </a:moveTo>
                  <a:lnTo>
                    <a:pt x="596690" y="1209120"/>
                  </a:lnTo>
                  <a:cubicBezTo>
                    <a:pt x="598361" y="1275377"/>
                    <a:pt x="546004" y="1330447"/>
                    <a:pt x="479747" y="1332124"/>
                  </a:cubicBezTo>
                  <a:cubicBezTo>
                    <a:pt x="477663" y="1332175"/>
                    <a:pt x="475579" y="1332175"/>
                    <a:pt x="473502" y="1332118"/>
                  </a:cubicBezTo>
                  <a:cubicBezTo>
                    <a:pt x="405529" y="1332156"/>
                    <a:pt x="350384" y="1277093"/>
                    <a:pt x="350314" y="1209120"/>
                  </a:cubicBezTo>
                  <a:lnTo>
                    <a:pt x="350314" y="945209"/>
                  </a:lnTo>
                  <a:cubicBezTo>
                    <a:pt x="350314" y="942668"/>
                    <a:pt x="352855" y="942668"/>
                    <a:pt x="352855" y="940063"/>
                  </a:cubicBezTo>
                  <a:cubicBezTo>
                    <a:pt x="350314" y="937522"/>
                    <a:pt x="350314" y="937522"/>
                    <a:pt x="350314" y="934981"/>
                  </a:cubicBezTo>
                  <a:cubicBezTo>
                    <a:pt x="350314" y="870941"/>
                    <a:pt x="406793" y="811983"/>
                    <a:pt x="473502" y="811983"/>
                  </a:cubicBezTo>
                  <a:cubicBezTo>
                    <a:pt x="632649" y="811983"/>
                    <a:pt x="760983" y="686445"/>
                    <a:pt x="760983" y="530157"/>
                  </a:cubicBezTo>
                  <a:cubicBezTo>
                    <a:pt x="760983" y="368723"/>
                    <a:pt x="632649" y="245725"/>
                    <a:pt x="473502" y="245725"/>
                  </a:cubicBezTo>
                  <a:cubicBezTo>
                    <a:pt x="373636" y="246094"/>
                    <a:pt x="281198" y="298552"/>
                    <a:pt x="229667" y="384097"/>
                  </a:cubicBezTo>
                  <a:cubicBezTo>
                    <a:pt x="196326" y="443283"/>
                    <a:pt x="121320" y="464230"/>
                    <a:pt x="62134" y="430888"/>
                  </a:cubicBezTo>
                  <a:cubicBezTo>
                    <a:pt x="2948" y="397547"/>
                    <a:pt x="-17999" y="322541"/>
                    <a:pt x="15343" y="263355"/>
                  </a:cubicBezTo>
                  <a:cubicBezTo>
                    <a:pt x="15769" y="262599"/>
                    <a:pt x="16201" y="261850"/>
                    <a:pt x="16645" y="261100"/>
                  </a:cubicBezTo>
                  <a:cubicBezTo>
                    <a:pt x="111346" y="98668"/>
                    <a:pt x="285480" y="-930"/>
                    <a:pt x="473502" y="-206"/>
                  </a:cubicBezTo>
                  <a:cubicBezTo>
                    <a:pt x="766129" y="-206"/>
                    <a:pt x="1007168" y="235497"/>
                    <a:pt x="1007168" y="530157"/>
                  </a:cubicBezTo>
                  <a:cubicBezTo>
                    <a:pt x="1007168" y="778693"/>
                    <a:pt x="832647" y="988792"/>
                    <a:pt x="596499" y="1042540"/>
                  </a:cubicBezTo>
                  <a:close/>
                  <a:moveTo>
                    <a:pt x="596690" y="1595965"/>
                  </a:moveTo>
                  <a:lnTo>
                    <a:pt x="596690" y="1642089"/>
                  </a:lnTo>
                  <a:cubicBezTo>
                    <a:pt x="596690" y="1713816"/>
                    <a:pt x="545356" y="1765086"/>
                    <a:pt x="473502" y="1765086"/>
                  </a:cubicBezTo>
                  <a:cubicBezTo>
                    <a:pt x="406387" y="1766001"/>
                    <a:pt x="351235" y="1712336"/>
                    <a:pt x="350314" y="1645221"/>
                  </a:cubicBezTo>
                  <a:cubicBezTo>
                    <a:pt x="350301" y="1644179"/>
                    <a:pt x="350301" y="1643131"/>
                    <a:pt x="350314" y="1642089"/>
                  </a:cubicBezTo>
                  <a:lnTo>
                    <a:pt x="350314" y="1595965"/>
                  </a:lnTo>
                  <a:cubicBezTo>
                    <a:pt x="351305" y="1528386"/>
                    <a:pt x="405923" y="1473882"/>
                    <a:pt x="473502" y="1473031"/>
                  </a:cubicBezTo>
                  <a:cubicBezTo>
                    <a:pt x="540585" y="1472078"/>
                    <a:pt x="595737" y="1525686"/>
                    <a:pt x="596690" y="1592769"/>
                  </a:cubicBezTo>
                  <a:cubicBezTo>
                    <a:pt x="596703" y="1593830"/>
                    <a:pt x="596703" y="1594897"/>
                    <a:pt x="596690" y="1595965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 43"/>
            <p:cNvSpPr/>
            <p:nvPr/>
          </p:nvSpPr>
          <p:spPr>
            <a:xfrm>
              <a:off x="6447837" y="2687348"/>
              <a:ext cx="549892" cy="723736"/>
            </a:xfrm>
            <a:custGeom>
              <a:avLst/>
              <a:gdLst>
                <a:gd name="connsiteX0" fmla="*/ 104936 w 485675"/>
                <a:gd name="connsiteY0" fmla="*/ 49599 h 639217"/>
                <a:gd name="connsiteX1" fmla="*/ 228188 w 485675"/>
                <a:gd name="connsiteY1" fmla="*/ 397943 h 639217"/>
                <a:gd name="connsiteX2" fmla="*/ 282126 w 485675"/>
                <a:gd name="connsiteY2" fmla="*/ 492733 h 639217"/>
                <a:gd name="connsiteX3" fmla="*/ 305252 w 485675"/>
                <a:gd name="connsiteY3" fmla="*/ 523482 h 639217"/>
                <a:gd name="connsiteX4" fmla="*/ 315544 w 485675"/>
                <a:gd name="connsiteY4" fmla="*/ 533711 h 639217"/>
                <a:gd name="connsiteX5" fmla="*/ 294959 w 485675"/>
                <a:gd name="connsiteY5" fmla="*/ 533711 h 639217"/>
                <a:gd name="connsiteX6" fmla="*/ 310398 w 485675"/>
                <a:gd name="connsiteY6" fmla="*/ 513253 h 639217"/>
                <a:gd name="connsiteX7" fmla="*/ 341210 w 485675"/>
                <a:gd name="connsiteY7" fmla="*/ 456837 h 639217"/>
                <a:gd name="connsiteX8" fmla="*/ 379711 w 485675"/>
                <a:gd name="connsiteY8" fmla="*/ 308300 h 639217"/>
                <a:gd name="connsiteX9" fmla="*/ 484982 w 485675"/>
                <a:gd name="connsiteY9" fmla="*/ 308300 h 639217"/>
                <a:gd name="connsiteX10" fmla="*/ 364272 w 485675"/>
                <a:gd name="connsiteY10" fmla="*/ 613252 h 639217"/>
                <a:gd name="connsiteX11" fmla="*/ 179395 w 485675"/>
                <a:gd name="connsiteY11" fmla="*/ 528692 h 639217"/>
                <a:gd name="connsiteX12" fmla="*/ 53602 w 485675"/>
                <a:gd name="connsiteY12" fmla="*/ 267449 h 639217"/>
                <a:gd name="connsiteX13" fmla="*/ -336 w 485675"/>
                <a:gd name="connsiteY13" fmla="*/ 49726 h 639217"/>
                <a:gd name="connsiteX14" fmla="*/ 104936 w 485675"/>
                <a:gd name="connsiteY14" fmla="*/ 49726 h 639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85675" h="639217">
                  <a:moveTo>
                    <a:pt x="104936" y="49599"/>
                  </a:moveTo>
                  <a:cubicBezTo>
                    <a:pt x="115228" y="172533"/>
                    <a:pt x="174312" y="290384"/>
                    <a:pt x="228188" y="397943"/>
                  </a:cubicBezTo>
                  <a:cubicBezTo>
                    <a:pt x="246167" y="431234"/>
                    <a:pt x="261605" y="461983"/>
                    <a:pt x="282126" y="492733"/>
                  </a:cubicBezTo>
                  <a:lnTo>
                    <a:pt x="305252" y="523482"/>
                  </a:lnTo>
                  <a:cubicBezTo>
                    <a:pt x="307793" y="528565"/>
                    <a:pt x="320626" y="536188"/>
                    <a:pt x="315544" y="533711"/>
                  </a:cubicBezTo>
                  <a:cubicBezTo>
                    <a:pt x="297564" y="541398"/>
                    <a:pt x="290131" y="541398"/>
                    <a:pt x="294959" y="533711"/>
                  </a:cubicBezTo>
                  <a:cubicBezTo>
                    <a:pt x="302647" y="528565"/>
                    <a:pt x="305252" y="521004"/>
                    <a:pt x="310398" y="513253"/>
                  </a:cubicBezTo>
                  <a:cubicBezTo>
                    <a:pt x="322596" y="495566"/>
                    <a:pt x="332951" y="476659"/>
                    <a:pt x="341210" y="456837"/>
                  </a:cubicBezTo>
                  <a:cubicBezTo>
                    <a:pt x="364145" y="410497"/>
                    <a:pt x="377233" y="359932"/>
                    <a:pt x="379711" y="308300"/>
                  </a:cubicBezTo>
                  <a:cubicBezTo>
                    <a:pt x="382252" y="241719"/>
                    <a:pt x="490129" y="241719"/>
                    <a:pt x="484982" y="308300"/>
                  </a:cubicBezTo>
                  <a:cubicBezTo>
                    <a:pt x="479837" y="410777"/>
                    <a:pt x="441336" y="541398"/>
                    <a:pt x="364272" y="613252"/>
                  </a:cubicBezTo>
                  <a:cubicBezTo>
                    <a:pt x="287208" y="685107"/>
                    <a:pt x="218149" y="590190"/>
                    <a:pt x="179395" y="528692"/>
                  </a:cubicBezTo>
                  <a:cubicBezTo>
                    <a:pt x="128061" y="446736"/>
                    <a:pt x="92102" y="357156"/>
                    <a:pt x="53602" y="267449"/>
                  </a:cubicBezTo>
                  <a:cubicBezTo>
                    <a:pt x="25185" y="197869"/>
                    <a:pt x="7014" y="124528"/>
                    <a:pt x="-336" y="49726"/>
                  </a:cubicBezTo>
                  <a:cubicBezTo>
                    <a:pt x="-5419" y="-16855"/>
                    <a:pt x="99853" y="-16855"/>
                    <a:pt x="104936" y="49726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 44"/>
            <p:cNvSpPr/>
            <p:nvPr/>
          </p:nvSpPr>
          <p:spPr>
            <a:xfrm>
              <a:off x="6450484" y="2821356"/>
              <a:ext cx="595677" cy="626971"/>
            </a:xfrm>
            <a:custGeom>
              <a:avLst/>
              <a:gdLst>
                <a:gd name="connsiteX0" fmla="*/ 391667 w 526113"/>
                <a:gd name="connsiteY0" fmla="*/ 53983 h 553753"/>
                <a:gd name="connsiteX1" fmla="*/ 525083 w 526113"/>
                <a:gd name="connsiteY1" fmla="*/ 215734 h 553753"/>
                <a:gd name="connsiteX2" fmla="*/ 273815 w 526113"/>
                <a:gd name="connsiteY2" fmla="*/ 552135 h 553753"/>
                <a:gd name="connsiteX3" fmla="*/ -514 w 526113"/>
                <a:gd name="connsiteY3" fmla="*/ 53983 h 553753"/>
                <a:gd name="connsiteX4" fmla="*/ 137540 w 526113"/>
                <a:gd name="connsiteY4" fmla="*/ -210 h 553753"/>
                <a:gd name="connsiteX5" fmla="*/ 299037 w 526113"/>
                <a:gd name="connsiteY5" fmla="*/ 364398 h 553753"/>
                <a:gd name="connsiteX6" fmla="*/ 391667 w 526113"/>
                <a:gd name="connsiteY6" fmla="*/ 53983 h 553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6113" h="553753">
                  <a:moveTo>
                    <a:pt x="391667" y="53983"/>
                  </a:moveTo>
                  <a:cubicBezTo>
                    <a:pt x="391667" y="53983"/>
                    <a:pt x="535248" y="69357"/>
                    <a:pt x="525083" y="215734"/>
                  </a:cubicBezTo>
                  <a:cubicBezTo>
                    <a:pt x="514791" y="364653"/>
                    <a:pt x="391667" y="572656"/>
                    <a:pt x="273815" y="552135"/>
                  </a:cubicBezTo>
                  <a:cubicBezTo>
                    <a:pt x="155837" y="529009"/>
                    <a:pt x="27630" y="187463"/>
                    <a:pt x="-514" y="53983"/>
                  </a:cubicBezTo>
                  <a:lnTo>
                    <a:pt x="137540" y="-210"/>
                  </a:lnTo>
                  <a:cubicBezTo>
                    <a:pt x="137540" y="-210"/>
                    <a:pt x="275975" y="356711"/>
                    <a:pt x="299037" y="364398"/>
                  </a:cubicBezTo>
                  <a:lnTo>
                    <a:pt x="391667" y="53983"/>
                  </a:ln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 45"/>
            <p:cNvSpPr/>
            <p:nvPr/>
          </p:nvSpPr>
          <p:spPr>
            <a:xfrm>
              <a:off x="8263601" y="2004798"/>
              <a:ext cx="273214" cy="237195"/>
            </a:xfrm>
            <a:custGeom>
              <a:avLst/>
              <a:gdLst>
                <a:gd name="connsiteX0" fmla="*/ -513 w 241308"/>
                <a:gd name="connsiteY0" fmla="*/ 130082 h 209495"/>
                <a:gd name="connsiteX1" fmla="*/ 215813 w 241308"/>
                <a:gd name="connsiteY1" fmla="*/ 56513 h 209495"/>
                <a:gd name="connsiteX2" fmla="*/ 122294 w 241308"/>
                <a:gd name="connsiteY2" fmla="*/ 208608 h 209495"/>
                <a:gd name="connsiteX3" fmla="*/ 21470 w 241308"/>
                <a:gd name="connsiteY3" fmla="*/ 130972 h 2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308" h="209495">
                  <a:moveTo>
                    <a:pt x="-513" y="130082"/>
                  </a:moveTo>
                  <a:cubicBezTo>
                    <a:pt x="-1084" y="1177"/>
                    <a:pt x="150439" y="-48188"/>
                    <a:pt x="215813" y="56513"/>
                  </a:cubicBezTo>
                  <a:cubicBezTo>
                    <a:pt x="281187" y="161213"/>
                    <a:pt x="207046" y="216104"/>
                    <a:pt x="122294" y="208608"/>
                  </a:cubicBezTo>
                  <a:cubicBezTo>
                    <a:pt x="37543" y="201111"/>
                    <a:pt x="21470" y="130972"/>
                    <a:pt x="21470" y="130972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 46"/>
            <p:cNvSpPr/>
            <p:nvPr/>
          </p:nvSpPr>
          <p:spPr>
            <a:xfrm>
              <a:off x="8197929" y="2105151"/>
              <a:ext cx="197911" cy="239513"/>
            </a:xfrm>
            <a:custGeom>
              <a:avLst/>
              <a:gdLst>
                <a:gd name="connsiteX0" fmla="*/ -514 w 174799"/>
                <a:gd name="connsiteY0" fmla="*/ 24739 h 211542"/>
                <a:gd name="connsiteX1" fmla="*/ 166701 w 174799"/>
                <a:gd name="connsiteY1" fmla="*/ 92020 h 211542"/>
                <a:gd name="connsiteX2" fmla="*/ 160348 w 174799"/>
                <a:gd name="connsiteY2" fmla="*/ 211332 h 21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4799" h="211542">
                  <a:moveTo>
                    <a:pt x="-514" y="24739"/>
                  </a:moveTo>
                  <a:cubicBezTo>
                    <a:pt x="35890" y="-41461"/>
                    <a:pt x="146498" y="39161"/>
                    <a:pt x="166701" y="92020"/>
                  </a:cubicBezTo>
                  <a:cubicBezTo>
                    <a:pt x="186904" y="144878"/>
                    <a:pt x="160348" y="211332"/>
                    <a:pt x="160348" y="211332"/>
                  </a:cubicBez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 47"/>
            <p:cNvSpPr/>
            <p:nvPr/>
          </p:nvSpPr>
          <p:spPr>
            <a:xfrm>
              <a:off x="7774250" y="2086348"/>
              <a:ext cx="652587" cy="579300"/>
            </a:xfrm>
            <a:custGeom>
              <a:avLst/>
              <a:gdLst>
                <a:gd name="connsiteX0" fmla="*/ -514 w 576377"/>
                <a:gd name="connsiteY0" fmla="*/ 291788 h 511649"/>
                <a:gd name="connsiteX1" fmla="*/ 355898 w 576377"/>
                <a:gd name="connsiteY1" fmla="*/ 7992 h 511649"/>
                <a:gd name="connsiteX2" fmla="*/ 556976 w 576377"/>
                <a:gd name="connsiteY2" fmla="*/ 175842 h 511649"/>
                <a:gd name="connsiteX3" fmla="*/ 473114 w 576377"/>
                <a:gd name="connsiteY3" fmla="*/ 482701 h 511649"/>
                <a:gd name="connsiteX4" fmla="*/ -514 w 576377"/>
                <a:gd name="connsiteY4" fmla="*/ 291661 h 511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6377" h="511649">
                  <a:moveTo>
                    <a:pt x="-514" y="291788"/>
                  </a:moveTo>
                  <a:cubicBezTo>
                    <a:pt x="10667" y="33341"/>
                    <a:pt x="203739" y="-24473"/>
                    <a:pt x="355898" y="7992"/>
                  </a:cubicBezTo>
                  <a:cubicBezTo>
                    <a:pt x="508056" y="40456"/>
                    <a:pt x="556976" y="175842"/>
                    <a:pt x="556976" y="175842"/>
                  </a:cubicBezTo>
                  <a:cubicBezTo>
                    <a:pt x="556976" y="175842"/>
                    <a:pt x="635247" y="359195"/>
                    <a:pt x="473114" y="482701"/>
                  </a:cubicBezTo>
                  <a:cubicBezTo>
                    <a:pt x="310981" y="606206"/>
                    <a:pt x="-514" y="291661"/>
                    <a:pt x="-514" y="291661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 48"/>
            <p:cNvSpPr/>
            <p:nvPr/>
          </p:nvSpPr>
          <p:spPr>
            <a:xfrm>
              <a:off x="7926027" y="2682959"/>
              <a:ext cx="248884" cy="276290"/>
            </a:xfrm>
            <a:custGeom>
              <a:avLst/>
              <a:gdLst>
                <a:gd name="connsiteX0" fmla="*/ 109395 w 219819"/>
                <a:gd name="connsiteY0" fmla="*/ 243815 h 244025"/>
                <a:gd name="connsiteX1" fmla="*/ 109395 w 219819"/>
                <a:gd name="connsiteY1" fmla="*/ 243815 h 244025"/>
                <a:gd name="connsiteX2" fmla="*/ -514 w 219819"/>
                <a:gd name="connsiteY2" fmla="*/ 160906 h 244025"/>
                <a:gd name="connsiteX3" fmla="*/ -514 w 219819"/>
                <a:gd name="connsiteY3" fmla="*/ -210 h 244025"/>
                <a:gd name="connsiteX4" fmla="*/ 219305 w 219819"/>
                <a:gd name="connsiteY4" fmla="*/ -210 h 244025"/>
                <a:gd name="connsiteX5" fmla="*/ 219305 w 219819"/>
                <a:gd name="connsiteY5" fmla="*/ 160017 h 244025"/>
                <a:gd name="connsiteX6" fmla="*/ 110602 w 219819"/>
                <a:gd name="connsiteY6" fmla="*/ 243815 h 244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819" h="244025">
                  <a:moveTo>
                    <a:pt x="109395" y="243815"/>
                  </a:moveTo>
                  <a:lnTo>
                    <a:pt x="109395" y="243815"/>
                  </a:lnTo>
                  <a:cubicBezTo>
                    <a:pt x="48976" y="243815"/>
                    <a:pt x="-197" y="206967"/>
                    <a:pt x="-514" y="160906"/>
                  </a:cubicBezTo>
                  <a:lnTo>
                    <a:pt x="-514" y="-210"/>
                  </a:lnTo>
                  <a:lnTo>
                    <a:pt x="219305" y="-210"/>
                  </a:lnTo>
                  <a:lnTo>
                    <a:pt x="219305" y="160017"/>
                  </a:lnTo>
                  <a:cubicBezTo>
                    <a:pt x="219305" y="206014"/>
                    <a:pt x="170958" y="243498"/>
                    <a:pt x="110602" y="243815"/>
                  </a:cubicBez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 49"/>
            <p:cNvSpPr/>
            <p:nvPr/>
          </p:nvSpPr>
          <p:spPr>
            <a:xfrm>
              <a:off x="7730087" y="2415564"/>
              <a:ext cx="132524" cy="169000"/>
            </a:xfrm>
            <a:custGeom>
              <a:avLst/>
              <a:gdLst>
                <a:gd name="connsiteX0" fmla="*/ 93764 w 117048"/>
                <a:gd name="connsiteY0" fmla="*/ 41043 h 149264"/>
                <a:gd name="connsiteX1" fmla="*/ 1072 w 117048"/>
                <a:gd name="connsiteY1" fmla="*/ 45490 h 149264"/>
                <a:gd name="connsiteX2" fmla="*/ 95670 w 117048"/>
                <a:gd name="connsiteY2" fmla="*/ 138183 h 149264"/>
                <a:gd name="connsiteX3" fmla="*/ 93764 w 117048"/>
                <a:gd name="connsiteY3" fmla="*/ 41043 h 149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7048" h="149264">
                  <a:moveTo>
                    <a:pt x="93764" y="41043"/>
                  </a:moveTo>
                  <a:cubicBezTo>
                    <a:pt x="64540" y="-28842"/>
                    <a:pt x="9394" y="2098"/>
                    <a:pt x="1072" y="45490"/>
                  </a:cubicBezTo>
                  <a:cubicBezTo>
                    <a:pt x="-10936" y="108450"/>
                    <a:pt x="47640" y="175857"/>
                    <a:pt x="95670" y="138183"/>
                  </a:cubicBezTo>
                  <a:cubicBezTo>
                    <a:pt x="143700" y="100509"/>
                    <a:pt x="93764" y="41043"/>
                    <a:pt x="93764" y="41043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 50"/>
            <p:cNvSpPr/>
            <p:nvPr/>
          </p:nvSpPr>
          <p:spPr>
            <a:xfrm>
              <a:off x="8248927" y="2523567"/>
              <a:ext cx="148402" cy="155616"/>
            </a:xfrm>
            <a:custGeom>
              <a:avLst/>
              <a:gdLst>
                <a:gd name="connsiteX0" fmla="*/ 44850 w 131071"/>
                <a:gd name="connsiteY0" fmla="*/ 23606 h 137443"/>
                <a:gd name="connsiteX1" fmla="*/ 129474 w 131071"/>
                <a:gd name="connsiteY1" fmla="*/ 61725 h 137443"/>
                <a:gd name="connsiteX2" fmla="*/ 7430 w 131071"/>
                <a:gd name="connsiteY2" fmla="*/ 113122 h 137443"/>
                <a:gd name="connsiteX3" fmla="*/ 44850 w 131071"/>
                <a:gd name="connsiteY3" fmla="*/ 23479 h 137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071" h="137443">
                  <a:moveTo>
                    <a:pt x="44850" y="23606"/>
                  </a:moveTo>
                  <a:cubicBezTo>
                    <a:pt x="97708" y="-30396"/>
                    <a:pt x="137734" y="18397"/>
                    <a:pt x="129474" y="61725"/>
                  </a:cubicBezTo>
                  <a:cubicBezTo>
                    <a:pt x="117466" y="124685"/>
                    <a:pt x="38115" y="165790"/>
                    <a:pt x="7430" y="113122"/>
                  </a:cubicBezTo>
                  <a:cubicBezTo>
                    <a:pt x="-23256" y="60455"/>
                    <a:pt x="44850" y="23479"/>
                    <a:pt x="44850" y="23479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 51"/>
            <p:cNvSpPr/>
            <p:nvPr/>
          </p:nvSpPr>
          <p:spPr>
            <a:xfrm>
              <a:off x="7809723" y="2240589"/>
              <a:ext cx="532212" cy="546181"/>
            </a:xfrm>
            <a:custGeom>
              <a:avLst/>
              <a:gdLst>
                <a:gd name="connsiteX0" fmla="*/ 180923 w 470060"/>
                <a:gd name="connsiteY0" fmla="*/ 478301 h 482397"/>
                <a:gd name="connsiteX1" fmla="*/ 29463 w 470060"/>
                <a:gd name="connsiteY1" fmla="*/ 77479 h 482397"/>
                <a:gd name="connsiteX2" fmla="*/ 469484 w 470060"/>
                <a:gd name="connsiteY2" fmla="*/ 161341 h 482397"/>
                <a:gd name="connsiteX3" fmla="*/ 180923 w 470060"/>
                <a:gd name="connsiteY3" fmla="*/ 478301 h 482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0060" h="482397">
                  <a:moveTo>
                    <a:pt x="180923" y="478301"/>
                  </a:moveTo>
                  <a:cubicBezTo>
                    <a:pt x="19045" y="447488"/>
                    <a:pt x="-42962" y="252065"/>
                    <a:pt x="29463" y="77479"/>
                  </a:cubicBezTo>
                  <a:cubicBezTo>
                    <a:pt x="89247" y="-66293"/>
                    <a:pt x="466880" y="5688"/>
                    <a:pt x="469484" y="161341"/>
                  </a:cubicBezTo>
                  <a:cubicBezTo>
                    <a:pt x="472788" y="350348"/>
                    <a:pt x="342929" y="509304"/>
                    <a:pt x="180923" y="47830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 52"/>
            <p:cNvSpPr/>
            <p:nvPr/>
          </p:nvSpPr>
          <p:spPr>
            <a:xfrm>
              <a:off x="7789201" y="2165401"/>
              <a:ext cx="375782" cy="560573"/>
            </a:xfrm>
            <a:custGeom>
              <a:avLst/>
              <a:gdLst>
                <a:gd name="connsiteX0" fmla="*/ 331384 w 331898"/>
                <a:gd name="connsiteY0" fmla="*/ 36709 h 495109"/>
                <a:gd name="connsiteX1" fmla="*/ 61184 w 331898"/>
                <a:gd name="connsiteY1" fmla="*/ 494899 h 495109"/>
                <a:gd name="connsiteX2" fmla="*/ 61184 w 331898"/>
                <a:gd name="connsiteY2" fmla="*/ 494899 h 495109"/>
                <a:gd name="connsiteX3" fmla="*/ 42633 w 331898"/>
                <a:gd name="connsiteY3" fmla="*/ 73430 h 495109"/>
                <a:gd name="connsiteX4" fmla="*/ 331384 w 331898"/>
                <a:gd name="connsiteY4" fmla="*/ 36709 h 495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898" h="495109">
                  <a:moveTo>
                    <a:pt x="331384" y="36709"/>
                  </a:moveTo>
                  <a:cubicBezTo>
                    <a:pt x="45491" y="74002"/>
                    <a:pt x="40409" y="335308"/>
                    <a:pt x="61184" y="494899"/>
                  </a:cubicBezTo>
                  <a:lnTo>
                    <a:pt x="61184" y="494899"/>
                  </a:lnTo>
                  <a:cubicBezTo>
                    <a:pt x="61184" y="494899"/>
                    <a:pt x="-64292" y="213962"/>
                    <a:pt x="42633" y="73430"/>
                  </a:cubicBezTo>
                  <a:cubicBezTo>
                    <a:pt x="149556" y="-67102"/>
                    <a:pt x="331384" y="36709"/>
                    <a:pt x="331384" y="36709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 53"/>
            <p:cNvSpPr/>
            <p:nvPr/>
          </p:nvSpPr>
          <p:spPr>
            <a:xfrm>
              <a:off x="7703109" y="2838260"/>
              <a:ext cx="683282" cy="765140"/>
            </a:xfrm>
            <a:custGeom>
              <a:avLst/>
              <a:gdLst>
                <a:gd name="connsiteX0" fmla="*/ 602973 w 603487"/>
                <a:gd name="connsiteY0" fmla="*/ 61225 h 675786"/>
                <a:gd name="connsiteX1" fmla="*/ 415491 w 603487"/>
                <a:gd name="connsiteY1" fmla="*/ -210 h 675786"/>
                <a:gd name="connsiteX2" fmla="*/ 302532 w 603487"/>
                <a:gd name="connsiteY2" fmla="*/ 86828 h 675786"/>
                <a:gd name="connsiteX3" fmla="*/ 299927 w 603487"/>
                <a:gd name="connsiteY3" fmla="*/ 86828 h 675786"/>
                <a:gd name="connsiteX4" fmla="*/ 197260 w 603487"/>
                <a:gd name="connsiteY4" fmla="*/ -210 h 675786"/>
                <a:gd name="connsiteX5" fmla="*/ -514 w 603487"/>
                <a:gd name="connsiteY5" fmla="*/ 61225 h 675786"/>
                <a:gd name="connsiteX6" fmla="*/ 24898 w 603487"/>
                <a:gd name="connsiteY6" fmla="*/ 268529 h 675786"/>
                <a:gd name="connsiteX7" fmla="*/ 50311 w 603487"/>
                <a:gd name="connsiteY7" fmla="*/ 406774 h 675786"/>
                <a:gd name="connsiteX8" fmla="*/ 88811 w 603487"/>
                <a:gd name="connsiteY8" fmla="*/ 675577 h 675786"/>
                <a:gd name="connsiteX9" fmla="*/ 512504 w 603487"/>
                <a:gd name="connsiteY9" fmla="*/ 675577 h 675786"/>
                <a:gd name="connsiteX10" fmla="*/ 553609 w 603487"/>
                <a:gd name="connsiteY10" fmla="*/ 406774 h 675786"/>
                <a:gd name="connsiteX11" fmla="*/ 576735 w 603487"/>
                <a:gd name="connsiteY11" fmla="*/ 268529 h 675786"/>
                <a:gd name="connsiteX12" fmla="*/ 602147 w 603487"/>
                <a:gd name="connsiteY12" fmla="*/ 61225 h 675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03487" h="675786">
                  <a:moveTo>
                    <a:pt x="602973" y="61225"/>
                  </a:moveTo>
                  <a:lnTo>
                    <a:pt x="415491" y="-210"/>
                  </a:lnTo>
                  <a:cubicBezTo>
                    <a:pt x="400116" y="66308"/>
                    <a:pt x="315365" y="86828"/>
                    <a:pt x="302532" y="86828"/>
                  </a:cubicBezTo>
                  <a:lnTo>
                    <a:pt x="299927" y="86828"/>
                  </a:lnTo>
                  <a:cubicBezTo>
                    <a:pt x="287220" y="86828"/>
                    <a:pt x="212634" y="66308"/>
                    <a:pt x="197260" y="-210"/>
                  </a:cubicBezTo>
                  <a:lnTo>
                    <a:pt x="-514" y="61225"/>
                  </a:lnTo>
                  <a:lnTo>
                    <a:pt x="24898" y="268529"/>
                  </a:lnTo>
                  <a:cubicBezTo>
                    <a:pt x="24898" y="268529"/>
                    <a:pt x="9460" y="347880"/>
                    <a:pt x="50311" y="406774"/>
                  </a:cubicBezTo>
                  <a:cubicBezTo>
                    <a:pt x="88811" y="463063"/>
                    <a:pt x="88811" y="675577"/>
                    <a:pt x="88811" y="675577"/>
                  </a:cubicBezTo>
                  <a:lnTo>
                    <a:pt x="512504" y="675577"/>
                  </a:lnTo>
                  <a:cubicBezTo>
                    <a:pt x="512504" y="675577"/>
                    <a:pt x="512504" y="463063"/>
                    <a:pt x="553609" y="406774"/>
                  </a:cubicBezTo>
                  <a:cubicBezTo>
                    <a:pt x="592109" y="347880"/>
                    <a:pt x="576735" y="268529"/>
                    <a:pt x="576735" y="268529"/>
                  </a:cubicBezTo>
                  <a:lnTo>
                    <a:pt x="602147" y="61225"/>
                  </a:ln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 54"/>
            <p:cNvSpPr/>
            <p:nvPr/>
          </p:nvSpPr>
          <p:spPr>
            <a:xfrm>
              <a:off x="7668222" y="2246131"/>
              <a:ext cx="203061" cy="147805"/>
            </a:xfrm>
            <a:custGeom>
              <a:avLst/>
              <a:gdLst>
                <a:gd name="connsiteX0" fmla="*/ -514 w 179347"/>
                <a:gd name="connsiteY0" fmla="*/ 71186 h 130544"/>
                <a:gd name="connsiteX1" fmla="*/ 171784 w 179347"/>
                <a:gd name="connsiteY1" fmla="*/ 4287 h 130544"/>
                <a:gd name="connsiteX2" fmla="*/ 43195 w 179347"/>
                <a:gd name="connsiteY2" fmla="*/ 130334 h 130544"/>
                <a:gd name="connsiteX3" fmla="*/ -514 w 179347"/>
                <a:gd name="connsiteY3" fmla="*/ 71186 h 130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9347" h="130544">
                  <a:moveTo>
                    <a:pt x="-514" y="71186"/>
                  </a:moveTo>
                  <a:cubicBezTo>
                    <a:pt x="-514" y="71186"/>
                    <a:pt x="146053" y="-21379"/>
                    <a:pt x="171784" y="4287"/>
                  </a:cubicBezTo>
                  <a:cubicBezTo>
                    <a:pt x="197196" y="27477"/>
                    <a:pt x="153804" y="73728"/>
                    <a:pt x="43195" y="130334"/>
                  </a:cubicBezTo>
                  <a:lnTo>
                    <a:pt x="-514" y="71186"/>
                  </a:ln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 55"/>
            <p:cNvSpPr/>
            <p:nvPr/>
          </p:nvSpPr>
          <p:spPr>
            <a:xfrm>
              <a:off x="7253337" y="2273163"/>
              <a:ext cx="519616" cy="812040"/>
            </a:xfrm>
            <a:custGeom>
              <a:avLst/>
              <a:gdLst>
                <a:gd name="connsiteX0" fmla="*/ 396859 w 458935"/>
                <a:gd name="connsiteY0" fmla="*/ 560775 h 717209"/>
                <a:gd name="connsiteX1" fmla="*/ 147942 w 458935"/>
                <a:gd name="connsiteY1" fmla="*/ 358426 h 717209"/>
                <a:gd name="connsiteX2" fmla="*/ 458421 w 458935"/>
                <a:gd name="connsiteY2" fmla="*/ 107349 h 717209"/>
                <a:gd name="connsiteX3" fmla="*/ 409628 w 458935"/>
                <a:gd name="connsiteY3" fmla="*/ -210 h 717209"/>
                <a:gd name="connsiteX4" fmla="*/ 4297 w 458935"/>
                <a:gd name="connsiteY4" fmla="*/ 348134 h 717209"/>
                <a:gd name="connsiteX5" fmla="*/ 417253 w 458935"/>
                <a:gd name="connsiteY5" fmla="*/ 716999 h 717209"/>
                <a:gd name="connsiteX6" fmla="*/ 396732 w 458935"/>
                <a:gd name="connsiteY6" fmla="*/ 560775 h 717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8935" h="717209">
                  <a:moveTo>
                    <a:pt x="396859" y="560775"/>
                  </a:moveTo>
                  <a:cubicBezTo>
                    <a:pt x="396859" y="560775"/>
                    <a:pt x="158234" y="399404"/>
                    <a:pt x="147942" y="358426"/>
                  </a:cubicBezTo>
                  <a:cubicBezTo>
                    <a:pt x="137713" y="320307"/>
                    <a:pt x="458421" y="107349"/>
                    <a:pt x="458421" y="107349"/>
                  </a:cubicBezTo>
                  <a:lnTo>
                    <a:pt x="409628" y="-210"/>
                  </a:lnTo>
                  <a:cubicBezTo>
                    <a:pt x="409628" y="-210"/>
                    <a:pt x="47879" y="230346"/>
                    <a:pt x="4297" y="348134"/>
                  </a:cubicBezTo>
                  <a:cubicBezTo>
                    <a:pt x="-41891" y="465986"/>
                    <a:pt x="255691" y="696542"/>
                    <a:pt x="417253" y="716999"/>
                  </a:cubicBezTo>
                  <a:lnTo>
                    <a:pt x="396732" y="560775"/>
                  </a:ln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 56"/>
            <p:cNvSpPr/>
            <p:nvPr/>
          </p:nvSpPr>
          <p:spPr>
            <a:xfrm>
              <a:off x="7861504" y="4281217"/>
              <a:ext cx="152998" cy="1017478"/>
            </a:xfrm>
            <a:custGeom>
              <a:avLst/>
              <a:gdLst>
                <a:gd name="connsiteX0" fmla="*/ 126555 w 135131"/>
                <a:gd name="connsiteY0" fmla="*/ 898656 h 898656"/>
                <a:gd name="connsiteX1" fmla="*/ 0 w 135131"/>
                <a:gd name="connsiteY1" fmla="*/ 898656 h 898656"/>
                <a:gd name="connsiteX2" fmla="*/ 0 w 135131"/>
                <a:gd name="connsiteY2" fmla="*/ 0 h 898656"/>
                <a:gd name="connsiteX3" fmla="*/ 135132 w 135131"/>
                <a:gd name="connsiteY3" fmla="*/ 0 h 898656"/>
                <a:gd name="connsiteX4" fmla="*/ 126555 w 135131"/>
                <a:gd name="connsiteY4" fmla="*/ 898656 h 898656"/>
                <a:gd name="connsiteX5" fmla="*/ 126555 w 135131"/>
                <a:gd name="connsiteY5" fmla="*/ 898656 h 898656"/>
                <a:gd name="connsiteX6" fmla="*/ 126555 w 135131"/>
                <a:gd name="connsiteY6" fmla="*/ 898656 h 898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131" h="898656">
                  <a:moveTo>
                    <a:pt x="126555" y="898656"/>
                  </a:moveTo>
                  <a:lnTo>
                    <a:pt x="0" y="898656"/>
                  </a:lnTo>
                  <a:lnTo>
                    <a:pt x="0" y="0"/>
                  </a:lnTo>
                  <a:lnTo>
                    <a:pt x="135132" y="0"/>
                  </a:lnTo>
                  <a:lnTo>
                    <a:pt x="126555" y="898656"/>
                  </a:lnTo>
                  <a:lnTo>
                    <a:pt x="126555" y="898656"/>
                  </a:lnTo>
                  <a:lnTo>
                    <a:pt x="126555" y="898656"/>
                  </a:ln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 57"/>
            <p:cNvSpPr/>
            <p:nvPr/>
          </p:nvSpPr>
          <p:spPr>
            <a:xfrm>
              <a:off x="7703109" y="5287978"/>
              <a:ext cx="316405" cy="123506"/>
            </a:xfrm>
            <a:custGeom>
              <a:avLst/>
              <a:gdLst>
                <a:gd name="connsiteX0" fmla="*/ 264603 w 279455"/>
                <a:gd name="connsiteY0" fmla="*/ -210 h 109083"/>
                <a:gd name="connsiteX1" fmla="*/ 138493 w 279455"/>
                <a:gd name="connsiteY1" fmla="*/ -210 h 109083"/>
                <a:gd name="connsiteX2" fmla="*/ -514 w 279455"/>
                <a:gd name="connsiteY2" fmla="*/ 96168 h 109083"/>
                <a:gd name="connsiteX3" fmla="*/ -514 w 279455"/>
                <a:gd name="connsiteY3" fmla="*/ 108874 h 109083"/>
                <a:gd name="connsiteX4" fmla="*/ 277500 w 279455"/>
                <a:gd name="connsiteY4" fmla="*/ 108874 h 109083"/>
                <a:gd name="connsiteX5" fmla="*/ 264794 w 279455"/>
                <a:gd name="connsiteY5" fmla="*/ -210 h 109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9455" h="109083">
                  <a:moveTo>
                    <a:pt x="264603" y="-210"/>
                  </a:moveTo>
                  <a:lnTo>
                    <a:pt x="138493" y="-210"/>
                  </a:lnTo>
                  <a:cubicBezTo>
                    <a:pt x="138493" y="-210"/>
                    <a:pt x="12382" y="68277"/>
                    <a:pt x="-514" y="96168"/>
                  </a:cubicBezTo>
                  <a:lnTo>
                    <a:pt x="-514" y="108874"/>
                  </a:lnTo>
                  <a:lnTo>
                    <a:pt x="277500" y="108874"/>
                  </a:lnTo>
                  <a:cubicBezTo>
                    <a:pt x="277500" y="108874"/>
                    <a:pt x="285251" y="27681"/>
                    <a:pt x="264794" y="-210"/>
                  </a:cubicBez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 58"/>
            <p:cNvSpPr/>
            <p:nvPr/>
          </p:nvSpPr>
          <p:spPr>
            <a:xfrm>
              <a:off x="7703109" y="5411484"/>
              <a:ext cx="314126" cy="18773"/>
            </a:xfrm>
            <a:custGeom>
              <a:avLst/>
              <a:gdLst>
                <a:gd name="connsiteX0" fmla="*/ 0 w 277442"/>
                <a:gd name="connsiteY0" fmla="*/ 0 h 16581"/>
                <a:gd name="connsiteX1" fmla="*/ 277443 w 277442"/>
                <a:gd name="connsiteY1" fmla="*/ 0 h 16581"/>
                <a:gd name="connsiteX2" fmla="*/ 277443 w 277442"/>
                <a:gd name="connsiteY2" fmla="*/ 16582 h 16581"/>
                <a:gd name="connsiteX3" fmla="*/ 0 w 277442"/>
                <a:gd name="connsiteY3" fmla="*/ 16582 h 16581"/>
                <a:gd name="connsiteX4" fmla="*/ 0 w 277442"/>
                <a:gd name="connsiteY4" fmla="*/ 0 h 16581"/>
                <a:gd name="connsiteX5" fmla="*/ 0 w 277442"/>
                <a:gd name="connsiteY5" fmla="*/ 0 h 16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7442" h="16581">
                  <a:moveTo>
                    <a:pt x="0" y="0"/>
                  </a:moveTo>
                  <a:lnTo>
                    <a:pt x="277443" y="0"/>
                  </a:lnTo>
                  <a:lnTo>
                    <a:pt x="277443" y="16582"/>
                  </a:lnTo>
                  <a:lnTo>
                    <a:pt x="0" y="1658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 59"/>
            <p:cNvSpPr/>
            <p:nvPr/>
          </p:nvSpPr>
          <p:spPr>
            <a:xfrm>
              <a:off x="8074926" y="4281217"/>
              <a:ext cx="154366" cy="1017478"/>
            </a:xfrm>
            <a:custGeom>
              <a:avLst/>
              <a:gdLst>
                <a:gd name="connsiteX0" fmla="*/ 8704 w 136339"/>
                <a:gd name="connsiteY0" fmla="*/ 898656 h 898656"/>
                <a:gd name="connsiteX1" fmla="*/ 136339 w 136339"/>
                <a:gd name="connsiteY1" fmla="*/ 898656 h 898656"/>
                <a:gd name="connsiteX2" fmla="*/ 136339 w 136339"/>
                <a:gd name="connsiteY2" fmla="*/ 0 h 898656"/>
                <a:gd name="connsiteX3" fmla="*/ 0 w 136339"/>
                <a:gd name="connsiteY3" fmla="*/ 0 h 898656"/>
                <a:gd name="connsiteX4" fmla="*/ 8704 w 136339"/>
                <a:gd name="connsiteY4" fmla="*/ 898656 h 898656"/>
                <a:gd name="connsiteX5" fmla="*/ 8704 w 136339"/>
                <a:gd name="connsiteY5" fmla="*/ 898656 h 898656"/>
                <a:gd name="connsiteX6" fmla="*/ 8704 w 136339"/>
                <a:gd name="connsiteY6" fmla="*/ 898656 h 898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6339" h="898656">
                  <a:moveTo>
                    <a:pt x="8704" y="898656"/>
                  </a:moveTo>
                  <a:lnTo>
                    <a:pt x="136339" y="898656"/>
                  </a:lnTo>
                  <a:lnTo>
                    <a:pt x="136339" y="0"/>
                  </a:lnTo>
                  <a:lnTo>
                    <a:pt x="0" y="0"/>
                  </a:lnTo>
                  <a:lnTo>
                    <a:pt x="8704" y="898656"/>
                  </a:lnTo>
                  <a:lnTo>
                    <a:pt x="8704" y="898656"/>
                  </a:lnTo>
                  <a:lnTo>
                    <a:pt x="8704" y="898656"/>
                  </a:ln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 60"/>
            <p:cNvSpPr/>
            <p:nvPr/>
          </p:nvSpPr>
          <p:spPr>
            <a:xfrm>
              <a:off x="8073764" y="5287978"/>
              <a:ext cx="312627" cy="123506"/>
            </a:xfrm>
            <a:custGeom>
              <a:avLst/>
              <a:gdLst>
                <a:gd name="connsiteX0" fmla="*/ 11376 w 276118"/>
                <a:gd name="connsiteY0" fmla="*/ -210 h 109083"/>
                <a:gd name="connsiteX1" fmla="*/ 139646 w 276118"/>
                <a:gd name="connsiteY1" fmla="*/ -210 h 109083"/>
                <a:gd name="connsiteX2" fmla="*/ 275604 w 276118"/>
                <a:gd name="connsiteY2" fmla="*/ 96168 h 109083"/>
                <a:gd name="connsiteX3" fmla="*/ 275604 w 276118"/>
                <a:gd name="connsiteY3" fmla="*/ 108874 h 109083"/>
                <a:gd name="connsiteX4" fmla="*/ 1147 w 276118"/>
                <a:gd name="connsiteY4" fmla="*/ 108874 h 109083"/>
                <a:gd name="connsiteX5" fmla="*/ 11376 w 276118"/>
                <a:gd name="connsiteY5" fmla="*/ -210 h 109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6118" h="109083">
                  <a:moveTo>
                    <a:pt x="11376" y="-210"/>
                  </a:moveTo>
                  <a:lnTo>
                    <a:pt x="139646" y="-210"/>
                  </a:lnTo>
                  <a:cubicBezTo>
                    <a:pt x="139646" y="-210"/>
                    <a:pt x="262771" y="68277"/>
                    <a:pt x="275604" y="96168"/>
                  </a:cubicBezTo>
                  <a:lnTo>
                    <a:pt x="275604" y="108874"/>
                  </a:lnTo>
                  <a:lnTo>
                    <a:pt x="1147" y="108874"/>
                  </a:lnTo>
                  <a:cubicBezTo>
                    <a:pt x="1147" y="108874"/>
                    <a:pt x="-6604" y="27681"/>
                    <a:pt x="11376" y="-210"/>
                  </a:cubicBez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 61"/>
            <p:cNvSpPr/>
            <p:nvPr/>
          </p:nvSpPr>
          <p:spPr>
            <a:xfrm>
              <a:off x="8074926" y="5411484"/>
              <a:ext cx="311393" cy="18773"/>
            </a:xfrm>
            <a:custGeom>
              <a:avLst/>
              <a:gdLst>
                <a:gd name="connsiteX0" fmla="*/ 0 w 275028"/>
                <a:gd name="connsiteY0" fmla="*/ 0 h 16581"/>
                <a:gd name="connsiteX1" fmla="*/ 275029 w 275028"/>
                <a:gd name="connsiteY1" fmla="*/ 0 h 16581"/>
                <a:gd name="connsiteX2" fmla="*/ 275029 w 275028"/>
                <a:gd name="connsiteY2" fmla="*/ 16582 h 16581"/>
                <a:gd name="connsiteX3" fmla="*/ 0 w 275028"/>
                <a:gd name="connsiteY3" fmla="*/ 16582 h 16581"/>
                <a:gd name="connsiteX4" fmla="*/ 0 w 275028"/>
                <a:gd name="connsiteY4" fmla="*/ 0 h 16581"/>
                <a:gd name="connsiteX5" fmla="*/ 0 w 275028"/>
                <a:gd name="connsiteY5" fmla="*/ 0 h 16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5028" h="16581">
                  <a:moveTo>
                    <a:pt x="0" y="0"/>
                  </a:moveTo>
                  <a:lnTo>
                    <a:pt x="275029" y="0"/>
                  </a:lnTo>
                  <a:lnTo>
                    <a:pt x="275029" y="16582"/>
                  </a:lnTo>
                  <a:lnTo>
                    <a:pt x="0" y="1658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 62"/>
            <p:cNvSpPr/>
            <p:nvPr/>
          </p:nvSpPr>
          <p:spPr>
            <a:xfrm>
              <a:off x="7564855" y="3584555"/>
              <a:ext cx="961084" cy="1110846"/>
            </a:xfrm>
            <a:custGeom>
              <a:avLst/>
              <a:gdLst>
                <a:gd name="connsiteX0" fmla="*/ 635502 w 848847"/>
                <a:gd name="connsiteY0" fmla="*/ -210 h 981120"/>
                <a:gd name="connsiteX1" fmla="*/ 212380 w 848847"/>
                <a:gd name="connsiteY1" fmla="*/ -210 h 981120"/>
                <a:gd name="connsiteX2" fmla="*/ -514 w 848847"/>
                <a:gd name="connsiteY2" fmla="*/ 980910 h 981120"/>
                <a:gd name="connsiteX3" fmla="*/ 848334 w 848847"/>
                <a:gd name="connsiteY3" fmla="*/ 980910 h 981120"/>
                <a:gd name="connsiteX4" fmla="*/ 635502 w 848847"/>
                <a:gd name="connsiteY4" fmla="*/ -210 h 981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8847" h="981120">
                  <a:moveTo>
                    <a:pt x="635502" y="-210"/>
                  </a:moveTo>
                  <a:lnTo>
                    <a:pt x="212380" y="-210"/>
                  </a:lnTo>
                  <a:cubicBezTo>
                    <a:pt x="12319" y="253281"/>
                    <a:pt x="-514" y="980910"/>
                    <a:pt x="-514" y="980910"/>
                  </a:cubicBezTo>
                  <a:lnTo>
                    <a:pt x="848334" y="980910"/>
                  </a:lnTo>
                  <a:cubicBezTo>
                    <a:pt x="848334" y="980910"/>
                    <a:pt x="838104" y="253281"/>
                    <a:pt x="635502" y="-210"/>
                  </a:cubicBez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 63"/>
            <p:cNvSpPr/>
            <p:nvPr/>
          </p:nvSpPr>
          <p:spPr>
            <a:xfrm>
              <a:off x="6993099" y="2948350"/>
              <a:ext cx="1467130" cy="1769867"/>
            </a:xfrm>
            <a:custGeom>
              <a:avLst/>
              <a:gdLst>
                <a:gd name="connsiteX0" fmla="*/ 927593 w 1295797"/>
                <a:gd name="connsiteY0" fmla="*/ 878849 h 1563180"/>
                <a:gd name="connsiteX1" fmla="*/ 1022891 w 1295797"/>
                <a:gd name="connsiteY1" fmla="*/ 1014617 h 1563180"/>
                <a:gd name="connsiteX2" fmla="*/ 992077 w 1295797"/>
                <a:gd name="connsiteY2" fmla="*/ 1186152 h 1563180"/>
                <a:gd name="connsiteX3" fmla="*/ 821876 w 1295797"/>
                <a:gd name="connsiteY3" fmla="*/ 1157900 h 1563180"/>
                <a:gd name="connsiteX4" fmla="*/ 820161 w 1295797"/>
                <a:gd name="connsiteY4" fmla="*/ 1155403 h 1563180"/>
                <a:gd name="connsiteX5" fmla="*/ 668447 w 1295797"/>
                <a:gd name="connsiteY5" fmla="*/ 940348 h 1563180"/>
                <a:gd name="connsiteX6" fmla="*/ 668447 w 1295797"/>
                <a:gd name="connsiteY6" fmla="*/ 935202 h 1563180"/>
                <a:gd name="connsiteX7" fmla="*/ 663300 w 1295797"/>
                <a:gd name="connsiteY7" fmla="*/ 932661 h 1563180"/>
                <a:gd name="connsiteX8" fmla="*/ 694114 w 1295797"/>
                <a:gd name="connsiteY8" fmla="*/ 761125 h 1563180"/>
                <a:gd name="connsiteX9" fmla="*/ 765968 w 1295797"/>
                <a:gd name="connsiteY9" fmla="*/ 364243 h 1563180"/>
                <a:gd name="connsiteX10" fmla="*/ 368196 w 1295797"/>
                <a:gd name="connsiteY10" fmla="*/ 297661 h 1563180"/>
                <a:gd name="connsiteX11" fmla="*/ 250154 w 1295797"/>
                <a:gd name="connsiteY11" fmla="*/ 551153 h 1563180"/>
                <a:gd name="connsiteX12" fmla="*/ 134780 w 1295797"/>
                <a:gd name="connsiteY12" fmla="*/ 686793 h 1563180"/>
                <a:gd name="connsiteX13" fmla="*/ 1364 w 1295797"/>
                <a:gd name="connsiteY13" fmla="*/ 574152 h 1563180"/>
                <a:gd name="connsiteX14" fmla="*/ 224614 w 1295797"/>
                <a:gd name="connsiteY14" fmla="*/ 95313 h 1563180"/>
                <a:gd name="connsiteX15" fmla="*/ 966156 w 1295797"/>
                <a:gd name="connsiteY15" fmla="*/ 223329 h 1563180"/>
                <a:gd name="connsiteX16" fmla="*/ 927657 w 1295797"/>
                <a:gd name="connsiteY16" fmla="*/ 878849 h 1563180"/>
                <a:gd name="connsiteX17" fmla="*/ 1245823 w 1295797"/>
                <a:gd name="connsiteY17" fmla="*/ 1332149 h 1563180"/>
                <a:gd name="connsiteX18" fmla="*/ 1271236 w 1295797"/>
                <a:gd name="connsiteY18" fmla="*/ 1367980 h 1563180"/>
                <a:gd name="connsiteX19" fmla="*/ 1242965 w 1295797"/>
                <a:gd name="connsiteY19" fmla="*/ 1542121 h 1563180"/>
                <a:gd name="connsiteX20" fmla="*/ 1068506 w 1295797"/>
                <a:gd name="connsiteY20" fmla="*/ 1511371 h 1563180"/>
                <a:gd name="connsiteX21" fmla="*/ 1043093 w 1295797"/>
                <a:gd name="connsiteY21" fmla="*/ 1473252 h 1563180"/>
                <a:gd name="connsiteX22" fmla="*/ 1073906 w 1295797"/>
                <a:gd name="connsiteY22" fmla="*/ 1301717 h 1563180"/>
                <a:gd name="connsiteX23" fmla="*/ 1242583 w 1295797"/>
                <a:gd name="connsiteY23" fmla="*/ 1327847 h 1563180"/>
                <a:gd name="connsiteX24" fmla="*/ 1245823 w 1295797"/>
                <a:gd name="connsiteY24" fmla="*/ 1332466 h 1563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95797" h="1563180">
                  <a:moveTo>
                    <a:pt x="927593" y="878849"/>
                  </a:moveTo>
                  <a:lnTo>
                    <a:pt x="1022891" y="1014617"/>
                  </a:lnTo>
                  <a:cubicBezTo>
                    <a:pt x="1063932" y="1070906"/>
                    <a:pt x="1051098" y="1145174"/>
                    <a:pt x="992077" y="1186152"/>
                  </a:cubicBezTo>
                  <a:cubicBezTo>
                    <a:pt x="937313" y="1225345"/>
                    <a:pt x="861075" y="1212696"/>
                    <a:pt x="821876" y="1157900"/>
                  </a:cubicBezTo>
                  <a:cubicBezTo>
                    <a:pt x="821305" y="1157074"/>
                    <a:pt x="820732" y="1156242"/>
                    <a:pt x="820161" y="1155403"/>
                  </a:cubicBezTo>
                  <a:lnTo>
                    <a:pt x="668447" y="940348"/>
                  </a:lnTo>
                  <a:lnTo>
                    <a:pt x="668447" y="935202"/>
                  </a:lnTo>
                  <a:cubicBezTo>
                    <a:pt x="663300" y="935202"/>
                    <a:pt x="663300" y="935202"/>
                    <a:pt x="663300" y="932661"/>
                  </a:cubicBezTo>
                  <a:cubicBezTo>
                    <a:pt x="624801" y="878849"/>
                    <a:pt x="640239" y="799244"/>
                    <a:pt x="694114" y="761125"/>
                  </a:cubicBezTo>
                  <a:cubicBezTo>
                    <a:pt x="822384" y="668941"/>
                    <a:pt x="855738" y="492259"/>
                    <a:pt x="765968" y="364243"/>
                  </a:cubicBezTo>
                  <a:cubicBezTo>
                    <a:pt x="673593" y="233621"/>
                    <a:pt x="499135" y="208018"/>
                    <a:pt x="368196" y="297661"/>
                  </a:cubicBezTo>
                  <a:cubicBezTo>
                    <a:pt x="283572" y="359096"/>
                    <a:pt x="239926" y="456491"/>
                    <a:pt x="250154" y="551153"/>
                  </a:cubicBezTo>
                  <a:cubicBezTo>
                    <a:pt x="255618" y="620421"/>
                    <a:pt x="204030" y="681056"/>
                    <a:pt x="134780" y="686793"/>
                  </a:cubicBezTo>
                  <a:cubicBezTo>
                    <a:pt x="65467" y="691939"/>
                    <a:pt x="9051" y="643274"/>
                    <a:pt x="1364" y="574152"/>
                  </a:cubicBezTo>
                  <a:cubicBezTo>
                    <a:pt x="-14456" y="386231"/>
                    <a:pt x="70486" y="204003"/>
                    <a:pt x="224614" y="95313"/>
                  </a:cubicBezTo>
                  <a:cubicBezTo>
                    <a:pt x="466035" y="-71140"/>
                    <a:pt x="799386" y="-14788"/>
                    <a:pt x="966156" y="223329"/>
                  </a:cubicBezTo>
                  <a:cubicBezTo>
                    <a:pt x="1107832" y="424058"/>
                    <a:pt x="1091822" y="696081"/>
                    <a:pt x="927657" y="878849"/>
                  </a:cubicBezTo>
                  <a:close/>
                  <a:moveTo>
                    <a:pt x="1245823" y="1332149"/>
                  </a:moveTo>
                  <a:lnTo>
                    <a:pt x="1271236" y="1367980"/>
                  </a:lnTo>
                  <a:cubicBezTo>
                    <a:pt x="1312277" y="1426874"/>
                    <a:pt x="1299444" y="1501397"/>
                    <a:pt x="1242965" y="1542121"/>
                  </a:cubicBezTo>
                  <a:cubicBezTo>
                    <a:pt x="1189089" y="1577953"/>
                    <a:pt x="1109548" y="1567533"/>
                    <a:pt x="1068506" y="1511371"/>
                  </a:cubicBezTo>
                  <a:lnTo>
                    <a:pt x="1043093" y="1473252"/>
                  </a:lnTo>
                  <a:cubicBezTo>
                    <a:pt x="1004593" y="1419505"/>
                    <a:pt x="1019968" y="1339836"/>
                    <a:pt x="1073906" y="1301717"/>
                  </a:cubicBezTo>
                  <a:cubicBezTo>
                    <a:pt x="1127718" y="1262346"/>
                    <a:pt x="1203257" y="1274049"/>
                    <a:pt x="1242583" y="1327847"/>
                  </a:cubicBezTo>
                  <a:cubicBezTo>
                    <a:pt x="1243727" y="1329359"/>
                    <a:pt x="1244806" y="1330903"/>
                    <a:pt x="1245823" y="1332466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 64"/>
            <p:cNvSpPr/>
            <p:nvPr/>
          </p:nvSpPr>
          <p:spPr>
            <a:xfrm>
              <a:off x="8074926" y="2908035"/>
              <a:ext cx="512041" cy="826857"/>
            </a:xfrm>
            <a:custGeom>
              <a:avLst/>
              <a:gdLst>
                <a:gd name="connsiteX0" fmla="*/ 274260 w 452244"/>
                <a:gd name="connsiteY0" fmla="*/ -210 h 730296"/>
                <a:gd name="connsiteX1" fmla="*/ 451387 w 452244"/>
                <a:gd name="connsiteY1" fmla="*/ 381616 h 730296"/>
                <a:gd name="connsiteX2" fmla="*/ 43132 w 452244"/>
                <a:gd name="connsiteY2" fmla="*/ 730087 h 730296"/>
                <a:gd name="connsiteX3" fmla="*/ -514 w 452244"/>
                <a:gd name="connsiteY3" fmla="*/ 558551 h 730296"/>
                <a:gd name="connsiteX4" fmla="*/ 315302 w 452244"/>
                <a:gd name="connsiteY4" fmla="*/ 366368 h 730296"/>
                <a:gd name="connsiteX5" fmla="*/ 248594 w 452244"/>
                <a:gd name="connsiteY5" fmla="*/ 207539 h 730296"/>
                <a:gd name="connsiteX6" fmla="*/ 274007 w 452244"/>
                <a:gd name="connsiteY6" fmla="*/ -19 h 730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2244" h="730296">
                  <a:moveTo>
                    <a:pt x="274260" y="-210"/>
                  </a:moveTo>
                  <a:cubicBezTo>
                    <a:pt x="274260" y="-210"/>
                    <a:pt x="438553" y="292036"/>
                    <a:pt x="451387" y="381616"/>
                  </a:cubicBezTo>
                  <a:cubicBezTo>
                    <a:pt x="464093" y="473864"/>
                    <a:pt x="120196" y="717317"/>
                    <a:pt x="43132" y="730087"/>
                  </a:cubicBezTo>
                  <a:lnTo>
                    <a:pt x="-514" y="558551"/>
                  </a:lnTo>
                  <a:cubicBezTo>
                    <a:pt x="-514" y="558551"/>
                    <a:pt x="284489" y="425135"/>
                    <a:pt x="315302" y="366368"/>
                  </a:cubicBezTo>
                  <a:lnTo>
                    <a:pt x="248594" y="207539"/>
                  </a:lnTo>
                  <a:lnTo>
                    <a:pt x="274007" y="-19"/>
                  </a:ln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 65"/>
            <p:cNvSpPr/>
            <p:nvPr/>
          </p:nvSpPr>
          <p:spPr>
            <a:xfrm>
              <a:off x="8008236" y="3573622"/>
              <a:ext cx="101648" cy="117572"/>
            </a:xfrm>
            <a:custGeom>
              <a:avLst/>
              <a:gdLst>
                <a:gd name="connsiteX0" fmla="*/ 66265 w 89777"/>
                <a:gd name="connsiteY0" fmla="*/ 362 h 103842"/>
                <a:gd name="connsiteX1" fmla="*/ 5147 w 89777"/>
                <a:gd name="connsiteY1" fmla="*/ 15800 h 103842"/>
                <a:gd name="connsiteX2" fmla="*/ 89263 w 89777"/>
                <a:gd name="connsiteY2" fmla="*/ 95596 h 103842"/>
                <a:gd name="connsiteX3" fmla="*/ 66265 w 89777"/>
                <a:gd name="connsiteY3" fmla="*/ 298 h 103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777" h="103842">
                  <a:moveTo>
                    <a:pt x="66265" y="362"/>
                  </a:moveTo>
                  <a:cubicBezTo>
                    <a:pt x="66265" y="362"/>
                    <a:pt x="15439" y="-4784"/>
                    <a:pt x="5147" y="15800"/>
                  </a:cubicBezTo>
                  <a:cubicBezTo>
                    <a:pt x="-5145" y="36384"/>
                    <a:pt x="-12705" y="131555"/>
                    <a:pt x="89263" y="95596"/>
                  </a:cubicBezTo>
                  <a:lnTo>
                    <a:pt x="66265" y="298"/>
                  </a:ln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 67"/>
            <p:cNvSpPr/>
            <p:nvPr/>
          </p:nvSpPr>
          <p:spPr>
            <a:xfrm rot="19901924">
              <a:off x="4001212" y="2597109"/>
              <a:ext cx="340051" cy="595716"/>
            </a:xfrm>
            <a:custGeom>
              <a:avLst/>
              <a:gdLst>
                <a:gd name="connsiteX0" fmla="*/ 596690 w 1007682"/>
                <a:gd name="connsiteY0" fmla="*/ 1042540 h 1765307"/>
                <a:gd name="connsiteX1" fmla="*/ 596690 w 1007682"/>
                <a:gd name="connsiteY1" fmla="*/ 1209120 h 1765307"/>
                <a:gd name="connsiteX2" fmla="*/ 479747 w 1007682"/>
                <a:gd name="connsiteY2" fmla="*/ 1332124 h 1765307"/>
                <a:gd name="connsiteX3" fmla="*/ 473502 w 1007682"/>
                <a:gd name="connsiteY3" fmla="*/ 1332118 h 1765307"/>
                <a:gd name="connsiteX4" fmla="*/ 350314 w 1007682"/>
                <a:gd name="connsiteY4" fmla="*/ 1209120 h 1765307"/>
                <a:gd name="connsiteX5" fmla="*/ 350314 w 1007682"/>
                <a:gd name="connsiteY5" fmla="*/ 945209 h 1765307"/>
                <a:gd name="connsiteX6" fmla="*/ 352855 w 1007682"/>
                <a:gd name="connsiteY6" fmla="*/ 940063 h 1765307"/>
                <a:gd name="connsiteX7" fmla="*/ 350314 w 1007682"/>
                <a:gd name="connsiteY7" fmla="*/ 934981 h 1765307"/>
                <a:gd name="connsiteX8" fmla="*/ 473502 w 1007682"/>
                <a:gd name="connsiteY8" fmla="*/ 811983 h 1765307"/>
                <a:gd name="connsiteX9" fmla="*/ 760983 w 1007682"/>
                <a:gd name="connsiteY9" fmla="*/ 530157 h 1765307"/>
                <a:gd name="connsiteX10" fmla="*/ 473502 w 1007682"/>
                <a:gd name="connsiteY10" fmla="*/ 245725 h 1765307"/>
                <a:gd name="connsiteX11" fmla="*/ 229667 w 1007682"/>
                <a:gd name="connsiteY11" fmla="*/ 384097 h 1765307"/>
                <a:gd name="connsiteX12" fmla="*/ 62134 w 1007682"/>
                <a:gd name="connsiteY12" fmla="*/ 430888 h 1765307"/>
                <a:gd name="connsiteX13" fmla="*/ 15343 w 1007682"/>
                <a:gd name="connsiteY13" fmla="*/ 263355 h 1765307"/>
                <a:gd name="connsiteX14" fmla="*/ 16645 w 1007682"/>
                <a:gd name="connsiteY14" fmla="*/ 261100 h 1765307"/>
                <a:gd name="connsiteX15" fmla="*/ 473502 w 1007682"/>
                <a:gd name="connsiteY15" fmla="*/ -206 h 1765307"/>
                <a:gd name="connsiteX16" fmla="*/ 1007168 w 1007682"/>
                <a:gd name="connsiteY16" fmla="*/ 530157 h 1765307"/>
                <a:gd name="connsiteX17" fmla="*/ 596499 w 1007682"/>
                <a:gd name="connsiteY17" fmla="*/ 1042540 h 1765307"/>
                <a:gd name="connsiteX18" fmla="*/ 596690 w 1007682"/>
                <a:gd name="connsiteY18" fmla="*/ 1595965 h 1765307"/>
                <a:gd name="connsiteX19" fmla="*/ 596690 w 1007682"/>
                <a:gd name="connsiteY19" fmla="*/ 1642089 h 1765307"/>
                <a:gd name="connsiteX20" fmla="*/ 473502 w 1007682"/>
                <a:gd name="connsiteY20" fmla="*/ 1765086 h 1765307"/>
                <a:gd name="connsiteX21" fmla="*/ 350314 w 1007682"/>
                <a:gd name="connsiteY21" fmla="*/ 1645221 h 1765307"/>
                <a:gd name="connsiteX22" fmla="*/ 350314 w 1007682"/>
                <a:gd name="connsiteY22" fmla="*/ 1642089 h 1765307"/>
                <a:gd name="connsiteX23" fmla="*/ 350314 w 1007682"/>
                <a:gd name="connsiteY23" fmla="*/ 1595965 h 1765307"/>
                <a:gd name="connsiteX24" fmla="*/ 473502 w 1007682"/>
                <a:gd name="connsiteY24" fmla="*/ 1473031 h 1765307"/>
                <a:gd name="connsiteX25" fmla="*/ 596690 w 1007682"/>
                <a:gd name="connsiteY25" fmla="*/ 1592769 h 1765307"/>
                <a:gd name="connsiteX26" fmla="*/ 596690 w 1007682"/>
                <a:gd name="connsiteY26" fmla="*/ 1595965 h 1765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07682" h="1765307">
                  <a:moveTo>
                    <a:pt x="596690" y="1042540"/>
                  </a:moveTo>
                  <a:lnTo>
                    <a:pt x="596690" y="1209120"/>
                  </a:lnTo>
                  <a:cubicBezTo>
                    <a:pt x="598361" y="1275377"/>
                    <a:pt x="546004" y="1330447"/>
                    <a:pt x="479747" y="1332124"/>
                  </a:cubicBezTo>
                  <a:cubicBezTo>
                    <a:pt x="477663" y="1332175"/>
                    <a:pt x="475579" y="1332175"/>
                    <a:pt x="473502" y="1332118"/>
                  </a:cubicBezTo>
                  <a:cubicBezTo>
                    <a:pt x="405529" y="1332156"/>
                    <a:pt x="350384" y="1277093"/>
                    <a:pt x="350314" y="1209120"/>
                  </a:cubicBezTo>
                  <a:lnTo>
                    <a:pt x="350314" y="945209"/>
                  </a:lnTo>
                  <a:cubicBezTo>
                    <a:pt x="350314" y="942668"/>
                    <a:pt x="352855" y="942668"/>
                    <a:pt x="352855" y="940063"/>
                  </a:cubicBezTo>
                  <a:cubicBezTo>
                    <a:pt x="350314" y="937522"/>
                    <a:pt x="350314" y="937522"/>
                    <a:pt x="350314" y="934981"/>
                  </a:cubicBezTo>
                  <a:cubicBezTo>
                    <a:pt x="350314" y="870941"/>
                    <a:pt x="406793" y="811983"/>
                    <a:pt x="473502" y="811983"/>
                  </a:cubicBezTo>
                  <a:cubicBezTo>
                    <a:pt x="632649" y="811983"/>
                    <a:pt x="760983" y="686445"/>
                    <a:pt x="760983" y="530157"/>
                  </a:cubicBezTo>
                  <a:cubicBezTo>
                    <a:pt x="760983" y="368723"/>
                    <a:pt x="632649" y="245725"/>
                    <a:pt x="473502" y="245725"/>
                  </a:cubicBezTo>
                  <a:cubicBezTo>
                    <a:pt x="373636" y="246094"/>
                    <a:pt x="281198" y="298552"/>
                    <a:pt x="229667" y="384097"/>
                  </a:cubicBezTo>
                  <a:cubicBezTo>
                    <a:pt x="196326" y="443283"/>
                    <a:pt x="121320" y="464230"/>
                    <a:pt x="62134" y="430888"/>
                  </a:cubicBezTo>
                  <a:cubicBezTo>
                    <a:pt x="2948" y="397547"/>
                    <a:pt x="-17999" y="322541"/>
                    <a:pt x="15343" y="263355"/>
                  </a:cubicBezTo>
                  <a:cubicBezTo>
                    <a:pt x="15769" y="262599"/>
                    <a:pt x="16201" y="261850"/>
                    <a:pt x="16645" y="261100"/>
                  </a:cubicBezTo>
                  <a:cubicBezTo>
                    <a:pt x="111346" y="98668"/>
                    <a:pt x="285480" y="-930"/>
                    <a:pt x="473502" y="-206"/>
                  </a:cubicBezTo>
                  <a:cubicBezTo>
                    <a:pt x="766129" y="-206"/>
                    <a:pt x="1007168" y="235497"/>
                    <a:pt x="1007168" y="530157"/>
                  </a:cubicBezTo>
                  <a:cubicBezTo>
                    <a:pt x="1007168" y="778693"/>
                    <a:pt x="832647" y="988792"/>
                    <a:pt x="596499" y="1042540"/>
                  </a:cubicBezTo>
                  <a:close/>
                  <a:moveTo>
                    <a:pt x="596690" y="1595965"/>
                  </a:moveTo>
                  <a:lnTo>
                    <a:pt x="596690" y="1642089"/>
                  </a:lnTo>
                  <a:cubicBezTo>
                    <a:pt x="596690" y="1713816"/>
                    <a:pt x="545356" y="1765086"/>
                    <a:pt x="473502" y="1765086"/>
                  </a:cubicBezTo>
                  <a:cubicBezTo>
                    <a:pt x="406387" y="1766001"/>
                    <a:pt x="351235" y="1712336"/>
                    <a:pt x="350314" y="1645221"/>
                  </a:cubicBezTo>
                  <a:cubicBezTo>
                    <a:pt x="350301" y="1644179"/>
                    <a:pt x="350301" y="1643131"/>
                    <a:pt x="350314" y="1642089"/>
                  </a:cubicBezTo>
                  <a:lnTo>
                    <a:pt x="350314" y="1595965"/>
                  </a:lnTo>
                  <a:cubicBezTo>
                    <a:pt x="351305" y="1528386"/>
                    <a:pt x="405923" y="1473882"/>
                    <a:pt x="473502" y="1473031"/>
                  </a:cubicBezTo>
                  <a:cubicBezTo>
                    <a:pt x="540585" y="1472078"/>
                    <a:pt x="595737" y="1525686"/>
                    <a:pt x="596690" y="1592769"/>
                  </a:cubicBezTo>
                  <a:cubicBezTo>
                    <a:pt x="596703" y="1593830"/>
                    <a:pt x="596703" y="1594897"/>
                    <a:pt x="596690" y="1595965"/>
                  </a:cubicBezTo>
                  <a:close/>
                </a:path>
              </a:pathLst>
            </a:custGeom>
            <a:solidFill>
              <a:srgbClr val="D0D4DA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pic>
        <p:nvPicPr>
          <p:cNvPr id="74" name="图片 7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3035" y="299594"/>
            <a:ext cx="1837445" cy="501494"/>
          </a:xfrm>
          <a:prstGeom prst="rect">
            <a:avLst/>
          </a:prstGeom>
        </p:spPr>
      </p:pic>
      <p:graphicFrame>
        <p:nvGraphicFramePr>
          <p:cNvPr id="8" name="表格 7"/>
          <p:cNvGraphicFramePr/>
          <p:nvPr/>
        </p:nvGraphicFramePr>
        <p:xfrm>
          <a:off x="2100263" y="2892425"/>
          <a:ext cx="7991475" cy="11303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47925"/>
                <a:gridCol w="685800"/>
                <a:gridCol w="914400"/>
                <a:gridCol w="904875"/>
                <a:gridCol w="962025"/>
                <a:gridCol w="885825"/>
                <a:gridCol w="1190625"/>
              </a:tblGrid>
              <a:tr h="4445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90204" pitchFamily="34" charset="0"/>
                          <a:ea typeface="华文楷体" panose="02010600040101010101" pitchFamily="2" charset="-122"/>
                        </a:rPr>
                        <a:t>描述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90204" pitchFamily="34" charset="0"/>
                          <a:ea typeface="华文楷体" panose="02010600040101010101" pitchFamily="2" charset="-122"/>
                        </a:rPr>
                        <a:t>值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90204" pitchFamily="34" charset="0"/>
                          <a:ea typeface="华文楷体" panose="02010600040101010101" pitchFamily="2" charset="-122"/>
                        </a:rPr>
                        <a:t>客户数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90204" pitchFamily="34" charset="0"/>
                          <a:ea typeface="华文楷体" panose="02010600040101010101" pitchFamily="2" charset="-122"/>
                        </a:rPr>
                        <a:t>30天直达监管客户数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90204" pitchFamily="34" charset="0"/>
                          <a:ea typeface="华文楷体" panose="02010600040101010101" pitchFamily="2" charset="-122"/>
                        </a:rPr>
                        <a:t>30天直达监管率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90204" pitchFamily="34" charset="0"/>
                          <a:ea typeface="华文楷体" panose="02010600040101010101" pitchFamily="2" charset="-122"/>
                        </a:rPr>
                        <a:t>覆盖度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90204" pitchFamily="34" charset="0"/>
                          <a:ea typeface="华文楷体" panose="02010600040101010101" pitchFamily="2" charset="-122"/>
                        </a:rPr>
                        <a:t>提升度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</a:tr>
              <a:tr h="22860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 b="0">
                          <a:solidFill>
                            <a:srgbClr val="000000"/>
                          </a:solidFill>
                          <a:latin typeface="Arial" panose="020B0604020202090204" pitchFamily="34" charset="0"/>
                          <a:ea typeface="华文楷体" panose="02010600040101010101" pitchFamily="2" charset="-122"/>
                        </a:rPr>
                        <a:t>95511多次咨询险种责任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0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9,614,617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,088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0.01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99.82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.00 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22860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 b="0">
                          <a:solidFill>
                            <a:srgbClr val="000000"/>
                          </a:solidFill>
                          <a:latin typeface="Arial" panose="020B0604020202090204" pitchFamily="34" charset="0"/>
                          <a:ea typeface="华文楷体" panose="02010600040101010101" pitchFamily="2" charset="-122"/>
                        </a:rPr>
                        <a:t>95511多次咨询险种责任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68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1">
                          <a:solidFill>
                            <a:srgbClr val="FF6600"/>
                          </a:solidFill>
                          <a:latin typeface="华文楷体" panose="02010600040101010101" pitchFamily="2" charset="-122"/>
                        </a:rPr>
                        <a:t>2 </a:t>
                      </a:r>
                      <a:endParaRPr lang="en-US" altLang="en-US" sz="1200" b="1">
                        <a:solidFill>
                          <a:srgbClr val="FF66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.94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0.18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1">
                          <a:solidFill>
                            <a:srgbClr val="FF6600"/>
                          </a:solidFill>
                          <a:latin typeface="华文楷体" panose="02010600040101010101" pitchFamily="2" charset="-122"/>
                        </a:rPr>
                        <a:t>259.44 </a:t>
                      </a:r>
                      <a:endParaRPr lang="en-US" altLang="en-US" sz="1200" b="1">
                        <a:solidFill>
                          <a:srgbClr val="FF66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22860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 b="0">
                          <a:solidFill>
                            <a:srgbClr val="000000"/>
                          </a:solidFill>
                          <a:latin typeface="Arial" panose="020B0604020202090204" pitchFamily="34" charset="0"/>
                          <a:ea typeface="华文楷体" panose="02010600040101010101" pitchFamily="2" charset="-122"/>
                        </a:rPr>
                        <a:t>全量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9,614,685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,090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0.01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73" name="表格 72"/>
          <p:cNvGraphicFramePr/>
          <p:nvPr/>
        </p:nvGraphicFramePr>
        <p:xfrm>
          <a:off x="1689418" y="4578985"/>
          <a:ext cx="8677275" cy="172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5800"/>
                <a:gridCol w="2447925"/>
                <a:gridCol w="685800"/>
                <a:gridCol w="914400"/>
                <a:gridCol w="904875"/>
                <a:gridCol w="962025"/>
                <a:gridCol w="885825"/>
                <a:gridCol w="1190625"/>
              </a:tblGrid>
              <a:tr h="431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90204" pitchFamily="34" charset="0"/>
                          <a:ea typeface="华文楷体" panose="02010600040101010101" pitchFamily="2" charset="-122"/>
                        </a:rPr>
                        <a:t>月份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90204" pitchFamily="34" charset="0"/>
                          <a:ea typeface="华文楷体" panose="02010600040101010101" pitchFamily="2" charset="-122"/>
                        </a:rPr>
                        <a:t>描述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90204" pitchFamily="34" charset="0"/>
                          <a:ea typeface="华文楷体" panose="02010600040101010101" pitchFamily="2" charset="-122"/>
                        </a:rPr>
                        <a:t>值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90204" pitchFamily="34" charset="0"/>
                          <a:ea typeface="华文楷体" panose="02010600040101010101" pitchFamily="2" charset="-122"/>
                        </a:rPr>
                        <a:t>客户数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90204" pitchFamily="34" charset="0"/>
                          <a:ea typeface="华文楷体" panose="02010600040101010101" pitchFamily="2" charset="-122"/>
                        </a:rPr>
                        <a:t>30天直达监管客户数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90204" pitchFamily="34" charset="0"/>
                          <a:ea typeface="华文楷体" panose="02010600040101010101" pitchFamily="2" charset="-122"/>
                        </a:rPr>
                        <a:t>30天直达监管率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90204" pitchFamily="34" charset="0"/>
                          <a:ea typeface="华文楷体" panose="02010600040101010101" pitchFamily="2" charset="-122"/>
                        </a:rPr>
                        <a:t>覆盖度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90204" pitchFamily="34" charset="0"/>
                          <a:ea typeface="华文楷体" panose="02010600040101010101" pitchFamily="2" charset="-122"/>
                        </a:rPr>
                        <a:t>提升度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</a:tr>
              <a:tr h="21590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 b="0">
                          <a:solidFill>
                            <a:srgbClr val="000000"/>
                          </a:solidFill>
                          <a:latin typeface="Arial" panose="020B0604020202090204" pitchFamily="34" charset="0"/>
                          <a:ea typeface="华文楷体" panose="02010600040101010101" pitchFamily="2" charset="-122"/>
                        </a:rPr>
                        <a:t>6月份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 b="0">
                          <a:solidFill>
                            <a:srgbClr val="000000"/>
                          </a:solidFill>
                          <a:latin typeface="Arial" panose="020B0604020202090204" pitchFamily="34" charset="0"/>
                          <a:ea typeface="华文楷体" panose="02010600040101010101" pitchFamily="2" charset="-122"/>
                        </a:rPr>
                        <a:t>95511多次咨询险种责任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0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9,614,617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,088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0.01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99.45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0.99 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</a:tr>
              <a:tr h="21590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 b="0">
                          <a:solidFill>
                            <a:srgbClr val="000000"/>
                          </a:solidFill>
                          <a:latin typeface="Arial" panose="020B0604020202090204" pitchFamily="34" charset="0"/>
                          <a:ea typeface="华文楷体" panose="02010600040101010101" pitchFamily="2" charset="-122"/>
                        </a:rPr>
                        <a:t>6月份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 b="0">
                          <a:solidFill>
                            <a:srgbClr val="000000"/>
                          </a:solidFill>
                          <a:latin typeface="Arial" panose="020B0604020202090204" pitchFamily="34" charset="0"/>
                          <a:ea typeface="华文楷体" panose="02010600040101010101" pitchFamily="2" charset="-122"/>
                        </a:rPr>
                        <a:t>95511多次咨询险种责任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,080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1">
                          <a:solidFill>
                            <a:srgbClr val="FF6600"/>
                          </a:solidFill>
                          <a:latin typeface="华文楷体" panose="02010600040101010101" pitchFamily="2" charset="-122"/>
                        </a:rPr>
                        <a:t>560 </a:t>
                      </a:r>
                      <a:endParaRPr lang="en-US" altLang="en-US" sz="1200" b="1">
                        <a:solidFill>
                          <a:srgbClr val="FF66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51.85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0.55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1">
                          <a:solidFill>
                            <a:srgbClr val="FF6600"/>
                          </a:solidFill>
                          <a:latin typeface="华文楷体" panose="02010600040101010101" pitchFamily="2" charset="-122"/>
                        </a:rPr>
                        <a:t>48.83 </a:t>
                      </a:r>
                      <a:endParaRPr lang="en-US" altLang="en-US" sz="1200" b="1">
                        <a:solidFill>
                          <a:srgbClr val="FF66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</a:tr>
              <a:tr h="21590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 b="0">
                          <a:solidFill>
                            <a:srgbClr val="000000"/>
                          </a:solidFill>
                          <a:latin typeface="Arial" panose="020B0604020202090204" pitchFamily="34" charset="0"/>
                          <a:ea typeface="华文楷体" panose="02010600040101010101" pitchFamily="2" charset="-122"/>
                        </a:rPr>
                        <a:t>6月份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 b="0">
                          <a:solidFill>
                            <a:srgbClr val="000000"/>
                          </a:solidFill>
                          <a:latin typeface="Arial" panose="020B0604020202090204" pitchFamily="34" charset="0"/>
                          <a:ea typeface="华文楷体" panose="02010600040101010101" pitchFamily="2" charset="-122"/>
                        </a:rPr>
                        <a:t>全量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9,615,697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,094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0.01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</a:tr>
              <a:tr h="21590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 b="0">
                          <a:solidFill>
                            <a:srgbClr val="000000"/>
                          </a:solidFill>
                          <a:latin typeface="Arial" panose="020B0604020202090204" pitchFamily="34" charset="0"/>
                          <a:ea typeface="华文楷体" panose="02010600040101010101" pitchFamily="2" charset="-122"/>
                        </a:rPr>
                        <a:t>5月份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 b="0">
                          <a:solidFill>
                            <a:srgbClr val="000000"/>
                          </a:solidFill>
                          <a:latin typeface="Arial" panose="020B0604020202090204" pitchFamily="34" charset="0"/>
                          <a:ea typeface="华文楷体" panose="02010600040101010101" pitchFamily="2" charset="-122"/>
                        </a:rPr>
                        <a:t>95511多次咨询险种责任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0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9,684,612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,088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0.01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99.09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.00 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21590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 b="0">
                          <a:solidFill>
                            <a:srgbClr val="000000"/>
                          </a:solidFill>
                          <a:latin typeface="Arial" panose="020B0604020202090204" pitchFamily="34" charset="0"/>
                          <a:ea typeface="华文楷体" panose="02010600040101010101" pitchFamily="2" charset="-122"/>
                        </a:rPr>
                        <a:t>5月份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 b="0">
                          <a:solidFill>
                            <a:srgbClr val="000000"/>
                          </a:solidFill>
                          <a:latin typeface="Arial" panose="020B0604020202090204" pitchFamily="34" charset="0"/>
                          <a:ea typeface="华文楷体" panose="02010600040101010101" pitchFamily="2" charset="-122"/>
                        </a:rPr>
                        <a:t>95511多次咨询险种责任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12,600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1">
                          <a:solidFill>
                            <a:srgbClr val="FF6600"/>
                          </a:solidFill>
                          <a:latin typeface="华文楷体" panose="02010600040101010101" pitchFamily="2" charset="-122"/>
                        </a:rPr>
                        <a:t>10 </a:t>
                      </a:r>
                      <a:endParaRPr lang="en-US" altLang="en-US" sz="1200" b="1">
                        <a:solidFill>
                          <a:srgbClr val="FF66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0.01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0.91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1">
                          <a:solidFill>
                            <a:srgbClr val="FF6600"/>
                          </a:solidFill>
                          <a:latin typeface="华文楷体" panose="02010600040101010101" pitchFamily="2" charset="-122"/>
                        </a:rPr>
                        <a:t>0.79 </a:t>
                      </a:r>
                      <a:endParaRPr lang="en-US" altLang="en-US" sz="1200" b="1">
                        <a:solidFill>
                          <a:srgbClr val="FF66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21590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 b="0">
                          <a:solidFill>
                            <a:srgbClr val="000000"/>
                          </a:solidFill>
                          <a:latin typeface="Arial" panose="020B0604020202090204" pitchFamily="34" charset="0"/>
                          <a:ea typeface="华文楷体" panose="02010600040101010101" pitchFamily="2" charset="-122"/>
                        </a:rPr>
                        <a:t>5月份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 b="0">
                          <a:solidFill>
                            <a:srgbClr val="000000"/>
                          </a:solidFill>
                          <a:latin typeface="Arial" panose="020B0604020202090204" pitchFamily="34" charset="0"/>
                          <a:ea typeface="华文楷体" panose="02010600040101010101" pitchFamily="2" charset="-122"/>
                        </a:rPr>
                        <a:t>全量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9,797,212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,098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0.01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直线连接符 3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/>
          <p:cNvCxnSpPr/>
          <p:nvPr/>
        </p:nvCxnSpPr>
        <p:spPr>
          <a:xfrm>
            <a:off x="725817" y="2640474"/>
            <a:ext cx="10591442" cy="0"/>
          </a:xfrm>
          <a:prstGeom prst="line">
            <a:avLst/>
          </a:prstGeom>
          <a:ln w="508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A_文本框 21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/>
          <p:cNvSpPr txBox="1"/>
          <p:nvPr>
            <p:custDataLst>
              <p:tags r:id="rId1"/>
            </p:custDataLst>
          </p:nvPr>
        </p:nvSpPr>
        <p:spPr>
          <a:xfrm>
            <a:off x="3824605" y="1777365"/>
            <a:ext cx="6821170" cy="46164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zh-CN"/>
            </a:defPPr>
            <a:lvl1pPr marL="12700" marR="0" lvl="0" indent="0" fontAlgn="auto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defRPr kumimoji="0" sz="2400" b="1" i="0" u="none" strike="noStrike" cap="none" spc="0" normalizeH="0" baseline="0">
                <a:ln>
                  <a:noFill/>
                </a:ln>
                <a:solidFill>
                  <a:srgbClr val="F05A23"/>
                </a:solidFill>
                <a:effectLst/>
                <a:uLnTx/>
                <a:uFillTx/>
                <a:latin typeface="Arial" panose="020B0604020202090204"/>
                <a:ea typeface="华文楷体" panose="02010600040101010101" pitchFamily="2" charset="-122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  <a:lvl6pPr>
              <a:defRPr>
                <a:latin typeface="+mn-lt"/>
                <a:ea typeface="+mn-ea"/>
                <a:cs typeface="+mn-cs"/>
              </a:defRPr>
            </a:lvl6pPr>
            <a:lvl7pPr>
              <a:defRPr>
                <a:latin typeface="+mn-lt"/>
                <a:ea typeface="+mn-ea"/>
                <a:cs typeface="+mn-cs"/>
              </a:defRPr>
            </a:lvl7pPr>
            <a:lvl8pPr>
              <a:defRPr>
                <a:latin typeface="+mn-lt"/>
                <a:ea typeface="+mn-ea"/>
                <a:cs typeface="+mn-cs"/>
              </a:defRPr>
            </a:lvl8pPr>
            <a:lvl9pPr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3200" dirty="0"/>
              <a:t>小练习：</a:t>
            </a:r>
            <a:r>
              <a:rPr lang="zh-CN" altLang="en-US" sz="3200" dirty="0" smtClean="0">
                <a:sym typeface="+mn-ea"/>
              </a:rPr>
              <a:t>这些是好规则吗</a:t>
            </a:r>
            <a:endParaRPr lang="zh-CN" altLang="en-US" sz="3200" dirty="0"/>
          </a:p>
        </p:txBody>
      </p:sp>
      <p:sp>
        <p:nvSpPr>
          <p:cNvPr id="3" name="e7d195523061f1c0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 hidden="1"/>
          <p:cNvSpPr txBox="1"/>
          <p:nvPr/>
        </p:nvSpPr>
        <p:spPr>
          <a:xfrm>
            <a:off x="-355600" y="1803400"/>
            <a:ext cx="26225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/>
              <a:t>e7d195523061f1c0d318120d6aeaf1b6ccceb6ba3da59c0775C5DE19DDDEBC09ED96DBD9900D9848D623ECAD1D4904B78047D0015C22C8BE97228BE8B5BFF08FE7A3AE04126DA07312A96C0F69F9BAB71A8D4487C13BBD21E3F9DE587F01A2EC9B24CE25FF0E9B2136662A47C8B58C275121A88EC20F5D58602B203067E5F6C927344A314878098B</a:t>
            </a:r>
            <a:endParaRPr lang="zh-CN" altLang="en-US" sz="100"/>
          </a:p>
        </p:txBody>
      </p:sp>
      <p:grpSp>
        <p:nvGrpSpPr>
          <p:cNvPr id="9" name="组合 8"/>
          <p:cNvGrpSpPr/>
          <p:nvPr/>
        </p:nvGrpSpPr>
        <p:grpSpPr>
          <a:xfrm>
            <a:off x="812799" y="551745"/>
            <a:ext cx="2344293" cy="1885528"/>
            <a:chOff x="3207781" y="1105990"/>
            <a:chExt cx="5776438" cy="4646020"/>
          </a:xfrm>
        </p:grpSpPr>
        <p:sp>
          <p:nvSpPr>
            <p:cNvPr id="10" name="任意多边形 4"/>
            <p:cNvSpPr/>
            <p:nvPr/>
          </p:nvSpPr>
          <p:spPr>
            <a:xfrm>
              <a:off x="3598883" y="5220505"/>
              <a:ext cx="5385336" cy="531505"/>
            </a:xfrm>
            <a:custGeom>
              <a:avLst/>
              <a:gdLst>
                <a:gd name="connsiteX0" fmla="*/ -514 w 4756429"/>
                <a:gd name="connsiteY0" fmla="*/ 234476 h 469435"/>
                <a:gd name="connsiteX1" fmla="*/ 2377732 w 4756429"/>
                <a:gd name="connsiteY1" fmla="*/ -210 h 469435"/>
                <a:gd name="connsiteX2" fmla="*/ 4755915 w 4756429"/>
                <a:gd name="connsiteY2" fmla="*/ 234476 h 469435"/>
                <a:gd name="connsiteX3" fmla="*/ 2377732 w 4756429"/>
                <a:gd name="connsiteY3" fmla="*/ 469226 h 469435"/>
                <a:gd name="connsiteX4" fmla="*/ -514 w 4756429"/>
                <a:gd name="connsiteY4" fmla="*/ 234476 h 469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56429" h="469435">
                  <a:moveTo>
                    <a:pt x="-514" y="234476"/>
                  </a:moveTo>
                  <a:cubicBezTo>
                    <a:pt x="-514" y="104871"/>
                    <a:pt x="1064277" y="-210"/>
                    <a:pt x="2377732" y="-210"/>
                  </a:cubicBezTo>
                  <a:cubicBezTo>
                    <a:pt x="3691187" y="-210"/>
                    <a:pt x="4755915" y="104871"/>
                    <a:pt x="4755915" y="234476"/>
                  </a:cubicBezTo>
                  <a:cubicBezTo>
                    <a:pt x="4755915" y="364081"/>
                    <a:pt x="3691187" y="469226"/>
                    <a:pt x="2377732" y="469226"/>
                  </a:cubicBezTo>
                  <a:cubicBezTo>
                    <a:pt x="1064277" y="469226"/>
                    <a:pt x="-514" y="364144"/>
                    <a:pt x="-514" y="234476"/>
                  </a:cubicBezTo>
                  <a:close/>
                </a:path>
              </a:pathLst>
            </a:custGeom>
            <a:solidFill>
              <a:srgbClr val="E8E8E8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 5"/>
            <p:cNvSpPr/>
            <p:nvPr/>
          </p:nvSpPr>
          <p:spPr>
            <a:xfrm>
              <a:off x="4313321" y="3382454"/>
              <a:ext cx="883608" cy="1118025"/>
            </a:xfrm>
            <a:custGeom>
              <a:avLst/>
              <a:gdLst>
                <a:gd name="connsiteX0" fmla="*/ 304303 w 780419"/>
                <a:gd name="connsiteY0" fmla="*/ 118570 h 987461"/>
                <a:gd name="connsiteX1" fmla="*/ 254240 w 780419"/>
                <a:gd name="connsiteY1" fmla="*/ 127782 h 987461"/>
                <a:gd name="connsiteX2" fmla="*/ 200428 w 780419"/>
                <a:gd name="connsiteY2" fmla="*/ 182038 h 987461"/>
                <a:gd name="connsiteX3" fmla="*/ 189374 w 780419"/>
                <a:gd name="connsiteY3" fmla="*/ 260437 h 987461"/>
                <a:gd name="connsiteX4" fmla="*/ 195727 w 780419"/>
                <a:gd name="connsiteY4" fmla="*/ 517740 h 987461"/>
                <a:gd name="connsiteX5" fmla="*/ 71395 w 780419"/>
                <a:gd name="connsiteY5" fmla="*/ 592835 h 987461"/>
                <a:gd name="connsiteX6" fmla="*/ 24001 w 780419"/>
                <a:gd name="connsiteY6" fmla="*/ 840164 h 987461"/>
                <a:gd name="connsiteX7" fmla="*/ 249411 w 780419"/>
                <a:gd name="connsiteY7" fmla="*/ 982284 h 987461"/>
                <a:gd name="connsiteX8" fmla="*/ 522597 w 780419"/>
                <a:gd name="connsiteY8" fmla="*/ 959286 h 987461"/>
                <a:gd name="connsiteX9" fmla="*/ 699597 w 780419"/>
                <a:gd name="connsiteY9" fmla="*/ 889401 h 987461"/>
                <a:gd name="connsiteX10" fmla="*/ 708555 w 780419"/>
                <a:gd name="connsiteY10" fmla="*/ 575617 h 987461"/>
                <a:gd name="connsiteX11" fmla="*/ 764082 w 780419"/>
                <a:gd name="connsiteY11" fmla="*/ 389088 h 987461"/>
                <a:gd name="connsiteX12" fmla="*/ 606968 w 780419"/>
                <a:gd name="connsiteY12" fmla="*/ 27466 h 987461"/>
                <a:gd name="connsiteX13" fmla="*/ 304303 w 780419"/>
                <a:gd name="connsiteY13" fmla="*/ 118761 h 987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80419" h="987461">
                  <a:moveTo>
                    <a:pt x="304303" y="118570"/>
                  </a:moveTo>
                  <a:cubicBezTo>
                    <a:pt x="307860" y="110184"/>
                    <a:pt x="258432" y="125940"/>
                    <a:pt x="254240" y="127782"/>
                  </a:cubicBezTo>
                  <a:cubicBezTo>
                    <a:pt x="230002" y="138284"/>
                    <a:pt x="210733" y="157712"/>
                    <a:pt x="200428" y="182038"/>
                  </a:cubicBezTo>
                  <a:cubicBezTo>
                    <a:pt x="191299" y="207108"/>
                    <a:pt x="187531" y="233817"/>
                    <a:pt x="189374" y="260437"/>
                  </a:cubicBezTo>
                  <a:cubicBezTo>
                    <a:pt x="191216" y="342393"/>
                    <a:pt x="253985" y="444679"/>
                    <a:pt x="195727" y="517740"/>
                  </a:cubicBezTo>
                  <a:cubicBezTo>
                    <a:pt x="165486" y="555478"/>
                    <a:pt x="111484" y="565706"/>
                    <a:pt x="71395" y="592835"/>
                  </a:cubicBezTo>
                  <a:cubicBezTo>
                    <a:pt x="-4843" y="644295"/>
                    <a:pt x="-20154" y="759351"/>
                    <a:pt x="24001" y="840164"/>
                  </a:cubicBezTo>
                  <a:cubicBezTo>
                    <a:pt x="68155" y="920976"/>
                    <a:pt x="158306" y="968752"/>
                    <a:pt x="249411" y="982284"/>
                  </a:cubicBezTo>
                  <a:cubicBezTo>
                    <a:pt x="340516" y="995816"/>
                    <a:pt x="433081" y="979552"/>
                    <a:pt x="522597" y="959286"/>
                  </a:cubicBezTo>
                  <a:cubicBezTo>
                    <a:pt x="584986" y="945182"/>
                    <a:pt x="648835" y="928092"/>
                    <a:pt x="699597" y="889401"/>
                  </a:cubicBezTo>
                  <a:cubicBezTo>
                    <a:pt x="819354" y="797724"/>
                    <a:pt x="763510" y="682986"/>
                    <a:pt x="708555" y="575617"/>
                  </a:cubicBezTo>
                  <a:cubicBezTo>
                    <a:pt x="673358" y="506876"/>
                    <a:pt x="736509" y="474475"/>
                    <a:pt x="764082" y="389088"/>
                  </a:cubicBezTo>
                  <a:cubicBezTo>
                    <a:pt x="813700" y="235469"/>
                    <a:pt x="742608" y="86360"/>
                    <a:pt x="606968" y="27466"/>
                  </a:cubicBezTo>
                  <a:cubicBezTo>
                    <a:pt x="384225" y="-69039"/>
                    <a:pt x="304747" y="117744"/>
                    <a:pt x="304303" y="118761"/>
                  </a:cubicBezTo>
                  <a:close/>
                </a:path>
              </a:pathLst>
            </a:custGeom>
            <a:solidFill>
              <a:srgbClr val="971D0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 6"/>
            <p:cNvSpPr/>
            <p:nvPr/>
          </p:nvSpPr>
          <p:spPr>
            <a:xfrm>
              <a:off x="4743753" y="3967018"/>
              <a:ext cx="251762" cy="311178"/>
            </a:xfrm>
            <a:custGeom>
              <a:avLst/>
              <a:gdLst>
                <a:gd name="connsiteX0" fmla="*/ 110730 w 222361"/>
                <a:gd name="connsiteY0" fmla="*/ 274628 h 274838"/>
                <a:gd name="connsiteX1" fmla="*/ 110730 w 222361"/>
                <a:gd name="connsiteY1" fmla="*/ 274628 h 274838"/>
                <a:gd name="connsiteX2" fmla="*/ -514 w 222361"/>
                <a:gd name="connsiteY2" fmla="*/ 126853 h 274838"/>
                <a:gd name="connsiteX3" fmla="*/ -514 w 222361"/>
                <a:gd name="connsiteY3" fmla="*/ -210 h 274838"/>
                <a:gd name="connsiteX4" fmla="*/ 221847 w 222361"/>
                <a:gd name="connsiteY4" fmla="*/ -210 h 274838"/>
                <a:gd name="connsiteX5" fmla="*/ 221847 w 222361"/>
                <a:gd name="connsiteY5" fmla="*/ 126853 h 274838"/>
                <a:gd name="connsiteX6" fmla="*/ 111937 w 222361"/>
                <a:gd name="connsiteY6" fmla="*/ 274628 h 274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2361" h="274838">
                  <a:moveTo>
                    <a:pt x="110730" y="274628"/>
                  </a:moveTo>
                  <a:lnTo>
                    <a:pt x="110730" y="274628"/>
                  </a:lnTo>
                  <a:cubicBezTo>
                    <a:pt x="49358" y="274628"/>
                    <a:pt x="-451" y="163639"/>
                    <a:pt x="-514" y="126853"/>
                  </a:cubicBezTo>
                  <a:lnTo>
                    <a:pt x="-514" y="-210"/>
                  </a:lnTo>
                  <a:lnTo>
                    <a:pt x="221847" y="-210"/>
                  </a:lnTo>
                  <a:lnTo>
                    <a:pt x="221847" y="126853"/>
                  </a:lnTo>
                  <a:cubicBezTo>
                    <a:pt x="221847" y="163448"/>
                    <a:pt x="172991" y="274438"/>
                    <a:pt x="111937" y="274628"/>
                  </a:cubicBez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 7"/>
            <p:cNvSpPr/>
            <p:nvPr/>
          </p:nvSpPr>
          <p:spPr>
            <a:xfrm>
              <a:off x="4572555" y="3764605"/>
              <a:ext cx="121406" cy="141542"/>
            </a:xfrm>
            <a:custGeom>
              <a:avLst/>
              <a:gdLst>
                <a:gd name="connsiteX0" fmla="*/ 77312 w 107228"/>
                <a:gd name="connsiteY0" fmla="*/ 27741 h 125013"/>
                <a:gd name="connsiteX1" fmla="*/ -514 w 107228"/>
                <a:gd name="connsiteY1" fmla="*/ 46801 h 125013"/>
                <a:gd name="connsiteX2" fmla="*/ 94783 w 107228"/>
                <a:gd name="connsiteY2" fmla="*/ 110332 h 125013"/>
                <a:gd name="connsiteX3" fmla="*/ 77312 w 107228"/>
                <a:gd name="connsiteY3" fmla="*/ 27741 h 125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228" h="125013">
                  <a:moveTo>
                    <a:pt x="77312" y="27741"/>
                  </a:moveTo>
                  <a:cubicBezTo>
                    <a:pt x="41226" y="-26515"/>
                    <a:pt x="-514" y="8364"/>
                    <a:pt x="-514" y="46801"/>
                  </a:cubicBezTo>
                  <a:cubicBezTo>
                    <a:pt x="-514" y="102073"/>
                    <a:pt x="60031" y="149722"/>
                    <a:pt x="94783" y="110332"/>
                  </a:cubicBezTo>
                  <a:cubicBezTo>
                    <a:pt x="129535" y="70943"/>
                    <a:pt x="77312" y="27741"/>
                    <a:pt x="77312" y="2774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 8"/>
            <p:cNvSpPr/>
            <p:nvPr/>
          </p:nvSpPr>
          <p:spPr>
            <a:xfrm>
              <a:off x="5034066" y="3764605"/>
              <a:ext cx="121425" cy="141542"/>
            </a:xfrm>
            <a:custGeom>
              <a:avLst/>
              <a:gdLst>
                <a:gd name="connsiteX0" fmla="*/ 28968 w 107245"/>
                <a:gd name="connsiteY0" fmla="*/ 27741 h 125013"/>
                <a:gd name="connsiteX1" fmla="*/ 106731 w 107245"/>
                <a:gd name="connsiteY1" fmla="*/ 46801 h 125013"/>
                <a:gd name="connsiteX2" fmla="*/ 11433 w 107245"/>
                <a:gd name="connsiteY2" fmla="*/ 110332 h 125013"/>
                <a:gd name="connsiteX3" fmla="*/ 28968 w 107245"/>
                <a:gd name="connsiteY3" fmla="*/ 27741 h 125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245" h="125013">
                  <a:moveTo>
                    <a:pt x="28968" y="27741"/>
                  </a:moveTo>
                  <a:cubicBezTo>
                    <a:pt x="64927" y="-26515"/>
                    <a:pt x="106731" y="8364"/>
                    <a:pt x="106731" y="46801"/>
                  </a:cubicBezTo>
                  <a:cubicBezTo>
                    <a:pt x="106731" y="102073"/>
                    <a:pt x="46249" y="149722"/>
                    <a:pt x="11433" y="110332"/>
                  </a:cubicBezTo>
                  <a:cubicBezTo>
                    <a:pt x="-23382" y="70943"/>
                    <a:pt x="28968" y="27741"/>
                    <a:pt x="28968" y="2774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 9"/>
            <p:cNvSpPr/>
            <p:nvPr/>
          </p:nvSpPr>
          <p:spPr>
            <a:xfrm>
              <a:off x="4636485" y="3571274"/>
              <a:ext cx="453974" cy="467243"/>
            </a:xfrm>
            <a:custGeom>
              <a:avLst/>
              <a:gdLst>
                <a:gd name="connsiteX0" fmla="*/ 199817 w 400958"/>
                <a:gd name="connsiteY0" fmla="*/ 412468 h 412678"/>
                <a:gd name="connsiteX1" fmla="*/ 6744 w 400958"/>
                <a:gd name="connsiteY1" fmla="*/ 98113 h 412678"/>
                <a:gd name="connsiteX2" fmla="*/ 393207 w 400958"/>
                <a:gd name="connsiteY2" fmla="*/ 98113 h 412678"/>
                <a:gd name="connsiteX3" fmla="*/ 199817 w 400958"/>
                <a:gd name="connsiteY3" fmla="*/ 412468 h 41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0958" h="412678">
                  <a:moveTo>
                    <a:pt x="199817" y="412468"/>
                  </a:moveTo>
                  <a:cubicBezTo>
                    <a:pt x="57569" y="412468"/>
                    <a:pt x="-26547" y="257387"/>
                    <a:pt x="6744" y="98113"/>
                  </a:cubicBezTo>
                  <a:cubicBezTo>
                    <a:pt x="34063" y="-33016"/>
                    <a:pt x="365762" y="-32953"/>
                    <a:pt x="393207" y="98113"/>
                  </a:cubicBezTo>
                  <a:cubicBezTo>
                    <a:pt x="426434" y="257387"/>
                    <a:pt x="342382" y="412595"/>
                    <a:pt x="199817" y="412468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 10"/>
            <p:cNvSpPr/>
            <p:nvPr/>
          </p:nvSpPr>
          <p:spPr>
            <a:xfrm>
              <a:off x="4757636" y="3487392"/>
              <a:ext cx="367502" cy="234313"/>
            </a:xfrm>
            <a:custGeom>
              <a:avLst/>
              <a:gdLst>
                <a:gd name="connsiteX0" fmla="*/ -514 w 324585"/>
                <a:gd name="connsiteY0" fmla="*/ 31541 h 206950"/>
                <a:gd name="connsiteX1" fmla="*/ 303231 w 324585"/>
                <a:gd name="connsiteY1" fmla="*/ 198693 h 206950"/>
                <a:gd name="connsiteX2" fmla="*/ 184045 w 324585"/>
                <a:gd name="connsiteY2" fmla="*/ 21757 h 206950"/>
                <a:gd name="connsiteX3" fmla="*/ -514 w 324585"/>
                <a:gd name="connsiteY3" fmla="*/ 31541 h 206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585" h="206950">
                  <a:moveTo>
                    <a:pt x="-514" y="31541"/>
                  </a:moveTo>
                  <a:cubicBezTo>
                    <a:pt x="-514" y="165911"/>
                    <a:pt x="253612" y="230650"/>
                    <a:pt x="303231" y="198693"/>
                  </a:cubicBezTo>
                  <a:cubicBezTo>
                    <a:pt x="352849" y="166737"/>
                    <a:pt x="314158" y="52951"/>
                    <a:pt x="184045" y="21757"/>
                  </a:cubicBezTo>
                  <a:cubicBezTo>
                    <a:pt x="53932" y="-9437"/>
                    <a:pt x="-197" y="-8484"/>
                    <a:pt x="-514" y="31541"/>
                  </a:cubicBezTo>
                  <a:close/>
                </a:path>
              </a:pathLst>
            </a:custGeom>
            <a:solidFill>
              <a:srgbClr val="971D0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 11"/>
            <p:cNvSpPr/>
            <p:nvPr/>
          </p:nvSpPr>
          <p:spPr>
            <a:xfrm>
              <a:off x="4592900" y="3508707"/>
              <a:ext cx="173053" cy="238281"/>
            </a:xfrm>
            <a:custGeom>
              <a:avLst/>
              <a:gdLst>
                <a:gd name="connsiteX0" fmla="*/ 145428 w 152844"/>
                <a:gd name="connsiteY0" fmla="*/ 11762 h 210454"/>
                <a:gd name="connsiteX1" fmla="*/ 38759 w 152844"/>
                <a:gd name="connsiteY1" fmla="*/ 209790 h 210454"/>
                <a:gd name="connsiteX2" fmla="*/ 27704 w 152844"/>
                <a:gd name="connsiteY2" fmla="*/ 78089 h 210454"/>
                <a:gd name="connsiteX3" fmla="*/ 145428 w 152844"/>
                <a:gd name="connsiteY3" fmla="*/ 11762 h 210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844" h="210454">
                  <a:moveTo>
                    <a:pt x="145428" y="11762"/>
                  </a:moveTo>
                  <a:cubicBezTo>
                    <a:pt x="177703" y="76501"/>
                    <a:pt x="89076" y="219320"/>
                    <a:pt x="38759" y="209790"/>
                  </a:cubicBezTo>
                  <a:cubicBezTo>
                    <a:pt x="-11559" y="200261"/>
                    <a:pt x="-11622" y="144416"/>
                    <a:pt x="27704" y="78089"/>
                  </a:cubicBezTo>
                  <a:cubicBezTo>
                    <a:pt x="67030" y="11762"/>
                    <a:pt x="130117" y="-18987"/>
                    <a:pt x="145428" y="11762"/>
                  </a:cubicBezTo>
                  <a:close/>
                </a:path>
              </a:pathLst>
            </a:custGeom>
            <a:solidFill>
              <a:srgbClr val="971D0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 12"/>
            <p:cNvSpPr/>
            <p:nvPr/>
          </p:nvSpPr>
          <p:spPr>
            <a:xfrm>
              <a:off x="3612370" y="4281731"/>
              <a:ext cx="915035" cy="627652"/>
            </a:xfrm>
            <a:custGeom>
              <a:avLst/>
              <a:gdLst>
                <a:gd name="connsiteX0" fmla="*/ 797158 w 808176"/>
                <a:gd name="connsiteY0" fmla="*/ 72207 h 554354"/>
                <a:gd name="connsiteX1" fmla="*/ 561011 w 808176"/>
                <a:gd name="connsiteY1" fmla="*/ 325698 h 554354"/>
                <a:gd name="connsiteX2" fmla="*/ 47611 w 808176"/>
                <a:gd name="connsiteY2" fmla="*/ 553523 h 554354"/>
                <a:gd name="connsiteX3" fmla="*/ 47611 w 808176"/>
                <a:gd name="connsiteY3" fmla="*/ 451110 h 554354"/>
                <a:gd name="connsiteX4" fmla="*/ 496844 w 808176"/>
                <a:gd name="connsiteY4" fmla="*/ 243743 h 554354"/>
                <a:gd name="connsiteX5" fmla="*/ 650844 w 808176"/>
                <a:gd name="connsiteY5" fmla="*/ 90123 h 554354"/>
                <a:gd name="connsiteX6" fmla="*/ 699637 w 808176"/>
                <a:gd name="connsiteY6" fmla="*/ 36375 h 554354"/>
                <a:gd name="connsiteX7" fmla="*/ 709866 w 808176"/>
                <a:gd name="connsiteY7" fmla="*/ 18459 h 554354"/>
                <a:gd name="connsiteX8" fmla="*/ 709866 w 808176"/>
                <a:gd name="connsiteY8" fmla="*/ 21000 h 554354"/>
                <a:gd name="connsiteX9" fmla="*/ 797158 w 808176"/>
                <a:gd name="connsiteY9" fmla="*/ 72207 h 554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8176" h="554354">
                  <a:moveTo>
                    <a:pt x="797158" y="72207"/>
                  </a:moveTo>
                  <a:cubicBezTo>
                    <a:pt x="727280" y="164525"/>
                    <a:pt x="648151" y="249460"/>
                    <a:pt x="561011" y="325698"/>
                  </a:cubicBezTo>
                  <a:cubicBezTo>
                    <a:pt x="422385" y="446027"/>
                    <a:pt x="242717" y="563752"/>
                    <a:pt x="47611" y="553523"/>
                  </a:cubicBezTo>
                  <a:cubicBezTo>
                    <a:pt x="-16556" y="548377"/>
                    <a:pt x="-16556" y="446027"/>
                    <a:pt x="47611" y="451110"/>
                  </a:cubicBezTo>
                  <a:cubicBezTo>
                    <a:pt x="219591" y="461339"/>
                    <a:pt x="376197" y="351302"/>
                    <a:pt x="496844" y="243743"/>
                  </a:cubicBezTo>
                  <a:cubicBezTo>
                    <a:pt x="553323" y="197682"/>
                    <a:pt x="602052" y="143871"/>
                    <a:pt x="650844" y="90123"/>
                  </a:cubicBezTo>
                  <a:cubicBezTo>
                    <a:pt x="668824" y="72207"/>
                    <a:pt x="684199" y="54291"/>
                    <a:pt x="699637" y="36375"/>
                  </a:cubicBezTo>
                  <a:cubicBezTo>
                    <a:pt x="703589" y="30727"/>
                    <a:pt x="707013" y="24730"/>
                    <a:pt x="709866" y="18459"/>
                  </a:cubicBezTo>
                  <a:cubicBezTo>
                    <a:pt x="717553" y="10772"/>
                    <a:pt x="702178" y="31165"/>
                    <a:pt x="709866" y="21000"/>
                  </a:cubicBezTo>
                  <a:cubicBezTo>
                    <a:pt x="748366" y="-30206"/>
                    <a:pt x="838199" y="21000"/>
                    <a:pt x="797158" y="72207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 13"/>
            <p:cNvSpPr/>
            <p:nvPr/>
          </p:nvSpPr>
          <p:spPr>
            <a:xfrm>
              <a:off x="5248839" y="3957542"/>
              <a:ext cx="415701" cy="712692"/>
            </a:xfrm>
            <a:custGeom>
              <a:avLst/>
              <a:gdLst>
                <a:gd name="connsiteX0" fmla="*/ 90290 w 367155"/>
                <a:gd name="connsiteY0" fmla="*/ 275691 h 629463"/>
                <a:gd name="connsiteX1" fmla="*/ 229361 w 367155"/>
                <a:gd name="connsiteY1" fmla="*/ 451738 h 629463"/>
                <a:gd name="connsiteX2" fmla="*/ 246959 w 367155"/>
                <a:gd name="connsiteY2" fmla="*/ 471877 h 629463"/>
                <a:gd name="connsiteX3" fmla="*/ 201979 w 367155"/>
                <a:gd name="connsiteY3" fmla="*/ 211016 h 629463"/>
                <a:gd name="connsiteX4" fmla="*/ 194292 w 367155"/>
                <a:gd name="connsiteY4" fmla="*/ 113241 h 629463"/>
                <a:gd name="connsiteX5" fmla="*/ 298420 w 367155"/>
                <a:gd name="connsiteY5" fmla="*/ 6952 h 629463"/>
                <a:gd name="connsiteX6" fmla="*/ 340732 w 367155"/>
                <a:gd name="connsiteY6" fmla="*/ 100280 h 629463"/>
                <a:gd name="connsiteX7" fmla="*/ 314748 w 367155"/>
                <a:gd name="connsiteY7" fmla="*/ 117624 h 629463"/>
                <a:gd name="connsiteX8" fmla="*/ 294544 w 367155"/>
                <a:gd name="connsiteY8" fmla="*/ 135286 h 629463"/>
                <a:gd name="connsiteX9" fmla="*/ 296006 w 367155"/>
                <a:gd name="connsiteY9" fmla="*/ 157077 h 629463"/>
                <a:gd name="connsiteX10" fmla="*/ 320402 w 367155"/>
                <a:gd name="connsiteY10" fmla="*/ 297927 h 629463"/>
                <a:gd name="connsiteX11" fmla="*/ 354518 w 367155"/>
                <a:gd name="connsiteY11" fmla="*/ 572194 h 629463"/>
                <a:gd name="connsiteX12" fmla="*/ 268560 w 367155"/>
                <a:gd name="connsiteY12" fmla="*/ 625243 h 629463"/>
                <a:gd name="connsiteX13" fmla="*/ 170785 w 367155"/>
                <a:gd name="connsiteY13" fmla="*/ 540237 h 629463"/>
                <a:gd name="connsiteX14" fmla="*/ 9668 w 367155"/>
                <a:gd name="connsiteY14" fmla="*/ 340176 h 629463"/>
                <a:gd name="connsiteX15" fmla="*/ 90290 w 367155"/>
                <a:gd name="connsiteY15" fmla="*/ 275437 h 629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67155" h="629463">
                  <a:moveTo>
                    <a:pt x="90290" y="275691"/>
                  </a:moveTo>
                  <a:cubicBezTo>
                    <a:pt x="134762" y="336999"/>
                    <a:pt x="181013" y="394877"/>
                    <a:pt x="229361" y="451738"/>
                  </a:cubicBezTo>
                  <a:cubicBezTo>
                    <a:pt x="235714" y="459997"/>
                    <a:pt x="241432" y="465969"/>
                    <a:pt x="246959" y="471877"/>
                  </a:cubicBezTo>
                  <a:cubicBezTo>
                    <a:pt x="235460" y="384267"/>
                    <a:pt x="213478" y="298626"/>
                    <a:pt x="201979" y="211016"/>
                  </a:cubicBezTo>
                  <a:cubicBezTo>
                    <a:pt x="196325" y="179822"/>
                    <a:pt x="189273" y="146277"/>
                    <a:pt x="194292" y="113241"/>
                  </a:cubicBezTo>
                  <a:cubicBezTo>
                    <a:pt x="199692" y="62923"/>
                    <a:pt x="258395" y="30649"/>
                    <a:pt x="298420" y="6952"/>
                  </a:cubicBezTo>
                  <a:cubicBezTo>
                    <a:pt x="353692" y="-26593"/>
                    <a:pt x="396068" y="66735"/>
                    <a:pt x="340732" y="100280"/>
                  </a:cubicBezTo>
                  <a:cubicBezTo>
                    <a:pt x="351342" y="92593"/>
                    <a:pt x="319449" y="115528"/>
                    <a:pt x="314748" y="117624"/>
                  </a:cubicBezTo>
                  <a:cubicBezTo>
                    <a:pt x="304138" y="125311"/>
                    <a:pt x="296705" y="139924"/>
                    <a:pt x="294544" y="135286"/>
                  </a:cubicBezTo>
                  <a:cubicBezTo>
                    <a:pt x="294544" y="141004"/>
                    <a:pt x="296451" y="145642"/>
                    <a:pt x="296006" y="157077"/>
                  </a:cubicBezTo>
                  <a:cubicBezTo>
                    <a:pt x="303375" y="204409"/>
                    <a:pt x="310682" y="251740"/>
                    <a:pt x="320402" y="297927"/>
                  </a:cubicBezTo>
                  <a:cubicBezTo>
                    <a:pt x="335523" y="381090"/>
                    <a:pt x="369321" y="486744"/>
                    <a:pt x="354518" y="572194"/>
                  </a:cubicBezTo>
                  <a:cubicBezTo>
                    <a:pt x="348165" y="614442"/>
                    <a:pt x="311698" y="639474"/>
                    <a:pt x="268560" y="625243"/>
                  </a:cubicBezTo>
                  <a:cubicBezTo>
                    <a:pt x="230124" y="608915"/>
                    <a:pt x="198358" y="569906"/>
                    <a:pt x="170785" y="540237"/>
                  </a:cubicBezTo>
                  <a:cubicBezTo>
                    <a:pt x="113695" y="476343"/>
                    <a:pt x="59922" y="409571"/>
                    <a:pt x="9668" y="340176"/>
                  </a:cubicBezTo>
                  <a:cubicBezTo>
                    <a:pt x="-28451" y="287127"/>
                    <a:pt x="49821" y="223468"/>
                    <a:pt x="90290" y="275437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 14"/>
            <p:cNvSpPr/>
            <p:nvPr/>
          </p:nvSpPr>
          <p:spPr>
            <a:xfrm>
              <a:off x="4494869" y="4089375"/>
              <a:ext cx="731188" cy="915335"/>
            </a:xfrm>
            <a:custGeom>
              <a:avLst/>
              <a:gdLst>
                <a:gd name="connsiteX0" fmla="*/ -514 w 645799"/>
                <a:gd name="connsiteY0" fmla="*/ 61416 h 808441"/>
                <a:gd name="connsiteX1" fmla="*/ 219877 w 645799"/>
                <a:gd name="connsiteY1" fmla="*/ -210 h 808441"/>
                <a:gd name="connsiteX2" fmla="*/ 333662 w 645799"/>
                <a:gd name="connsiteY2" fmla="*/ 71263 h 808441"/>
                <a:gd name="connsiteX3" fmla="*/ 441666 w 645799"/>
                <a:gd name="connsiteY3" fmla="*/ -210 h 808441"/>
                <a:gd name="connsiteX4" fmla="*/ 481564 w 645799"/>
                <a:gd name="connsiteY4" fmla="*/ 3475 h 808441"/>
                <a:gd name="connsiteX5" fmla="*/ 625527 w 645799"/>
                <a:gd name="connsiteY5" fmla="*/ 23360 h 808441"/>
                <a:gd name="connsiteX6" fmla="*/ 637598 w 645799"/>
                <a:gd name="connsiteY6" fmla="*/ 333459 h 808441"/>
                <a:gd name="connsiteX7" fmla="*/ 645285 w 645799"/>
                <a:gd name="connsiteY7" fmla="*/ 792920 h 808441"/>
                <a:gd name="connsiteX8" fmla="*/ 384488 w 645799"/>
                <a:gd name="connsiteY8" fmla="*/ 808231 h 808441"/>
                <a:gd name="connsiteX9" fmla="*/ 20006 w 645799"/>
                <a:gd name="connsiteY9" fmla="*/ 792920 h 808441"/>
                <a:gd name="connsiteX10" fmla="*/ 27694 w 645799"/>
                <a:gd name="connsiteY10" fmla="*/ 333459 h 808441"/>
                <a:gd name="connsiteX11" fmla="*/ -514 w 645799"/>
                <a:gd name="connsiteY11" fmla="*/ 61416 h 808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45799" h="808441">
                  <a:moveTo>
                    <a:pt x="-514" y="61416"/>
                  </a:moveTo>
                  <a:lnTo>
                    <a:pt x="219877" y="-210"/>
                  </a:lnTo>
                  <a:cubicBezTo>
                    <a:pt x="235252" y="69103"/>
                    <a:pt x="308250" y="71263"/>
                    <a:pt x="333662" y="71263"/>
                  </a:cubicBezTo>
                  <a:cubicBezTo>
                    <a:pt x="365428" y="71263"/>
                    <a:pt x="426292" y="69103"/>
                    <a:pt x="441666" y="-210"/>
                  </a:cubicBezTo>
                  <a:lnTo>
                    <a:pt x="481564" y="3475"/>
                  </a:lnTo>
                  <a:cubicBezTo>
                    <a:pt x="594142" y="14085"/>
                    <a:pt x="625527" y="23360"/>
                    <a:pt x="625527" y="23360"/>
                  </a:cubicBezTo>
                  <a:cubicBezTo>
                    <a:pt x="597382" y="336508"/>
                    <a:pt x="658436" y="258428"/>
                    <a:pt x="637598" y="333459"/>
                  </a:cubicBezTo>
                  <a:cubicBezTo>
                    <a:pt x="581436" y="535045"/>
                    <a:pt x="645285" y="792920"/>
                    <a:pt x="645285" y="792920"/>
                  </a:cubicBezTo>
                  <a:cubicBezTo>
                    <a:pt x="543317" y="808231"/>
                    <a:pt x="455770" y="808231"/>
                    <a:pt x="384488" y="808231"/>
                  </a:cubicBezTo>
                  <a:cubicBezTo>
                    <a:pt x="17401" y="808231"/>
                    <a:pt x="20006" y="792920"/>
                    <a:pt x="20006" y="792920"/>
                  </a:cubicBezTo>
                  <a:cubicBezTo>
                    <a:pt x="20006" y="792920"/>
                    <a:pt x="85889" y="477866"/>
                    <a:pt x="27694" y="333459"/>
                  </a:cubicBezTo>
                  <a:cubicBezTo>
                    <a:pt x="2281" y="269927"/>
                    <a:pt x="-514" y="61416"/>
                    <a:pt x="-514" y="61416"/>
                  </a:cubicBezTo>
                  <a:close/>
                </a:path>
              </a:pathLst>
            </a:custGeom>
            <a:solidFill>
              <a:srgbClr val="BE5ED3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 15"/>
            <p:cNvSpPr/>
            <p:nvPr/>
          </p:nvSpPr>
          <p:spPr>
            <a:xfrm>
              <a:off x="4736560" y="4414867"/>
              <a:ext cx="302114" cy="302114"/>
            </a:xfrm>
            <a:custGeom>
              <a:avLst/>
              <a:gdLst>
                <a:gd name="connsiteX0" fmla="*/ 266833 w 266833"/>
                <a:gd name="connsiteY0" fmla="*/ 133417 h 266833"/>
                <a:gd name="connsiteX1" fmla="*/ 133417 w 266833"/>
                <a:gd name="connsiteY1" fmla="*/ 266833 h 266833"/>
                <a:gd name="connsiteX2" fmla="*/ 0 w 266833"/>
                <a:gd name="connsiteY2" fmla="*/ 133417 h 266833"/>
                <a:gd name="connsiteX3" fmla="*/ 133417 w 266833"/>
                <a:gd name="connsiteY3" fmla="*/ 0 h 266833"/>
                <a:gd name="connsiteX4" fmla="*/ 266833 w 266833"/>
                <a:gd name="connsiteY4" fmla="*/ 133417 h 2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833" h="266833">
                  <a:moveTo>
                    <a:pt x="266833" y="133417"/>
                  </a:moveTo>
                  <a:cubicBezTo>
                    <a:pt x="266833" y="207101"/>
                    <a:pt x="207101" y="266833"/>
                    <a:pt x="133417" y="266833"/>
                  </a:cubicBezTo>
                  <a:cubicBezTo>
                    <a:pt x="59733" y="266833"/>
                    <a:pt x="0" y="207101"/>
                    <a:pt x="0" y="133417"/>
                  </a:cubicBezTo>
                  <a:cubicBezTo>
                    <a:pt x="0" y="59733"/>
                    <a:pt x="59733" y="0"/>
                    <a:pt x="133417" y="0"/>
                  </a:cubicBezTo>
                  <a:cubicBezTo>
                    <a:pt x="207101" y="0"/>
                    <a:pt x="266833" y="59733"/>
                    <a:pt x="266833" y="133417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 16"/>
            <p:cNvSpPr/>
            <p:nvPr/>
          </p:nvSpPr>
          <p:spPr>
            <a:xfrm>
              <a:off x="4808492" y="4501185"/>
              <a:ext cx="28772" cy="57545"/>
            </a:xfrm>
            <a:custGeom>
              <a:avLst/>
              <a:gdLst>
                <a:gd name="connsiteX0" fmla="*/ 25413 w 25412"/>
                <a:gd name="connsiteY0" fmla="*/ 25413 h 50825"/>
                <a:gd name="connsiteX1" fmla="*/ 12706 w 25412"/>
                <a:gd name="connsiteY1" fmla="*/ 50825 h 50825"/>
                <a:gd name="connsiteX2" fmla="*/ 0 w 25412"/>
                <a:gd name="connsiteY2" fmla="*/ 25413 h 50825"/>
                <a:gd name="connsiteX3" fmla="*/ 12706 w 25412"/>
                <a:gd name="connsiteY3" fmla="*/ 0 h 50825"/>
                <a:gd name="connsiteX4" fmla="*/ 25413 w 25412"/>
                <a:gd name="connsiteY4" fmla="*/ 25413 h 50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12" h="50825">
                  <a:moveTo>
                    <a:pt x="25413" y="25413"/>
                  </a:moveTo>
                  <a:cubicBezTo>
                    <a:pt x="25413" y="39448"/>
                    <a:pt x="19724" y="50825"/>
                    <a:pt x="12706" y="50825"/>
                  </a:cubicBezTo>
                  <a:cubicBezTo>
                    <a:pt x="5689" y="50825"/>
                    <a:pt x="0" y="39448"/>
                    <a:pt x="0" y="25413"/>
                  </a:cubicBezTo>
                  <a:cubicBezTo>
                    <a:pt x="0" y="11378"/>
                    <a:pt x="5689" y="0"/>
                    <a:pt x="12706" y="0"/>
                  </a:cubicBezTo>
                  <a:cubicBezTo>
                    <a:pt x="19724" y="0"/>
                    <a:pt x="25413" y="11378"/>
                    <a:pt x="25413" y="25413"/>
                  </a:cubicBez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 17"/>
            <p:cNvSpPr/>
            <p:nvPr/>
          </p:nvSpPr>
          <p:spPr>
            <a:xfrm>
              <a:off x="4937970" y="4501185"/>
              <a:ext cx="28772" cy="57545"/>
            </a:xfrm>
            <a:custGeom>
              <a:avLst/>
              <a:gdLst>
                <a:gd name="connsiteX0" fmla="*/ 25413 w 25412"/>
                <a:gd name="connsiteY0" fmla="*/ 25413 h 50825"/>
                <a:gd name="connsiteX1" fmla="*/ 12706 w 25412"/>
                <a:gd name="connsiteY1" fmla="*/ 50825 h 50825"/>
                <a:gd name="connsiteX2" fmla="*/ 0 w 25412"/>
                <a:gd name="connsiteY2" fmla="*/ 25413 h 50825"/>
                <a:gd name="connsiteX3" fmla="*/ 12706 w 25412"/>
                <a:gd name="connsiteY3" fmla="*/ 0 h 50825"/>
                <a:gd name="connsiteX4" fmla="*/ 25413 w 25412"/>
                <a:gd name="connsiteY4" fmla="*/ 25413 h 50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12" h="50825">
                  <a:moveTo>
                    <a:pt x="25413" y="25413"/>
                  </a:moveTo>
                  <a:cubicBezTo>
                    <a:pt x="25413" y="39448"/>
                    <a:pt x="19724" y="50825"/>
                    <a:pt x="12706" y="50825"/>
                  </a:cubicBezTo>
                  <a:cubicBezTo>
                    <a:pt x="5689" y="50825"/>
                    <a:pt x="0" y="39448"/>
                    <a:pt x="0" y="25413"/>
                  </a:cubicBezTo>
                  <a:cubicBezTo>
                    <a:pt x="0" y="11378"/>
                    <a:pt x="5689" y="0"/>
                    <a:pt x="12706" y="0"/>
                  </a:cubicBezTo>
                  <a:cubicBezTo>
                    <a:pt x="19724" y="0"/>
                    <a:pt x="25413" y="11378"/>
                    <a:pt x="25413" y="25413"/>
                  </a:cubicBez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 18"/>
            <p:cNvSpPr/>
            <p:nvPr/>
          </p:nvSpPr>
          <p:spPr>
            <a:xfrm>
              <a:off x="4809355" y="4601890"/>
              <a:ext cx="156524" cy="64640"/>
            </a:xfrm>
            <a:custGeom>
              <a:avLst/>
              <a:gdLst>
                <a:gd name="connsiteX0" fmla="*/ -514 w 138245"/>
                <a:gd name="connsiteY0" fmla="*/ -210 h 57091"/>
                <a:gd name="connsiteX1" fmla="*/ 81924 w 138245"/>
                <a:gd name="connsiteY1" fmla="*/ 55596 h 57091"/>
                <a:gd name="connsiteX2" fmla="*/ 137731 w 138245"/>
                <a:gd name="connsiteY2" fmla="*/ -210 h 57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8245" h="57091">
                  <a:moveTo>
                    <a:pt x="-514" y="-210"/>
                  </a:moveTo>
                  <a:cubicBezTo>
                    <a:pt x="6836" y="37966"/>
                    <a:pt x="43748" y="62953"/>
                    <a:pt x="81924" y="55596"/>
                  </a:cubicBezTo>
                  <a:cubicBezTo>
                    <a:pt x="110183" y="50152"/>
                    <a:pt x="132286" y="28055"/>
                    <a:pt x="137731" y="-210"/>
                  </a:cubicBezTo>
                  <a:close/>
                </a:path>
              </a:pathLst>
            </a:custGeom>
            <a:solidFill>
              <a:srgbClr val="E27AA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 19"/>
            <p:cNvSpPr/>
            <p:nvPr/>
          </p:nvSpPr>
          <p:spPr>
            <a:xfrm>
              <a:off x="4509837" y="4987374"/>
              <a:ext cx="724245" cy="307437"/>
            </a:xfrm>
            <a:custGeom>
              <a:avLst/>
              <a:gdLst>
                <a:gd name="connsiteX0" fmla="*/ 6214 w 639667"/>
                <a:gd name="connsiteY0" fmla="*/ -210 h 271534"/>
                <a:gd name="connsiteX1" fmla="*/ 632637 w 639667"/>
                <a:gd name="connsiteY1" fmla="*/ -210 h 271534"/>
                <a:gd name="connsiteX2" fmla="*/ 537657 w 639667"/>
                <a:gd name="connsiteY2" fmla="*/ 271325 h 271534"/>
                <a:gd name="connsiteX3" fmla="*/ 101194 w 639667"/>
                <a:gd name="connsiteY3" fmla="*/ 271325 h 271534"/>
                <a:gd name="connsiteX4" fmla="*/ 5897 w 639667"/>
                <a:gd name="connsiteY4" fmla="*/ -210 h 271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9667" h="271534">
                  <a:moveTo>
                    <a:pt x="6214" y="-210"/>
                  </a:moveTo>
                  <a:cubicBezTo>
                    <a:pt x="295029" y="15101"/>
                    <a:pt x="632637" y="-210"/>
                    <a:pt x="632637" y="-210"/>
                  </a:cubicBezTo>
                  <a:cubicBezTo>
                    <a:pt x="632637" y="-210"/>
                    <a:pt x="676283" y="271325"/>
                    <a:pt x="537657" y="271325"/>
                  </a:cubicBezTo>
                  <a:lnTo>
                    <a:pt x="101194" y="271325"/>
                  </a:lnTo>
                  <a:cubicBezTo>
                    <a:pt x="-37432" y="271325"/>
                    <a:pt x="5897" y="-210"/>
                    <a:pt x="5897" y="-210"/>
                  </a:cubicBez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 20"/>
            <p:cNvSpPr/>
            <p:nvPr/>
          </p:nvSpPr>
          <p:spPr>
            <a:xfrm>
              <a:off x="5524719" y="5246473"/>
              <a:ext cx="230304" cy="183920"/>
            </a:xfrm>
            <a:custGeom>
              <a:avLst/>
              <a:gdLst>
                <a:gd name="connsiteX0" fmla="*/ 27630 w 203409"/>
                <a:gd name="connsiteY0" fmla="*/ -210 h 162442"/>
                <a:gd name="connsiteX1" fmla="*/ 202787 w 203409"/>
                <a:gd name="connsiteY1" fmla="*/ 97057 h 162442"/>
                <a:gd name="connsiteX2" fmla="*/ -514 w 203409"/>
                <a:gd name="connsiteY2" fmla="*/ 161034 h 162442"/>
                <a:gd name="connsiteX3" fmla="*/ 27630 w 203409"/>
                <a:gd name="connsiteY3" fmla="*/ -210 h 162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3409" h="162442">
                  <a:moveTo>
                    <a:pt x="27630" y="-210"/>
                  </a:moveTo>
                  <a:cubicBezTo>
                    <a:pt x="27630" y="-210"/>
                    <a:pt x="207933" y="20247"/>
                    <a:pt x="202787" y="97057"/>
                  </a:cubicBezTo>
                  <a:cubicBezTo>
                    <a:pt x="200246" y="176408"/>
                    <a:pt x="-514" y="161034"/>
                    <a:pt x="-514" y="161034"/>
                  </a:cubicBezTo>
                  <a:lnTo>
                    <a:pt x="27630" y="-210"/>
                  </a:ln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 21"/>
            <p:cNvSpPr/>
            <p:nvPr/>
          </p:nvSpPr>
          <p:spPr>
            <a:xfrm>
              <a:off x="4100646" y="5006258"/>
              <a:ext cx="1488236" cy="437236"/>
            </a:xfrm>
            <a:custGeom>
              <a:avLst/>
              <a:gdLst>
                <a:gd name="connsiteX0" fmla="*/ 1313924 w 1314438"/>
                <a:gd name="connsiteY0" fmla="*/ 208966 h 386175"/>
                <a:gd name="connsiteX1" fmla="*/ 2820 w 1314438"/>
                <a:gd name="connsiteY1" fmla="*/ 90797 h 386175"/>
                <a:gd name="connsiteX2" fmla="*/ 1293403 w 1314438"/>
                <a:gd name="connsiteY2" fmla="*/ 385966 h 386175"/>
                <a:gd name="connsiteX3" fmla="*/ 1313924 w 1314438"/>
                <a:gd name="connsiteY3" fmla="*/ 208712 h 386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4438" h="386175">
                  <a:moveTo>
                    <a:pt x="1313924" y="208966"/>
                  </a:moveTo>
                  <a:cubicBezTo>
                    <a:pt x="1313924" y="208966"/>
                    <a:pt x="82361" y="-168603"/>
                    <a:pt x="2820" y="90797"/>
                  </a:cubicBezTo>
                  <a:cubicBezTo>
                    <a:pt x="-76722" y="347847"/>
                    <a:pt x="1293403" y="385966"/>
                    <a:pt x="1293403" y="385966"/>
                  </a:cubicBezTo>
                  <a:lnTo>
                    <a:pt x="1313924" y="208712"/>
                  </a:lnTo>
                  <a:close/>
                </a:path>
              </a:pathLst>
            </a:custGeom>
            <a:solidFill>
              <a:srgbClr val="1E216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 22"/>
            <p:cNvSpPr/>
            <p:nvPr/>
          </p:nvSpPr>
          <p:spPr>
            <a:xfrm>
              <a:off x="4002665" y="5286755"/>
              <a:ext cx="235837" cy="184637"/>
            </a:xfrm>
            <a:custGeom>
              <a:avLst/>
              <a:gdLst>
                <a:gd name="connsiteX0" fmla="*/ 169282 w 208296"/>
                <a:gd name="connsiteY0" fmla="*/ -210 h 163075"/>
                <a:gd name="connsiteX1" fmla="*/ -94 w 208296"/>
                <a:gd name="connsiteY1" fmla="*/ 109382 h 163075"/>
                <a:gd name="connsiteX2" fmla="*/ 207782 w 208296"/>
                <a:gd name="connsiteY2" fmla="*/ 157857 h 163075"/>
                <a:gd name="connsiteX3" fmla="*/ 169282 w 208296"/>
                <a:gd name="connsiteY3" fmla="*/ -210 h 163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8296" h="163075">
                  <a:moveTo>
                    <a:pt x="169282" y="-210"/>
                  </a:moveTo>
                  <a:cubicBezTo>
                    <a:pt x="169282" y="-210"/>
                    <a:pt x="-10322" y="32890"/>
                    <a:pt x="-94" y="109382"/>
                  </a:cubicBezTo>
                  <a:cubicBezTo>
                    <a:pt x="10135" y="185874"/>
                    <a:pt x="207782" y="157857"/>
                    <a:pt x="207782" y="157857"/>
                  </a:cubicBezTo>
                  <a:lnTo>
                    <a:pt x="169282" y="-210"/>
                  </a:ln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 23"/>
            <p:cNvSpPr/>
            <p:nvPr/>
          </p:nvSpPr>
          <p:spPr>
            <a:xfrm>
              <a:off x="4163334" y="4959760"/>
              <a:ext cx="1475212" cy="524448"/>
            </a:xfrm>
            <a:custGeom>
              <a:avLst/>
              <a:gdLst>
                <a:gd name="connsiteX0" fmla="*/ -514 w 1302935"/>
                <a:gd name="connsiteY0" fmla="*/ 288407 h 463202"/>
                <a:gd name="connsiteX1" fmla="*/ 1297439 w 1302935"/>
                <a:gd name="connsiteY1" fmla="*/ 75449 h 463202"/>
                <a:gd name="connsiteX2" fmla="*/ 30298 w 1302935"/>
                <a:gd name="connsiteY2" fmla="*/ 462992 h 463202"/>
                <a:gd name="connsiteX3" fmla="*/ -514 w 1302935"/>
                <a:gd name="connsiteY3" fmla="*/ 288535 h 463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2935" h="463202">
                  <a:moveTo>
                    <a:pt x="-514" y="288407"/>
                  </a:moveTo>
                  <a:cubicBezTo>
                    <a:pt x="-514" y="288407"/>
                    <a:pt x="1197376" y="-178551"/>
                    <a:pt x="1297439" y="75449"/>
                  </a:cubicBezTo>
                  <a:cubicBezTo>
                    <a:pt x="1394896" y="326908"/>
                    <a:pt x="30298" y="462992"/>
                    <a:pt x="30298" y="462992"/>
                  </a:cubicBezTo>
                  <a:lnTo>
                    <a:pt x="-514" y="288535"/>
                  </a:lnTo>
                  <a:close/>
                </a:path>
              </a:pathLst>
            </a:custGeom>
            <a:solidFill>
              <a:srgbClr val="2A3072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 24"/>
            <p:cNvSpPr/>
            <p:nvPr/>
          </p:nvSpPr>
          <p:spPr>
            <a:xfrm>
              <a:off x="4197069" y="4159220"/>
              <a:ext cx="334881" cy="457055"/>
            </a:xfrm>
            <a:custGeom>
              <a:avLst/>
              <a:gdLst>
                <a:gd name="connsiteX0" fmla="*/ 262507 w 295773"/>
                <a:gd name="connsiteY0" fmla="*/ -210 h 403680"/>
                <a:gd name="connsiteX1" fmla="*/ -514 w 295773"/>
                <a:gd name="connsiteY1" fmla="*/ 206522 h 403680"/>
                <a:gd name="connsiteX2" fmla="*/ 151962 w 295773"/>
                <a:gd name="connsiteY2" fmla="*/ 403470 h 403680"/>
                <a:gd name="connsiteX3" fmla="*/ 290969 w 295773"/>
                <a:gd name="connsiteY3" fmla="*/ 272468 h 403680"/>
                <a:gd name="connsiteX4" fmla="*/ 262507 w 295773"/>
                <a:gd name="connsiteY4" fmla="*/ -210 h 403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5773" h="403680">
                  <a:moveTo>
                    <a:pt x="262507" y="-210"/>
                  </a:moveTo>
                  <a:cubicBezTo>
                    <a:pt x="262507" y="-210"/>
                    <a:pt x="113843" y="47693"/>
                    <a:pt x="-514" y="206522"/>
                  </a:cubicBezTo>
                  <a:lnTo>
                    <a:pt x="151962" y="403470"/>
                  </a:lnTo>
                  <a:cubicBezTo>
                    <a:pt x="151962" y="403470"/>
                    <a:pt x="278326" y="317766"/>
                    <a:pt x="290969" y="272468"/>
                  </a:cubicBezTo>
                  <a:cubicBezTo>
                    <a:pt x="309393" y="206395"/>
                    <a:pt x="262507" y="-210"/>
                    <a:pt x="262507" y="-210"/>
                  </a:cubicBezTo>
                  <a:close/>
                </a:path>
              </a:pathLst>
            </a:custGeom>
            <a:solidFill>
              <a:srgbClr val="BE5ED3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 25"/>
            <p:cNvSpPr/>
            <p:nvPr/>
          </p:nvSpPr>
          <p:spPr>
            <a:xfrm>
              <a:off x="5168201" y="4116061"/>
              <a:ext cx="316452" cy="449862"/>
            </a:xfrm>
            <a:custGeom>
              <a:avLst/>
              <a:gdLst>
                <a:gd name="connsiteX0" fmla="*/ 30827 w 279496"/>
                <a:gd name="connsiteY0" fmla="*/ -210 h 397327"/>
                <a:gd name="connsiteX1" fmla="*/ 278982 w 279496"/>
                <a:gd name="connsiteY1" fmla="*/ 203092 h 397327"/>
                <a:gd name="connsiteX2" fmla="*/ 134892 w 279496"/>
                <a:gd name="connsiteY2" fmla="*/ 397117 h 397327"/>
                <a:gd name="connsiteX3" fmla="*/ 3508 w 279496"/>
                <a:gd name="connsiteY3" fmla="*/ 268148 h 397327"/>
                <a:gd name="connsiteX4" fmla="*/ 30827 w 279496"/>
                <a:gd name="connsiteY4" fmla="*/ -210 h 397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9496" h="397327">
                  <a:moveTo>
                    <a:pt x="30827" y="-210"/>
                  </a:moveTo>
                  <a:cubicBezTo>
                    <a:pt x="30827" y="-210"/>
                    <a:pt x="161575" y="21899"/>
                    <a:pt x="278982" y="203092"/>
                  </a:cubicBezTo>
                  <a:lnTo>
                    <a:pt x="134892" y="397117"/>
                  </a:lnTo>
                  <a:cubicBezTo>
                    <a:pt x="134892" y="397117"/>
                    <a:pt x="15452" y="312747"/>
                    <a:pt x="3508" y="268148"/>
                  </a:cubicBezTo>
                  <a:cubicBezTo>
                    <a:pt x="-13899" y="203155"/>
                    <a:pt x="30827" y="-210"/>
                    <a:pt x="30827" y="-210"/>
                  </a:cubicBezTo>
                  <a:close/>
                </a:path>
              </a:pathLst>
            </a:custGeom>
            <a:solidFill>
              <a:srgbClr val="BE5ED3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 26"/>
            <p:cNvSpPr/>
            <p:nvPr/>
          </p:nvSpPr>
          <p:spPr>
            <a:xfrm>
              <a:off x="3207781" y="3560975"/>
              <a:ext cx="1486066" cy="1759003"/>
            </a:xfrm>
            <a:custGeom>
              <a:avLst/>
              <a:gdLst>
                <a:gd name="connsiteX0" fmla="*/ 933471 w 1312521"/>
                <a:gd name="connsiteY0" fmla="*/ 872704 h 1553585"/>
                <a:gd name="connsiteX1" fmla="*/ 1030738 w 1312521"/>
                <a:gd name="connsiteY1" fmla="*/ 1006121 h 1553585"/>
                <a:gd name="connsiteX2" fmla="*/ 1002848 w 1312521"/>
                <a:gd name="connsiteY2" fmla="*/ 1177656 h 1553585"/>
                <a:gd name="connsiteX3" fmla="*/ 831211 w 1312521"/>
                <a:gd name="connsiteY3" fmla="*/ 1152962 h 1553585"/>
                <a:gd name="connsiteX4" fmla="*/ 830677 w 1312521"/>
                <a:gd name="connsiteY4" fmla="*/ 1152244 h 1553585"/>
                <a:gd name="connsiteX5" fmla="*/ 674897 w 1312521"/>
                <a:gd name="connsiteY5" fmla="*/ 940874 h 1553585"/>
                <a:gd name="connsiteX6" fmla="*/ 674008 w 1312521"/>
                <a:gd name="connsiteY6" fmla="*/ 935220 h 1553585"/>
                <a:gd name="connsiteX7" fmla="*/ 669942 w 1312521"/>
                <a:gd name="connsiteY7" fmla="*/ 931217 h 1553585"/>
                <a:gd name="connsiteX8" fmla="*/ 695354 w 1312521"/>
                <a:gd name="connsiteY8" fmla="*/ 758792 h 1553585"/>
                <a:gd name="connsiteX9" fmla="*/ 761046 w 1312521"/>
                <a:gd name="connsiteY9" fmla="*/ 359495 h 1553585"/>
                <a:gd name="connsiteX10" fmla="*/ 364075 w 1312521"/>
                <a:gd name="connsiteY10" fmla="*/ 301001 h 1553585"/>
                <a:gd name="connsiteX11" fmla="*/ 362321 w 1312521"/>
                <a:gd name="connsiteY11" fmla="*/ 302316 h 1553585"/>
                <a:gd name="connsiteX12" fmla="*/ 248727 w 1312521"/>
                <a:gd name="connsiteY12" fmla="*/ 557015 h 1553585"/>
                <a:gd name="connsiteX13" fmla="*/ 137946 w 1312521"/>
                <a:gd name="connsiteY13" fmla="*/ 696670 h 1553585"/>
                <a:gd name="connsiteX14" fmla="*/ 136910 w 1312521"/>
                <a:gd name="connsiteY14" fmla="*/ 696785 h 1553585"/>
                <a:gd name="connsiteX15" fmla="*/ 2668 w 1312521"/>
                <a:gd name="connsiteY15" fmla="*/ 586557 h 1553585"/>
                <a:gd name="connsiteX16" fmla="*/ 216389 w 1312521"/>
                <a:gd name="connsiteY16" fmla="*/ 102509 h 1553585"/>
                <a:gd name="connsiteX17" fmla="*/ 960282 w 1312521"/>
                <a:gd name="connsiteY17" fmla="*/ 215786 h 1553585"/>
                <a:gd name="connsiteX18" fmla="*/ 933471 w 1312521"/>
                <a:gd name="connsiteY18" fmla="*/ 872704 h 1553585"/>
                <a:gd name="connsiteX19" fmla="*/ 1259071 w 1312521"/>
                <a:gd name="connsiteY19" fmla="*/ 1318824 h 1553585"/>
                <a:gd name="connsiteX20" fmla="*/ 1287153 w 1312521"/>
                <a:gd name="connsiteY20" fmla="*/ 1357388 h 1553585"/>
                <a:gd name="connsiteX21" fmla="*/ 1259199 w 1312521"/>
                <a:gd name="connsiteY21" fmla="*/ 1528923 h 1553585"/>
                <a:gd name="connsiteX22" fmla="*/ 1087644 w 1312521"/>
                <a:gd name="connsiteY22" fmla="*/ 1504260 h 1553585"/>
                <a:gd name="connsiteX23" fmla="*/ 1087091 w 1312521"/>
                <a:gd name="connsiteY23" fmla="*/ 1503511 h 1553585"/>
                <a:gd name="connsiteX24" fmla="*/ 1061678 w 1312521"/>
                <a:gd name="connsiteY24" fmla="*/ 1465391 h 1553585"/>
                <a:gd name="connsiteX25" fmla="*/ 1087091 w 1312521"/>
                <a:gd name="connsiteY25" fmla="*/ 1292967 h 1553585"/>
                <a:gd name="connsiteX26" fmla="*/ 1259199 w 1312521"/>
                <a:gd name="connsiteY26" fmla="*/ 1318379 h 1553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312521" h="1553585">
                  <a:moveTo>
                    <a:pt x="933471" y="872704"/>
                  </a:moveTo>
                  <a:lnTo>
                    <a:pt x="1030738" y="1006121"/>
                  </a:lnTo>
                  <a:cubicBezTo>
                    <a:pt x="1071971" y="1062410"/>
                    <a:pt x="1061551" y="1137187"/>
                    <a:pt x="1002848" y="1177656"/>
                  </a:cubicBezTo>
                  <a:cubicBezTo>
                    <a:pt x="948630" y="1218234"/>
                    <a:pt x="871788" y="1207179"/>
                    <a:pt x="831211" y="1152962"/>
                  </a:cubicBezTo>
                  <a:cubicBezTo>
                    <a:pt x="831033" y="1152720"/>
                    <a:pt x="830855" y="1152485"/>
                    <a:pt x="830677" y="1152244"/>
                  </a:cubicBezTo>
                  <a:lnTo>
                    <a:pt x="674897" y="940874"/>
                  </a:lnTo>
                  <a:cubicBezTo>
                    <a:pt x="673246" y="937633"/>
                    <a:pt x="676486" y="935982"/>
                    <a:pt x="674008" y="935220"/>
                  </a:cubicBezTo>
                  <a:cubicBezTo>
                    <a:pt x="671530" y="934457"/>
                    <a:pt x="671594" y="934457"/>
                    <a:pt x="669942" y="931217"/>
                  </a:cubicBezTo>
                  <a:cubicBezTo>
                    <a:pt x="630362" y="878168"/>
                    <a:pt x="642369" y="798499"/>
                    <a:pt x="695354" y="758792"/>
                  </a:cubicBezTo>
                  <a:cubicBezTo>
                    <a:pt x="824769" y="665400"/>
                    <a:pt x="855010" y="486495"/>
                    <a:pt x="761046" y="359495"/>
                  </a:cubicBezTo>
                  <a:cubicBezTo>
                    <a:pt x="667578" y="233721"/>
                    <a:pt x="489849" y="207534"/>
                    <a:pt x="364075" y="301001"/>
                  </a:cubicBezTo>
                  <a:cubicBezTo>
                    <a:pt x="363490" y="301439"/>
                    <a:pt x="362906" y="301878"/>
                    <a:pt x="362321" y="302316"/>
                  </a:cubicBezTo>
                  <a:cubicBezTo>
                    <a:pt x="281636" y="360797"/>
                    <a:pt x="238326" y="457912"/>
                    <a:pt x="248727" y="557015"/>
                  </a:cubicBezTo>
                  <a:cubicBezTo>
                    <a:pt x="256700" y="626169"/>
                    <a:pt x="207101" y="688697"/>
                    <a:pt x="137946" y="696670"/>
                  </a:cubicBezTo>
                  <a:cubicBezTo>
                    <a:pt x="137603" y="696708"/>
                    <a:pt x="137254" y="696747"/>
                    <a:pt x="136910" y="696785"/>
                  </a:cubicBezTo>
                  <a:cubicBezTo>
                    <a:pt x="68106" y="701741"/>
                    <a:pt x="9847" y="656252"/>
                    <a:pt x="2668" y="586557"/>
                  </a:cubicBezTo>
                  <a:cubicBezTo>
                    <a:pt x="-18056" y="398554"/>
                    <a:pt x="63493" y="213855"/>
                    <a:pt x="216389" y="102509"/>
                  </a:cubicBezTo>
                  <a:cubicBezTo>
                    <a:pt x="453375" y="-70456"/>
                    <a:pt x="785519" y="-19878"/>
                    <a:pt x="960282" y="215786"/>
                  </a:cubicBezTo>
                  <a:cubicBezTo>
                    <a:pt x="1106405" y="415975"/>
                    <a:pt x="1089251" y="688017"/>
                    <a:pt x="933471" y="872704"/>
                  </a:cubicBezTo>
                  <a:close/>
                  <a:moveTo>
                    <a:pt x="1259071" y="1318824"/>
                  </a:moveTo>
                  <a:lnTo>
                    <a:pt x="1287153" y="1357388"/>
                  </a:lnTo>
                  <a:cubicBezTo>
                    <a:pt x="1328321" y="1413677"/>
                    <a:pt x="1317902" y="1488454"/>
                    <a:pt x="1259199" y="1528923"/>
                  </a:cubicBezTo>
                  <a:cubicBezTo>
                    <a:pt x="1205012" y="1569488"/>
                    <a:pt x="1128209" y="1558440"/>
                    <a:pt x="1087644" y="1504260"/>
                  </a:cubicBezTo>
                  <a:cubicBezTo>
                    <a:pt x="1087460" y="1504013"/>
                    <a:pt x="1087275" y="1503758"/>
                    <a:pt x="1087091" y="1503511"/>
                  </a:cubicBezTo>
                  <a:lnTo>
                    <a:pt x="1061678" y="1465391"/>
                  </a:lnTo>
                  <a:cubicBezTo>
                    <a:pt x="1019684" y="1411517"/>
                    <a:pt x="1034106" y="1332610"/>
                    <a:pt x="1087091" y="1292967"/>
                  </a:cubicBezTo>
                  <a:cubicBezTo>
                    <a:pt x="1141671" y="1252592"/>
                    <a:pt x="1218621" y="1263958"/>
                    <a:pt x="1259199" y="1318379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 27"/>
            <p:cNvSpPr/>
            <p:nvPr/>
          </p:nvSpPr>
          <p:spPr>
            <a:xfrm>
              <a:off x="6164723" y="1962102"/>
              <a:ext cx="703194" cy="564027"/>
            </a:xfrm>
            <a:custGeom>
              <a:avLst/>
              <a:gdLst>
                <a:gd name="connsiteX0" fmla="*/ 577794 w 621074"/>
                <a:gd name="connsiteY0" fmla="*/ 416455 h 498159"/>
                <a:gd name="connsiteX1" fmla="*/ 538976 w 621074"/>
                <a:gd name="connsiteY1" fmla="*/ 192061 h 498159"/>
                <a:gd name="connsiteX2" fmla="*/ 398317 w 621074"/>
                <a:gd name="connsiteY2" fmla="*/ 31135 h 498159"/>
                <a:gd name="connsiteX3" fmla="*/ 10265 w 621074"/>
                <a:gd name="connsiteY3" fmla="*/ 121159 h 498159"/>
                <a:gd name="connsiteX4" fmla="*/ 38156 w 621074"/>
                <a:gd name="connsiteY4" fmla="*/ 265504 h 498159"/>
                <a:gd name="connsiteX5" fmla="*/ 65983 w 621074"/>
                <a:gd name="connsiteY5" fmla="*/ 440152 h 498159"/>
                <a:gd name="connsiteX6" fmla="*/ 577794 w 621074"/>
                <a:gd name="connsiteY6" fmla="*/ 416455 h 498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1074" h="498159">
                  <a:moveTo>
                    <a:pt x="577794" y="416455"/>
                  </a:moveTo>
                  <a:cubicBezTo>
                    <a:pt x="667819" y="254576"/>
                    <a:pt x="596536" y="161629"/>
                    <a:pt x="538976" y="192061"/>
                  </a:cubicBezTo>
                  <a:cubicBezTo>
                    <a:pt x="538976" y="192061"/>
                    <a:pt x="530399" y="91617"/>
                    <a:pt x="398317" y="31135"/>
                  </a:cubicBezTo>
                  <a:cubicBezTo>
                    <a:pt x="245841" y="-38750"/>
                    <a:pt x="48893" y="15633"/>
                    <a:pt x="10265" y="121159"/>
                  </a:cubicBezTo>
                  <a:cubicBezTo>
                    <a:pt x="-25186" y="218554"/>
                    <a:pt x="38156" y="265504"/>
                    <a:pt x="38156" y="265504"/>
                  </a:cubicBezTo>
                  <a:cubicBezTo>
                    <a:pt x="38156" y="265504"/>
                    <a:pt x="-1043" y="335388"/>
                    <a:pt x="65983" y="440152"/>
                  </a:cubicBezTo>
                  <a:cubicBezTo>
                    <a:pt x="133009" y="544916"/>
                    <a:pt x="537515" y="488945"/>
                    <a:pt x="577794" y="416455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 28"/>
            <p:cNvSpPr/>
            <p:nvPr/>
          </p:nvSpPr>
          <p:spPr>
            <a:xfrm>
              <a:off x="6390997" y="2695691"/>
              <a:ext cx="273341" cy="276362"/>
            </a:xfrm>
            <a:custGeom>
              <a:avLst/>
              <a:gdLst>
                <a:gd name="connsiteX0" fmla="*/ 120196 w 241420"/>
                <a:gd name="connsiteY0" fmla="*/ 243879 h 244088"/>
                <a:gd name="connsiteX1" fmla="*/ 120196 w 241420"/>
                <a:gd name="connsiteY1" fmla="*/ 243879 h 244088"/>
                <a:gd name="connsiteX2" fmla="*/ -514 w 241420"/>
                <a:gd name="connsiteY2" fmla="*/ 160017 h 244088"/>
                <a:gd name="connsiteX3" fmla="*/ -514 w 241420"/>
                <a:gd name="connsiteY3" fmla="*/ -210 h 244088"/>
                <a:gd name="connsiteX4" fmla="*/ 240906 w 241420"/>
                <a:gd name="connsiteY4" fmla="*/ -210 h 244088"/>
                <a:gd name="connsiteX5" fmla="*/ 240906 w 241420"/>
                <a:gd name="connsiteY5" fmla="*/ 160335 h 244088"/>
                <a:gd name="connsiteX6" fmla="*/ 120958 w 241420"/>
                <a:gd name="connsiteY6" fmla="*/ 243752 h 244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1420" h="244088">
                  <a:moveTo>
                    <a:pt x="120196" y="243879"/>
                  </a:moveTo>
                  <a:lnTo>
                    <a:pt x="120196" y="243879"/>
                  </a:lnTo>
                  <a:cubicBezTo>
                    <a:pt x="53551" y="243879"/>
                    <a:pt x="-514" y="206332"/>
                    <a:pt x="-514" y="160017"/>
                  </a:cubicBezTo>
                  <a:lnTo>
                    <a:pt x="-514" y="-210"/>
                  </a:lnTo>
                  <a:lnTo>
                    <a:pt x="240906" y="-210"/>
                  </a:lnTo>
                  <a:lnTo>
                    <a:pt x="240906" y="160335"/>
                  </a:lnTo>
                  <a:cubicBezTo>
                    <a:pt x="240906" y="206395"/>
                    <a:pt x="187222" y="243752"/>
                    <a:pt x="120958" y="243752"/>
                  </a:cubicBez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 29"/>
            <p:cNvSpPr/>
            <p:nvPr/>
          </p:nvSpPr>
          <p:spPr>
            <a:xfrm>
              <a:off x="6190954" y="2434905"/>
              <a:ext cx="140645" cy="163868"/>
            </a:xfrm>
            <a:custGeom>
              <a:avLst/>
              <a:gdLst>
                <a:gd name="connsiteX0" fmla="*/ 89827 w 124220"/>
                <a:gd name="connsiteY0" fmla="*/ 32284 h 144731"/>
                <a:gd name="connsiteX1" fmla="*/ -514 w 124220"/>
                <a:gd name="connsiteY1" fmla="*/ 54139 h 144731"/>
                <a:gd name="connsiteX2" fmla="*/ 109904 w 124220"/>
                <a:gd name="connsiteY2" fmla="*/ 127518 h 144731"/>
                <a:gd name="connsiteX3" fmla="*/ 89827 w 124220"/>
                <a:gd name="connsiteY3" fmla="*/ 32221 h 14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220" h="144731">
                  <a:moveTo>
                    <a:pt x="89827" y="32284"/>
                  </a:moveTo>
                  <a:cubicBezTo>
                    <a:pt x="47960" y="-30739"/>
                    <a:pt x="-514" y="9730"/>
                    <a:pt x="-514" y="54139"/>
                  </a:cubicBezTo>
                  <a:cubicBezTo>
                    <a:pt x="-514" y="118306"/>
                    <a:pt x="69752" y="173579"/>
                    <a:pt x="109904" y="127518"/>
                  </a:cubicBezTo>
                  <a:cubicBezTo>
                    <a:pt x="150056" y="81458"/>
                    <a:pt x="89827" y="32221"/>
                    <a:pt x="89827" y="3222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 30"/>
            <p:cNvSpPr/>
            <p:nvPr/>
          </p:nvSpPr>
          <p:spPr>
            <a:xfrm>
              <a:off x="6727091" y="2434905"/>
              <a:ext cx="140816" cy="163868"/>
            </a:xfrm>
            <a:custGeom>
              <a:avLst/>
              <a:gdLst>
                <a:gd name="connsiteX0" fmla="*/ 33579 w 124371"/>
                <a:gd name="connsiteY0" fmla="*/ 32284 h 144731"/>
                <a:gd name="connsiteX1" fmla="*/ 123857 w 124371"/>
                <a:gd name="connsiteY1" fmla="*/ 54139 h 144731"/>
                <a:gd name="connsiteX2" fmla="*/ 13439 w 124371"/>
                <a:gd name="connsiteY2" fmla="*/ 127518 h 144731"/>
                <a:gd name="connsiteX3" fmla="*/ 33579 w 124371"/>
                <a:gd name="connsiteY3" fmla="*/ 32221 h 14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371" h="144731">
                  <a:moveTo>
                    <a:pt x="33579" y="32284"/>
                  </a:moveTo>
                  <a:cubicBezTo>
                    <a:pt x="75319" y="-30739"/>
                    <a:pt x="123857" y="9730"/>
                    <a:pt x="123857" y="54139"/>
                  </a:cubicBezTo>
                  <a:cubicBezTo>
                    <a:pt x="123857" y="118306"/>
                    <a:pt x="53972" y="173579"/>
                    <a:pt x="13439" y="127518"/>
                  </a:cubicBezTo>
                  <a:cubicBezTo>
                    <a:pt x="-27095" y="81458"/>
                    <a:pt x="33579" y="32221"/>
                    <a:pt x="33579" y="3222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 31"/>
            <p:cNvSpPr/>
            <p:nvPr/>
          </p:nvSpPr>
          <p:spPr>
            <a:xfrm>
              <a:off x="6265196" y="2209296"/>
              <a:ext cx="527030" cy="543940"/>
            </a:xfrm>
            <a:custGeom>
              <a:avLst/>
              <a:gdLst>
                <a:gd name="connsiteX0" fmla="*/ 232068 w 465483"/>
                <a:gd name="connsiteY0" fmla="*/ 480209 h 480418"/>
                <a:gd name="connsiteX1" fmla="*/ 7928 w 465483"/>
                <a:gd name="connsiteY1" fmla="*/ 114266 h 480418"/>
                <a:gd name="connsiteX2" fmla="*/ 456589 w 465483"/>
                <a:gd name="connsiteY2" fmla="*/ 114266 h 480418"/>
                <a:gd name="connsiteX3" fmla="*/ 232068 w 465483"/>
                <a:gd name="connsiteY3" fmla="*/ 480209 h 480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5483" h="480418">
                  <a:moveTo>
                    <a:pt x="232068" y="480209"/>
                  </a:moveTo>
                  <a:cubicBezTo>
                    <a:pt x="66886" y="480209"/>
                    <a:pt x="-30763" y="299588"/>
                    <a:pt x="7928" y="114266"/>
                  </a:cubicBezTo>
                  <a:cubicBezTo>
                    <a:pt x="39694" y="-38527"/>
                    <a:pt x="424696" y="-38210"/>
                    <a:pt x="456589" y="114266"/>
                  </a:cubicBezTo>
                  <a:cubicBezTo>
                    <a:pt x="495153" y="299588"/>
                    <a:pt x="397251" y="480209"/>
                    <a:pt x="232068" y="480209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 32"/>
            <p:cNvSpPr/>
            <p:nvPr/>
          </p:nvSpPr>
          <p:spPr>
            <a:xfrm>
              <a:off x="6255890" y="2082565"/>
              <a:ext cx="448236" cy="230262"/>
            </a:xfrm>
            <a:custGeom>
              <a:avLst/>
              <a:gdLst>
                <a:gd name="connsiteX0" fmla="*/ 386663 w 395890"/>
                <a:gd name="connsiteY0" fmla="*/ 112221 h 203372"/>
                <a:gd name="connsiteX1" fmla="*/ 250388 w 395890"/>
                <a:gd name="connsiteY1" fmla="*/ 153708 h 203372"/>
                <a:gd name="connsiteX2" fmla="*/ 94799 w 395890"/>
                <a:gd name="connsiteY2" fmla="*/ 202246 h 203372"/>
                <a:gd name="connsiteX3" fmla="*/ 66146 w 395890"/>
                <a:gd name="connsiteY3" fmla="*/ 31028 h 203372"/>
                <a:gd name="connsiteX4" fmla="*/ 386663 w 395890"/>
                <a:gd name="connsiteY4" fmla="*/ 112221 h 203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5890" h="203372">
                  <a:moveTo>
                    <a:pt x="386663" y="112221"/>
                  </a:moveTo>
                  <a:cubicBezTo>
                    <a:pt x="344034" y="208472"/>
                    <a:pt x="250388" y="153708"/>
                    <a:pt x="250388" y="153708"/>
                  </a:cubicBezTo>
                  <a:cubicBezTo>
                    <a:pt x="207091" y="190022"/>
                    <a:pt x="151062" y="207500"/>
                    <a:pt x="94799" y="202246"/>
                  </a:cubicBezTo>
                  <a:cubicBezTo>
                    <a:pt x="581" y="192970"/>
                    <a:pt x="-48592" y="79439"/>
                    <a:pt x="66146" y="31028"/>
                  </a:cubicBezTo>
                  <a:cubicBezTo>
                    <a:pt x="180884" y="-17383"/>
                    <a:pt x="446701" y="-22784"/>
                    <a:pt x="386663" y="112221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 33"/>
            <p:cNvSpPr/>
            <p:nvPr/>
          </p:nvSpPr>
          <p:spPr>
            <a:xfrm>
              <a:off x="5999615" y="5296537"/>
              <a:ext cx="484830" cy="136671"/>
            </a:xfrm>
            <a:custGeom>
              <a:avLst/>
              <a:gdLst>
                <a:gd name="connsiteX0" fmla="*/ 415046 w 428211"/>
                <a:gd name="connsiteY0" fmla="*/ -210 h 120710"/>
                <a:gd name="connsiteX1" fmla="*/ 150755 w 428211"/>
                <a:gd name="connsiteY1" fmla="*/ -210 h 120710"/>
                <a:gd name="connsiteX2" fmla="*/ -514 w 428211"/>
                <a:gd name="connsiteY2" fmla="*/ 107794 h 120710"/>
                <a:gd name="connsiteX3" fmla="*/ -514 w 428211"/>
                <a:gd name="connsiteY3" fmla="*/ 120500 h 120710"/>
                <a:gd name="connsiteX4" fmla="*/ 425148 w 428211"/>
                <a:gd name="connsiteY4" fmla="*/ 120500 h 120710"/>
                <a:gd name="connsiteX5" fmla="*/ 414856 w 428211"/>
                <a:gd name="connsiteY5" fmla="*/ -210 h 120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8211" h="120710">
                  <a:moveTo>
                    <a:pt x="415046" y="-210"/>
                  </a:moveTo>
                  <a:lnTo>
                    <a:pt x="150755" y="-210"/>
                  </a:lnTo>
                  <a:cubicBezTo>
                    <a:pt x="150755" y="-210"/>
                    <a:pt x="14924" y="76981"/>
                    <a:pt x="-514" y="107794"/>
                  </a:cubicBezTo>
                  <a:lnTo>
                    <a:pt x="-514" y="120500"/>
                  </a:lnTo>
                  <a:lnTo>
                    <a:pt x="425148" y="120500"/>
                  </a:lnTo>
                  <a:cubicBezTo>
                    <a:pt x="425148" y="120500"/>
                    <a:pt x="435377" y="30412"/>
                    <a:pt x="414856" y="-210"/>
                  </a:cubicBezTo>
                  <a:close/>
                </a:path>
              </a:pathLst>
            </a:custGeom>
            <a:solidFill>
              <a:srgbClr val="00065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 34"/>
            <p:cNvSpPr/>
            <p:nvPr/>
          </p:nvSpPr>
          <p:spPr>
            <a:xfrm>
              <a:off x="5999255" y="5433496"/>
              <a:ext cx="483023" cy="22802"/>
            </a:xfrm>
            <a:custGeom>
              <a:avLst/>
              <a:gdLst>
                <a:gd name="connsiteX0" fmla="*/ 426615 w 426615"/>
                <a:gd name="connsiteY0" fmla="*/ 0 h 20139"/>
                <a:gd name="connsiteX1" fmla="*/ 0 w 426615"/>
                <a:gd name="connsiteY1" fmla="*/ 0 h 20139"/>
                <a:gd name="connsiteX2" fmla="*/ 0 w 426615"/>
                <a:gd name="connsiteY2" fmla="*/ 20140 h 20139"/>
                <a:gd name="connsiteX3" fmla="*/ 426615 w 426615"/>
                <a:gd name="connsiteY3" fmla="*/ 20140 h 20139"/>
                <a:gd name="connsiteX4" fmla="*/ 426615 w 426615"/>
                <a:gd name="connsiteY4" fmla="*/ 0 h 20139"/>
                <a:gd name="connsiteX5" fmla="*/ 426615 w 426615"/>
                <a:gd name="connsiteY5" fmla="*/ 0 h 2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6615" h="20139">
                  <a:moveTo>
                    <a:pt x="426615" y="0"/>
                  </a:moveTo>
                  <a:lnTo>
                    <a:pt x="0" y="0"/>
                  </a:lnTo>
                  <a:lnTo>
                    <a:pt x="0" y="20140"/>
                  </a:lnTo>
                  <a:lnTo>
                    <a:pt x="426615" y="20140"/>
                  </a:lnTo>
                  <a:lnTo>
                    <a:pt x="426615" y="0"/>
                  </a:lnTo>
                  <a:lnTo>
                    <a:pt x="426615" y="0"/>
                  </a:ln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 35"/>
            <p:cNvSpPr/>
            <p:nvPr/>
          </p:nvSpPr>
          <p:spPr>
            <a:xfrm>
              <a:off x="6140242" y="3782441"/>
              <a:ext cx="395626" cy="1526181"/>
            </a:xfrm>
            <a:custGeom>
              <a:avLst/>
              <a:gdLst>
                <a:gd name="connsiteX0" fmla="*/ 348910 w 349424"/>
                <a:gd name="connsiteY0" fmla="*/ -210 h 1347952"/>
                <a:gd name="connsiteX1" fmla="*/ 17656 w 349424"/>
                <a:gd name="connsiteY1" fmla="*/ -210 h 1347952"/>
                <a:gd name="connsiteX2" fmla="*/ -514 w 349424"/>
                <a:gd name="connsiteY2" fmla="*/ 1347742 h 1347952"/>
                <a:gd name="connsiteX3" fmla="*/ 305200 w 349424"/>
                <a:gd name="connsiteY3" fmla="*/ 1347742 h 1347952"/>
                <a:gd name="connsiteX4" fmla="*/ 346369 w 349424"/>
                <a:gd name="connsiteY4" fmla="*/ 202583 h 1347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424" h="1347952">
                  <a:moveTo>
                    <a:pt x="348910" y="-210"/>
                  </a:moveTo>
                  <a:lnTo>
                    <a:pt x="17656" y="-210"/>
                  </a:lnTo>
                  <a:lnTo>
                    <a:pt x="-514" y="1347742"/>
                  </a:lnTo>
                  <a:lnTo>
                    <a:pt x="305200" y="1347742"/>
                  </a:lnTo>
                  <a:cubicBezTo>
                    <a:pt x="305200" y="1347742"/>
                    <a:pt x="303548" y="602833"/>
                    <a:pt x="346369" y="202583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 36"/>
            <p:cNvSpPr/>
            <p:nvPr/>
          </p:nvSpPr>
          <p:spPr>
            <a:xfrm>
              <a:off x="6583298" y="5296537"/>
              <a:ext cx="484866" cy="136671"/>
            </a:xfrm>
            <a:custGeom>
              <a:avLst/>
              <a:gdLst>
                <a:gd name="connsiteX0" fmla="*/ 12168 w 428243"/>
                <a:gd name="connsiteY0" fmla="*/ -210 h 120710"/>
                <a:gd name="connsiteX1" fmla="*/ 276460 w 428243"/>
                <a:gd name="connsiteY1" fmla="*/ -210 h 120710"/>
                <a:gd name="connsiteX2" fmla="*/ 427729 w 428243"/>
                <a:gd name="connsiteY2" fmla="*/ 107794 h 120710"/>
                <a:gd name="connsiteX3" fmla="*/ 427729 w 428243"/>
                <a:gd name="connsiteY3" fmla="*/ 120500 h 120710"/>
                <a:gd name="connsiteX4" fmla="*/ 2067 w 428243"/>
                <a:gd name="connsiteY4" fmla="*/ 120500 h 120710"/>
                <a:gd name="connsiteX5" fmla="*/ 12295 w 428243"/>
                <a:gd name="connsiteY5" fmla="*/ -210 h 120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8243" h="120710">
                  <a:moveTo>
                    <a:pt x="12168" y="-210"/>
                  </a:moveTo>
                  <a:lnTo>
                    <a:pt x="276460" y="-210"/>
                  </a:lnTo>
                  <a:cubicBezTo>
                    <a:pt x="276460" y="-210"/>
                    <a:pt x="412354" y="76981"/>
                    <a:pt x="427729" y="107794"/>
                  </a:cubicBezTo>
                  <a:lnTo>
                    <a:pt x="427729" y="120500"/>
                  </a:lnTo>
                  <a:lnTo>
                    <a:pt x="2067" y="120500"/>
                  </a:lnTo>
                  <a:cubicBezTo>
                    <a:pt x="2067" y="120500"/>
                    <a:pt x="-8226" y="30412"/>
                    <a:pt x="12295" y="-210"/>
                  </a:cubicBezTo>
                  <a:close/>
                </a:path>
              </a:pathLst>
            </a:custGeom>
            <a:solidFill>
              <a:srgbClr val="00065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 37"/>
            <p:cNvSpPr/>
            <p:nvPr/>
          </p:nvSpPr>
          <p:spPr>
            <a:xfrm>
              <a:off x="6585142" y="5433496"/>
              <a:ext cx="483023" cy="22802"/>
            </a:xfrm>
            <a:custGeom>
              <a:avLst/>
              <a:gdLst>
                <a:gd name="connsiteX0" fmla="*/ 0 w 426615"/>
                <a:gd name="connsiteY0" fmla="*/ 0 h 20139"/>
                <a:gd name="connsiteX1" fmla="*/ 426615 w 426615"/>
                <a:gd name="connsiteY1" fmla="*/ 0 h 20139"/>
                <a:gd name="connsiteX2" fmla="*/ 426615 w 426615"/>
                <a:gd name="connsiteY2" fmla="*/ 20140 h 20139"/>
                <a:gd name="connsiteX3" fmla="*/ 0 w 426615"/>
                <a:gd name="connsiteY3" fmla="*/ 20140 h 20139"/>
                <a:gd name="connsiteX4" fmla="*/ 0 w 426615"/>
                <a:gd name="connsiteY4" fmla="*/ 0 h 20139"/>
                <a:gd name="connsiteX5" fmla="*/ 0 w 426615"/>
                <a:gd name="connsiteY5" fmla="*/ 0 h 2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6615" h="20139">
                  <a:moveTo>
                    <a:pt x="0" y="0"/>
                  </a:moveTo>
                  <a:lnTo>
                    <a:pt x="426615" y="0"/>
                  </a:lnTo>
                  <a:lnTo>
                    <a:pt x="426615" y="20140"/>
                  </a:lnTo>
                  <a:lnTo>
                    <a:pt x="0" y="2014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 38"/>
            <p:cNvSpPr/>
            <p:nvPr/>
          </p:nvSpPr>
          <p:spPr>
            <a:xfrm>
              <a:off x="6531551" y="3782441"/>
              <a:ext cx="395698" cy="1526181"/>
            </a:xfrm>
            <a:custGeom>
              <a:avLst/>
              <a:gdLst>
                <a:gd name="connsiteX0" fmla="*/ -514 w 349488"/>
                <a:gd name="connsiteY0" fmla="*/ -210 h 1347952"/>
                <a:gd name="connsiteX1" fmla="*/ 330803 w 349488"/>
                <a:gd name="connsiteY1" fmla="*/ -210 h 1347952"/>
                <a:gd name="connsiteX2" fmla="*/ 348974 w 349488"/>
                <a:gd name="connsiteY2" fmla="*/ 1347742 h 1347952"/>
                <a:gd name="connsiteX3" fmla="*/ 43259 w 349488"/>
                <a:gd name="connsiteY3" fmla="*/ 1347742 h 1347952"/>
                <a:gd name="connsiteX4" fmla="*/ 2408 w 349488"/>
                <a:gd name="connsiteY4" fmla="*/ 202583 h 1347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488" h="1347952">
                  <a:moveTo>
                    <a:pt x="-514" y="-210"/>
                  </a:moveTo>
                  <a:lnTo>
                    <a:pt x="330803" y="-210"/>
                  </a:lnTo>
                  <a:lnTo>
                    <a:pt x="348974" y="1347742"/>
                  </a:lnTo>
                  <a:lnTo>
                    <a:pt x="43259" y="1347742"/>
                  </a:lnTo>
                  <a:cubicBezTo>
                    <a:pt x="43259" y="1347742"/>
                    <a:pt x="44911" y="602833"/>
                    <a:pt x="2408" y="202583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 39"/>
            <p:cNvSpPr/>
            <p:nvPr/>
          </p:nvSpPr>
          <p:spPr>
            <a:xfrm>
              <a:off x="6096076" y="2836102"/>
              <a:ext cx="877570" cy="1154292"/>
            </a:xfrm>
            <a:custGeom>
              <a:avLst/>
              <a:gdLst>
                <a:gd name="connsiteX0" fmla="*/ 259966 w 775086"/>
                <a:gd name="connsiteY0" fmla="*/ -210 h 1019493"/>
                <a:gd name="connsiteX1" fmla="*/ 380676 w 775086"/>
                <a:gd name="connsiteY1" fmla="*/ 81873 h 1019493"/>
                <a:gd name="connsiteX2" fmla="*/ 383217 w 775086"/>
                <a:gd name="connsiteY2" fmla="*/ 81873 h 1019493"/>
                <a:gd name="connsiteX3" fmla="*/ 501132 w 775086"/>
                <a:gd name="connsiteY3" fmla="*/ -210 h 1019493"/>
                <a:gd name="connsiteX4" fmla="*/ 703735 w 775086"/>
                <a:gd name="connsiteY4" fmla="*/ 40832 h 1019493"/>
                <a:gd name="connsiteX5" fmla="*/ 774573 w 775086"/>
                <a:gd name="connsiteY5" fmla="*/ 943109 h 1019493"/>
                <a:gd name="connsiteX6" fmla="*/ -514 w 775086"/>
                <a:gd name="connsiteY6" fmla="*/ 924050 h 1019493"/>
                <a:gd name="connsiteX7" fmla="*/ 66893 w 775086"/>
                <a:gd name="connsiteY7" fmla="*/ 30603 h 1019493"/>
                <a:gd name="connsiteX8" fmla="*/ 260029 w 775086"/>
                <a:gd name="connsiteY8" fmla="*/ -210 h 1019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75086" h="1019493">
                  <a:moveTo>
                    <a:pt x="259966" y="-210"/>
                  </a:moveTo>
                  <a:cubicBezTo>
                    <a:pt x="277882" y="79268"/>
                    <a:pt x="372734" y="81873"/>
                    <a:pt x="380676" y="81873"/>
                  </a:cubicBezTo>
                  <a:lnTo>
                    <a:pt x="383217" y="81873"/>
                  </a:lnTo>
                  <a:cubicBezTo>
                    <a:pt x="390904" y="81873"/>
                    <a:pt x="480611" y="79268"/>
                    <a:pt x="501132" y="-210"/>
                  </a:cubicBezTo>
                  <a:lnTo>
                    <a:pt x="703735" y="40832"/>
                  </a:lnTo>
                  <a:lnTo>
                    <a:pt x="774573" y="943109"/>
                  </a:lnTo>
                  <a:cubicBezTo>
                    <a:pt x="615743" y="1025700"/>
                    <a:pt x="132394" y="1069347"/>
                    <a:pt x="-514" y="924050"/>
                  </a:cubicBezTo>
                  <a:lnTo>
                    <a:pt x="66893" y="30603"/>
                  </a:lnTo>
                  <a:lnTo>
                    <a:pt x="260029" y="-210"/>
                  </a:lnTo>
                  <a:close/>
                </a:path>
              </a:pathLst>
            </a:custGeom>
            <a:solidFill>
              <a:srgbClr val="00065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 40"/>
            <p:cNvSpPr/>
            <p:nvPr/>
          </p:nvSpPr>
          <p:spPr>
            <a:xfrm>
              <a:off x="5368249" y="3005839"/>
              <a:ext cx="792980" cy="422613"/>
            </a:xfrm>
            <a:custGeom>
              <a:avLst/>
              <a:gdLst>
                <a:gd name="connsiteX0" fmla="*/ 698477 w 700375"/>
                <a:gd name="connsiteY0" fmla="*/ 67344 h 373260"/>
                <a:gd name="connsiteX1" fmla="*/ 582976 w 700375"/>
                <a:gd name="connsiteY1" fmla="*/ 238880 h 373260"/>
                <a:gd name="connsiteX2" fmla="*/ 51470 w 700375"/>
                <a:gd name="connsiteY2" fmla="*/ 369755 h 373260"/>
                <a:gd name="connsiteX3" fmla="*/ 51470 w 700375"/>
                <a:gd name="connsiteY3" fmla="*/ 261751 h 373260"/>
                <a:gd name="connsiteX4" fmla="*/ 505786 w 700375"/>
                <a:gd name="connsiteY4" fmla="*/ 161816 h 373260"/>
                <a:gd name="connsiteX5" fmla="*/ 580181 w 700375"/>
                <a:gd name="connsiteY5" fmla="*/ 74714 h 373260"/>
                <a:gd name="connsiteX6" fmla="*/ 587932 w 700375"/>
                <a:gd name="connsiteY6" fmla="*/ 56798 h 373260"/>
                <a:gd name="connsiteX7" fmla="*/ 587932 w 700375"/>
                <a:gd name="connsiteY7" fmla="*/ 59339 h 373260"/>
                <a:gd name="connsiteX8" fmla="*/ 590474 w 700375"/>
                <a:gd name="connsiteY8" fmla="*/ 51652 h 373260"/>
                <a:gd name="connsiteX9" fmla="*/ 593015 w 700375"/>
                <a:gd name="connsiteY9" fmla="*/ 38945 h 373260"/>
                <a:gd name="connsiteX10" fmla="*/ 698287 w 700375"/>
                <a:gd name="connsiteY10" fmla="*/ 67154 h 37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00375" h="373260">
                  <a:moveTo>
                    <a:pt x="698477" y="67344"/>
                  </a:moveTo>
                  <a:cubicBezTo>
                    <a:pt x="683039" y="133989"/>
                    <a:pt x="634310" y="195488"/>
                    <a:pt x="582976" y="238880"/>
                  </a:cubicBezTo>
                  <a:cubicBezTo>
                    <a:pt x="439014" y="362068"/>
                    <a:pt x="233933" y="382525"/>
                    <a:pt x="51470" y="369755"/>
                  </a:cubicBezTo>
                  <a:cubicBezTo>
                    <a:pt x="-17843" y="364609"/>
                    <a:pt x="-17843" y="256986"/>
                    <a:pt x="51470" y="261751"/>
                  </a:cubicBezTo>
                  <a:cubicBezTo>
                    <a:pt x="202930" y="274457"/>
                    <a:pt x="385139" y="264356"/>
                    <a:pt x="505786" y="161816"/>
                  </a:cubicBezTo>
                  <a:cubicBezTo>
                    <a:pt x="541681" y="131066"/>
                    <a:pt x="559660" y="110609"/>
                    <a:pt x="580181" y="74714"/>
                  </a:cubicBezTo>
                  <a:cubicBezTo>
                    <a:pt x="582284" y="68545"/>
                    <a:pt x="584876" y="62554"/>
                    <a:pt x="587932" y="56798"/>
                  </a:cubicBezTo>
                  <a:cubicBezTo>
                    <a:pt x="593015" y="46506"/>
                    <a:pt x="582786" y="69504"/>
                    <a:pt x="587932" y="59339"/>
                  </a:cubicBezTo>
                  <a:cubicBezTo>
                    <a:pt x="587932" y="56798"/>
                    <a:pt x="590474" y="54193"/>
                    <a:pt x="590474" y="51652"/>
                  </a:cubicBezTo>
                  <a:cubicBezTo>
                    <a:pt x="591077" y="47370"/>
                    <a:pt x="591928" y="43132"/>
                    <a:pt x="593015" y="38945"/>
                  </a:cubicBezTo>
                  <a:cubicBezTo>
                    <a:pt x="610994" y="-30241"/>
                    <a:pt x="713725" y="509"/>
                    <a:pt x="698287" y="67154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 41"/>
            <p:cNvSpPr/>
            <p:nvPr/>
          </p:nvSpPr>
          <p:spPr>
            <a:xfrm>
              <a:off x="5555003" y="2870989"/>
              <a:ext cx="617392" cy="613005"/>
            </a:xfrm>
            <a:custGeom>
              <a:avLst/>
              <a:gdLst>
                <a:gd name="connsiteX0" fmla="*/ 14860 w 545292"/>
                <a:gd name="connsiteY0" fmla="*/ 541208 h 541418"/>
                <a:gd name="connsiteX1" fmla="*/ 534550 w 545292"/>
                <a:gd name="connsiteY1" fmla="*/ 283332 h 541418"/>
                <a:gd name="connsiteX2" fmla="*/ 544778 w 545292"/>
                <a:gd name="connsiteY2" fmla="*/ -210 h 541418"/>
                <a:gd name="connsiteX3" fmla="*/ 544778 w 545292"/>
                <a:gd name="connsiteY3" fmla="*/ -210 h 541418"/>
                <a:gd name="connsiteX4" fmla="*/ 356661 w 545292"/>
                <a:gd name="connsiteY4" fmla="*/ 143562 h 541418"/>
                <a:gd name="connsiteX5" fmla="*/ -514 w 545292"/>
                <a:gd name="connsiteY5" fmla="*/ 353662 h 541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5292" h="541418">
                  <a:moveTo>
                    <a:pt x="14860" y="541208"/>
                  </a:moveTo>
                  <a:cubicBezTo>
                    <a:pt x="14860" y="541208"/>
                    <a:pt x="369367" y="543812"/>
                    <a:pt x="534550" y="283332"/>
                  </a:cubicBezTo>
                  <a:lnTo>
                    <a:pt x="544778" y="-210"/>
                  </a:lnTo>
                  <a:lnTo>
                    <a:pt x="544778" y="-210"/>
                  </a:lnTo>
                  <a:cubicBezTo>
                    <a:pt x="544778" y="-210"/>
                    <a:pt x="471018" y="3793"/>
                    <a:pt x="356661" y="143562"/>
                  </a:cubicBezTo>
                  <a:cubicBezTo>
                    <a:pt x="285251" y="230855"/>
                    <a:pt x="140653" y="363890"/>
                    <a:pt x="-514" y="353662"/>
                  </a:cubicBez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 42"/>
            <p:cNvSpPr/>
            <p:nvPr/>
          </p:nvSpPr>
          <p:spPr>
            <a:xfrm>
              <a:off x="4621893" y="1105990"/>
              <a:ext cx="1140920" cy="1998720"/>
            </a:xfrm>
            <a:custGeom>
              <a:avLst/>
              <a:gdLst>
                <a:gd name="connsiteX0" fmla="*/ 596690 w 1007682"/>
                <a:gd name="connsiteY0" fmla="*/ 1042540 h 1765307"/>
                <a:gd name="connsiteX1" fmla="*/ 596690 w 1007682"/>
                <a:gd name="connsiteY1" fmla="*/ 1209120 h 1765307"/>
                <a:gd name="connsiteX2" fmla="*/ 479747 w 1007682"/>
                <a:gd name="connsiteY2" fmla="*/ 1332124 h 1765307"/>
                <a:gd name="connsiteX3" fmla="*/ 473502 w 1007682"/>
                <a:gd name="connsiteY3" fmla="*/ 1332118 h 1765307"/>
                <a:gd name="connsiteX4" fmla="*/ 350314 w 1007682"/>
                <a:gd name="connsiteY4" fmla="*/ 1209120 h 1765307"/>
                <a:gd name="connsiteX5" fmla="*/ 350314 w 1007682"/>
                <a:gd name="connsiteY5" fmla="*/ 945209 h 1765307"/>
                <a:gd name="connsiteX6" fmla="*/ 352855 w 1007682"/>
                <a:gd name="connsiteY6" fmla="*/ 940063 h 1765307"/>
                <a:gd name="connsiteX7" fmla="*/ 350314 w 1007682"/>
                <a:gd name="connsiteY7" fmla="*/ 934981 h 1765307"/>
                <a:gd name="connsiteX8" fmla="*/ 473502 w 1007682"/>
                <a:gd name="connsiteY8" fmla="*/ 811983 h 1765307"/>
                <a:gd name="connsiteX9" fmla="*/ 760983 w 1007682"/>
                <a:gd name="connsiteY9" fmla="*/ 530157 h 1765307"/>
                <a:gd name="connsiteX10" fmla="*/ 473502 w 1007682"/>
                <a:gd name="connsiteY10" fmla="*/ 245725 h 1765307"/>
                <a:gd name="connsiteX11" fmla="*/ 229667 w 1007682"/>
                <a:gd name="connsiteY11" fmla="*/ 384097 h 1765307"/>
                <a:gd name="connsiteX12" fmla="*/ 62134 w 1007682"/>
                <a:gd name="connsiteY12" fmla="*/ 430888 h 1765307"/>
                <a:gd name="connsiteX13" fmla="*/ 15343 w 1007682"/>
                <a:gd name="connsiteY13" fmla="*/ 263355 h 1765307"/>
                <a:gd name="connsiteX14" fmla="*/ 16645 w 1007682"/>
                <a:gd name="connsiteY14" fmla="*/ 261100 h 1765307"/>
                <a:gd name="connsiteX15" fmla="*/ 473502 w 1007682"/>
                <a:gd name="connsiteY15" fmla="*/ -206 h 1765307"/>
                <a:gd name="connsiteX16" fmla="*/ 1007168 w 1007682"/>
                <a:gd name="connsiteY16" fmla="*/ 530157 h 1765307"/>
                <a:gd name="connsiteX17" fmla="*/ 596499 w 1007682"/>
                <a:gd name="connsiteY17" fmla="*/ 1042540 h 1765307"/>
                <a:gd name="connsiteX18" fmla="*/ 596690 w 1007682"/>
                <a:gd name="connsiteY18" fmla="*/ 1595965 h 1765307"/>
                <a:gd name="connsiteX19" fmla="*/ 596690 w 1007682"/>
                <a:gd name="connsiteY19" fmla="*/ 1642089 h 1765307"/>
                <a:gd name="connsiteX20" fmla="*/ 473502 w 1007682"/>
                <a:gd name="connsiteY20" fmla="*/ 1765086 h 1765307"/>
                <a:gd name="connsiteX21" fmla="*/ 350314 w 1007682"/>
                <a:gd name="connsiteY21" fmla="*/ 1645221 h 1765307"/>
                <a:gd name="connsiteX22" fmla="*/ 350314 w 1007682"/>
                <a:gd name="connsiteY22" fmla="*/ 1642089 h 1765307"/>
                <a:gd name="connsiteX23" fmla="*/ 350314 w 1007682"/>
                <a:gd name="connsiteY23" fmla="*/ 1595965 h 1765307"/>
                <a:gd name="connsiteX24" fmla="*/ 473502 w 1007682"/>
                <a:gd name="connsiteY24" fmla="*/ 1473031 h 1765307"/>
                <a:gd name="connsiteX25" fmla="*/ 596690 w 1007682"/>
                <a:gd name="connsiteY25" fmla="*/ 1592769 h 1765307"/>
                <a:gd name="connsiteX26" fmla="*/ 596690 w 1007682"/>
                <a:gd name="connsiteY26" fmla="*/ 1595965 h 1765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07682" h="1765307">
                  <a:moveTo>
                    <a:pt x="596690" y="1042540"/>
                  </a:moveTo>
                  <a:lnTo>
                    <a:pt x="596690" y="1209120"/>
                  </a:lnTo>
                  <a:cubicBezTo>
                    <a:pt x="598361" y="1275377"/>
                    <a:pt x="546004" y="1330447"/>
                    <a:pt x="479747" y="1332124"/>
                  </a:cubicBezTo>
                  <a:cubicBezTo>
                    <a:pt x="477663" y="1332175"/>
                    <a:pt x="475579" y="1332175"/>
                    <a:pt x="473502" y="1332118"/>
                  </a:cubicBezTo>
                  <a:cubicBezTo>
                    <a:pt x="405529" y="1332156"/>
                    <a:pt x="350384" y="1277093"/>
                    <a:pt x="350314" y="1209120"/>
                  </a:cubicBezTo>
                  <a:lnTo>
                    <a:pt x="350314" y="945209"/>
                  </a:lnTo>
                  <a:cubicBezTo>
                    <a:pt x="350314" y="942668"/>
                    <a:pt x="352855" y="942668"/>
                    <a:pt x="352855" y="940063"/>
                  </a:cubicBezTo>
                  <a:cubicBezTo>
                    <a:pt x="350314" y="937522"/>
                    <a:pt x="350314" y="937522"/>
                    <a:pt x="350314" y="934981"/>
                  </a:cubicBezTo>
                  <a:cubicBezTo>
                    <a:pt x="350314" y="870941"/>
                    <a:pt x="406793" y="811983"/>
                    <a:pt x="473502" y="811983"/>
                  </a:cubicBezTo>
                  <a:cubicBezTo>
                    <a:pt x="632649" y="811983"/>
                    <a:pt x="760983" y="686445"/>
                    <a:pt x="760983" y="530157"/>
                  </a:cubicBezTo>
                  <a:cubicBezTo>
                    <a:pt x="760983" y="368723"/>
                    <a:pt x="632649" y="245725"/>
                    <a:pt x="473502" y="245725"/>
                  </a:cubicBezTo>
                  <a:cubicBezTo>
                    <a:pt x="373636" y="246094"/>
                    <a:pt x="281198" y="298552"/>
                    <a:pt x="229667" y="384097"/>
                  </a:cubicBezTo>
                  <a:cubicBezTo>
                    <a:pt x="196326" y="443283"/>
                    <a:pt x="121320" y="464230"/>
                    <a:pt x="62134" y="430888"/>
                  </a:cubicBezTo>
                  <a:cubicBezTo>
                    <a:pt x="2948" y="397547"/>
                    <a:pt x="-17999" y="322541"/>
                    <a:pt x="15343" y="263355"/>
                  </a:cubicBezTo>
                  <a:cubicBezTo>
                    <a:pt x="15769" y="262599"/>
                    <a:pt x="16201" y="261850"/>
                    <a:pt x="16645" y="261100"/>
                  </a:cubicBezTo>
                  <a:cubicBezTo>
                    <a:pt x="111346" y="98668"/>
                    <a:pt x="285480" y="-930"/>
                    <a:pt x="473502" y="-206"/>
                  </a:cubicBezTo>
                  <a:cubicBezTo>
                    <a:pt x="766129" y="-206"/>
                    <a:pt x="1007168" y="235497"/>
                    <a:pt x="1007168" y="530157"/>
                  </a:cubicBezTo>
                  <a:cubicBezTo>
                    <a:pt x="1007168" y="778693"/>
                    <a:pt x="832647" y="988792"/>
                    <a:pt x="596499" y="1042540"/>
                  </a:cubicBezTo>
                  <a:close/>
                  <a:moveTo>
                    <a:pt x="596690" y="1595965"/>
                  </a:moveTo>
                  <a:lnTo>
                    <a:pt x="596690" y="1642089"/>
                  </a:lnTo>
                  <a:cubicBezTo>
                    <a:pt x="596690" y="1713816"/>
                    <a:pt x="545356" y="1765086"/>
                    <a:pt x="473502" y="1765086"/>
                  </a:cubicBezTo>
                  <a:cubicBezTo>
                    <a:pt x="406387" y="1766001"/>
                    <a:pt x="351235" y="1712336"/>
                    <a:pt x="350314" y="1645221"/>
                  </a:cubicBezTo>
                  <a:cubicBezTo>
                    <a:pt x="350301" y="1644179"/>
                    <a:pt x="350301" y="1643131"/>
                    <a:pt x="350314" y="1642089"/>
                  </a:cubicBezTo>
                  <a:lnTo>
                    <a:pt x="350314" y="1595965"/>
                  </a:lnTo>
                  <a:cubicBezTo>
                    <a:pt x="351305" y="1528386"/>
                    <a:pt x="405923" y="1473882"/>
                    <a:pt x="473502" y="1473031"/>
                  </a:cubicBezTo>
                  <a:cubicBezTo>
                    <a:pt x="540585" y="1472078"/>
                    <a:pt x="595737" y="1525686"/>
                    <a:pt x="596690" y="1592769"/>
                  </a:cubicBezTo>
                  <a:cubicBezTo>
                    <a:pt x="596703" y="1593830"/>
                    <a:pt x="596703" y="1594897"/>
                    <a:pt x="596690" y="1595965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 43"/>
            <p:cNvSpPr/>
            <p:nvPr/>
          </p:nvSpPr>
          <p:spPr>
            <a:xfrm>
              <a:off x="6447837" y="2687348"/>
              <a:ext cx="549892" cy="723736"/>
            </a:xfrm>
            <a:custGeom>
              <a:avLst/>
              <a:gdLst>
                <a:gd name="connsiteX0" fmla="*/ 104936 w 485675"/>
                <a:gd name="connsiteY0" fmla="*/ 49599 h 639217"/>
                <a:gd name="connsiteX1" fmla="*/ 228188 w 485675"/>
                <a:gd name="connsiteY1" fmla="*/ 397943 h 639217"/>
                <a:gd name="connsiteX2" fmla="*/ 282126 w 485675"/>
                <a:gd name="connsiteY2" fmla="*/ 492733 h 639217"/>
                <a:gd name="connsiteX3" fmla="*/ 305252 w 485675"/>
                <a:gd name="connsiteY3" fmla="*/ 523482 h 639217"/>
                <a:gd name="connsiteX4" fmla="*/ 315544 w 485675"/>
                <a:gd name="connsiteY4" fmla="*/ 533711 h 639217"/>
                <a:gd name="connsiteX5" fmla="*/ 294959 w 485675"/>
                <a:gd name="connsiteY5" fmla="*/ 533711 h 639217"/>
                <a:gd name="connsiteX6" fmla="*/ 310398 w 485675"/>
                <a:gd name="connsiteY6" fmla="*/ 513253 h 639217"/>
                <a:gd name="connsiteX7" fmla="*/ 341210 w 485675"/>
                <a:gd name="connsiteY7" fmla="*/ 456837 h 639217"/>
                <a:gd name="connsiteX8" fmla="*/ 379711 w 485675"/>
                <a:gd name="connsiteY8" fmla="*/ 308300 h 639217"/>
                <a:gd name="connsiteX9" fmla="*/ 484982 w 485675"/>
                <a:gd name="connsiteY9" fmla="*/ 308300 h 639217"/>
                <a:gd name="connsiteX10" fmla="*/ 364272 w 485675"/>
                <a:gd name="connsiteY10" fmla="*/ 613252 h 639217"/>
                <a:gd name="connsiteX11" fmla="*/ 179395 w 485675"/>
                <a:gd name="connsiteY11" fmla="*/ 528692 h 639217"/>
                <a:gd name="connsiteX12" fmla="*/ 53602 w 485675"/>
                <a:gd name="connsiteY12" fmla="*/ 267449 h 639217"/>
                <a:gd name="connsiteX13" fmla="*/ -336 w 485675"/>
                <a:gd name="connsiteY13" fmla="*/ 49726 h 639217"/>
                <a:gd name="connsiteX14" fmla="*/ 104936 w 485675"/>
                <a:gd name="connsiteY14" fmla="*/ 49726 h 639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85675" h="639217">
                  <a:moveTo>
                    <a:pt x="104936" y="49599"/>
                  </a:moveTo>
                  <a:cubicBezTo>
                    <a:pt x="115228" y="172533"/>
                    <a:pt x="174312" y="290384"/>
                    <a:pt x="228188" y="397943"/>
                  </a:cubicBezTo>
                  <a:cubicBezTo>
                    <a:pt x="246167" y="431234"/>
                    <a:pt x="261605" y="461983"/>
                    <a:pt x="282126" y="492733"/>
                  </a:cubicBezTo>
                  <a:lnTo>
                    <a:pt x="305252" y="523482"/>
                  </a:lnTo>
                  <a:cubicBezTo>
                    <a:pt x="307793" y="528565"/>
                    <a:pt x="320626" y="536188"/>
                    <a:pt x="315544" y="533711"/>
                  </a:cubicBezTo>
                  <a:cubicBezTo>
                    <a:pt x="297564" y="541398"/>
                    <a:pt x="290131" y="541398"/>
                    <a:pt x="294959" y="533711"/>
                  </a:cubicBezTo>
                  <a:cubicBezTo>
                    <a:pt x="302647" y="528565"/>
                    <a:pt x="305252" y="521004"/>
                    <a:pt x="310398" y="513253"/>
                  </a:cubicBezTo>
                  <a:cubicBezTo>
                    <a:pt x="322596" y="495566"/>
                    <a:pt x="332951" y="476659"/>
                    <a:pt x="341210" y="456837"/>
                  </a:cubicBezTo>
                  <a:cubicBezTo>
                    <a:pt x="364145" y="410497"/>
                    <a:pt x="377233" y="359932"/>
                    <a:pt x="379711" y="308300"/>
                  </a:cubicBezTo>
                  <a:cubicBezTo>
                    <a:pt x="382252" y="241719"/>
                    <a:pt x="490129" y="241719"/>
                    <a:pt x="484982" y="308300"/>
                  </a:cubicBezTo>
                  <a:cubicBezTo>
                    <a:pt x="479837" y="410777"/>
                    <a:pt x="441336" y="541398"/>
                    <a:pt x="364272" y="613252"/>
                  </a:cubicBezTo>
                  <a:cubicBezTo>
                    <a:pt x="287208" y="685107"/>
                    <a:pt x="218149" y="590190"/>
                    <a:pt x="179395" y="528692"/>
                  </a:cubicBezTo>
                  <a:cubicBezTo>
                    <a:pt x="128061" y="446736"/>
                    <a:pt x="92102" y="357156"/>
                    <a:pt x="53602" y="267449"/>
                  </a:cubicBezTo>
                  <a:cubicBezTo>
                    <a:pt x="25185" y="197869"/>
                    <a:pt x="7014" y="124528"/>
                    <a:pt x="-336" y="49726"/>
                  </a:cubicBezTo>
                  <a:cubicBezTo>
                    <a:pt x="-5419" y="-16855"/>
                    <a:pt x="99853" y="-16855"/>
                    <a:pt x="104936" y="49726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 44"/>
            <p:cNvSpPr/>
            <p:nvPr/>
          </p:nvSpPr>
          <p:spPr>
            <a:xfrm>
              <a:off x="6450484" y="2821356"/>
              <a:ext cx="595677" cy="626971"/>
            </a:xfrm>
            <a:custGeom>
              <a:avLst/>
              <a:gdLst>
                <a:gd name="connsiteX0" fmla="*/ 391667 w 526113"/>
                <a:gd name="connsiteY0" fmla="*/ 53983 h 553753"/>
                <a:gd name="connsiteX1" fmla="*/ 525083 w 526113"/>
                <a:gd name="connsiteY1" fmla="*/ 215734 h 553753"/>
                <a:gd name="connsiteX2" fmla="*/ 273815 w 526113"/>
                <a:gd name="connsiteY2" fmla="*/ 552135 h 553753"/>
                <a:gd name="connsiteX3" fmla="*/ -514 w 526113"/>
                <a:gd name="connsiteY3" fmla="*/ 53983 h 553753"/>
                <a:gd name="connsiteX4" fmla="*/ 137540 w 526113"/>
                <a:gd name="connsiteY4" fmla="*/ -210 h 553753"/>
                <a:gd name="connsiteX5" fmla="*/ 299037 w 526113"/>
                <a:gd name="connsiteY5" fmla="*/ 364398 h 553753"/>
                <a:gd name="connsiteX6" fmla="*/ 391667 w 526113"/>
                <a:gd name="connsiteY6" fmla="*/ 53983 h 553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6113" h="553753">
                  <a:moveTo>
                    <a:pt x="391667" y="53983"/>
                  </a:moveTo>
                  <a:cubicBezTo>
                    <a:pt x="391667" y="53983"/>
                    <a:pt x="535248" y="69357"/>
                    <a:pt x="525083" y="215734"/>
                  </a:cubicBezTo>
                  <a:cubicBezTo>
                    <a:pt x="514791" y="364653"/>
                    <a:pt x="391667" y="572656"/>
                    <a:pt x="273815" y="552135"/>
                  </a:cubicBezTo>
                  <a:cubicBezTo>
                    <a:pt x="155837" y="529009"/>
                    <a:pt x="27630" y="187463"/>
                    <a:pt x="-514" y="53983"/>
                  </a:cubicBezTo>
                  <a:lnTo>
                    <a:pt x="137540" y="-210"/>
                  </a:lnTo>
                  <a:cubicBezTo>
                    <a:pt x="137540" y="-210"/>
                    <a:pt x="275975" y="356711"/>
                    <a:pt x="299037" y="364398"/>
                  </a:cubicBezTo>
                  <a:lnTo>
                    <a:pt x="391667" y="53983"/>
                  </a:ln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 45"/>
            <p:cNvSpPr/>
            <p:nvPr/>
          </p:nvSpPr>
          <p:spPr>
            <a:xfrm>
              <a:off x="8263601" y="2004798"/>
              <a:ext cx="273214" cy="237195"/>
            </a:xfrm>
            <a:custGeom>
              <a:avLst/>
              <a:gdLst>
                <a:gd name="connsiteX0" fmla="*/ -513 w 241308"/>
                <a:gd name="connsiteY0" fmla="*/ 130082 h 209495"/>
                <a:gd name="connsiteX1" fmla="*/ 215813 w 241308"/>
                <a:gd name="connsiteY1" fmla="*/ 56513 h 209495"/>
                <a:gd name="connsiteX2" fmla="*/ 122294 w 241308"/>
                <a:gd name="connsiteY2" fmla="*/ 208608 h 209495"/>
                <a:gd name="connsiteX3" fmla="*/ 21470 w 241308"/>
                <a:gd name="connsiteY3" fmla="*/ 130972 h 2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308" h="209495">
                  <a:moveTo>
                    <a:pt x="-513" y="130082"/>
                  </a:moveTo>
                  <a:cubicBezTo>
                    <a:pt x="-1084" y="1177"/>
                    <a:pt x="150439" y="-48188"/>
                    <a:pt x="215813" y="56513"/>
                  </a:cubicBezTo>
                  <a:cubicBezTo>
                    <a:pt x="281187" y="161213"/>
                    <a:pt x="207046" y="216104"/>
                    <a:pt x="122294" y="208608"/>
                  </a:cubicBezTo>
                  <a:cubicBezTo>
                    <a:pt x="37543" y="201111"/>
                    <a:pt x="21470" y="130972"/>
                    <a:pt x="21470" y="130972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 46"/>
            <p:cNvSpPr/>
            <p:nvPr/>
          </p:nvSpPr>
          <p:spPr>
            <a:xfrm>
              <a:off x="8197929" y="2105151"/>
              <a:ext cx="197911" cy="239513"/>
            </a:xfrm>
            <a:custGeom>
              <a:avLst/>
              <a:gdLst>
                <a:gd name="connsiteX0" fmla="*/ -514 w 174799"/>
                <a:gd name="connsiteY0" fmla="*/ 24739 h 211542"/>
                <a:gd name="connsiteX1" fmla="*/ 166701 w 174799"/>
                <a:gd name="connsiteY1" fmla="*/ 92020 h 211542"/>
                <a:gd name="connsiteX2" fmla="*/ 160348 w 174799"/>
                <a:gd name="connsiteY2" fmla="*/ 211332 h 21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4799" h="211542">
                  <a:moveTo>
                    <a:pt x="-514" y="24739"/>
                  </a:moveTo>
                  <a:cubicBezTo>
                    <a:pt x="35890" y="-41461"/>
                    <a:pt x="146498" y="39161"/>
                    <a:pt x="166701" y="92020"/>
                  </a:cubicBezTo>
                  <a:cubicBezTo>
                    <a:pt x="186904" y="144878"/>
                    <a:pt x="160348" y="211332"/>
                    <a:pt x="160348" y="211332"/>
                  </a:cubicBez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 47"/>
            <p:cNvSpPr/>
            <p:nvPr/>
          </p:nvSpPr>
          <p:spPr>
            <a:xfrm>
              <a:off x="7774250" y="2086348"/>
              <a:ext cx="652587" cy="579300"/>
            </a:xfrm>
            <a:custGeom>
              <a:avLst/>
              <a:gdLst>
                <a:gd name="connsiteX0" fmla="*/ -514 w 576377"/>
                <a:gd name="connsiteY0" fmla="*/ 291788 h 511649"/>
                <a:gd name="connsiteX1" fmla="*/ 355898 w 576377"/>
                <a:gd name="connsiteY1" fmla="*/ 7992 h 511649"/>
                <a:gd name="connsiteX2" fmla="*/ 556976 w 576377"/>
                <a:gd name="connsiteY2" fmla="*/ 175842 h 511649"/>
                <a:gd name="connsiteX3" fmla="*/ 473114 w 576377"/>
                <a:gd name="connsiteY3" fmla="*/ 482701 h 511649"/>
                <a:gd name="connsiteX4" fmla="*/ -514 w 576377"/>
                <a:gd name="connsiteY4" fmla="*/ 291661 h 511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6377" h="511649">
                  <a:moveTo>
                    <a:pt x="-514" y="291788"/>
                  </a:moveTo>
                  <a:cubicBezTo>
                    <a:pt x="10667" y="33341"/>
                    <a:pt x="203739" y="-24473"/>
                    <a:pt x="355898" y="7992"/>
                  </a:cubicBezTo>
                  <a:cubicBezTo>
                    <a:pt x="508056" y="40456"/>
                    <a:pt x="556976" y="175842"/>
                    <a:pt x="556976" y="175842"/>
                  </a:cubicBezTo>
                  <a:cubicBezTo>
                    <a:pt x="556976" y="175842"/>
                    <a:pt x="635247" y="359195"/>
                    <a:pt x="473114" y="482701"/>
                  </a:cubicBezTo>
                  <a:cubicBezTo>
                    <a:pt x="310981" y="606206"/>
                    <a:pt x="-514" y="291661"/>
                    <a:pt x="-514" y="291661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 48"/>
            <p:cNvSpPr/>
            <p:nvPr/>
          </p:nvSpPr>
          <p:spPr>
            <a:xfrm>
              <a:off x="7926027" y="2682959"/>
              <a:ext cx="248884" cy="276290"/>
            </a:xfrm>
            <a:custGeom>
              <a:avLst/>
              <a:gdLst>
                <a:gd name="connsiteX0" fmla="*/ 109395 w 219819"/>
                <a:gd name="connsiteY0" fmla="*/ 243815 h 244025"/>
                <a:gd name="connsiteX1" fmla="*/ 109395 w 219819"/>
                <a:gd name="connsiteY1" fmla="*/ 243815 h 244025"/>
                <a:gd name="connsiteX2" fmla="*/ -514 w 219819"/>
                <a:gd name="connsiteY2" fmla="*/ 160906 h 244025"/>
                <a:gd name="connsiteX3" fmla="*/ -514 w 219819"/>
                <a:gd name="connsiteY3" fmla="*/ -210 h 244025"/>
                <a:gd name="connsiteX4" fmla="*/ 219305 w 219819"/>
                <a:gd name="connsiteY4" fmla="*/ -210 h 244025"/>
                <a:gd name="connsiteX5" fmla="*/ 219305 w 219819"/>
                <a:gd name="connsiteY5" fmla="*/ 160017 h 244025"/>
                <a:gd name="connsiteX6" fmla="*/ 110602 w 219819"/>
                <a:gd name="connsiteY6" fmla="*/ 243815 h 244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819" h="244025">
                  <a:moveTo>
                    <a:pt x="109395" y="243815"/>
                  </a:moveTo>
                  <a:lnTo>
                    <a:pt x="109395" y="243815"/>
                  </a:lnTo>
                  <a:cubicBezTo>
                    <a:pt x="48976" y="243815"/>
                    <a:pt x="-197" y="206967"/>
                    <a:pt x="-514" y="160906"/>
                  </a:cubicBezTo>
                  <a:lnTo>
                    <a:pt x="-514" y="-210"/>
                  </a:lnTo>
                  <a:lnTo>
                    <a:pt x="219305" y="-210"/>
                  </a:lnTo>
                  <a:lnTo>
                    <a:pt x="219305" y="160017"/>
                  </a:lnTo>
                  <a:cubicBezTo>
                    <a:pt x="219305" y="206014"/>
                    <a:pt x="170958" y="243498"/>
                    <a:pt x="110602" y="243815"/>
                  </a:cubicBez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 49"/>
            <p:cNvSpPr/>
            <p:nvPr/>
          </p:nvSpPr>
          <p:spPr>
            <a:xfrm>
              <a:off x="7730087" y="2415564"/>
              <a:ext cx="132524" cy="169000"/>
            </a:xfrm>
            <a:custGeom>
              <a:avLst/>
              <a:gdLst>
                <a:gd name="connsiteX0" fmla="*/ 93764 w 117048"/>
                <a:gd name="connsiteY0" fmla="*/ 41043 h 149264"/>
                <a:gd name="connsiteX1" fmla="*/ 1072 w 117048"/>
                <a:gd name="connsiteY1" fmla="*/ 45490 h 149264"/>
                <a:gd name="connsiteX2" fmla="*/ 95670 w 117048"/>
                <a:gd name="connsiteY2" fmla="*/ 138183 h 149264"/>
                <a:gd name="connsiteX3" fmla="*/ 93764 w 117048"/>
                <a:gd name="connsiteY3" fmla="*/ 41043 h 149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7048" h="149264">
                  <a:moveTo>
                    <a:pt x="93764" y="41043"/>
                  </a:moveTo>
                  <a:cubicBezTo>
                    <a:pt x="64540" y="-28842"/>
                    <a:pt x="9394" y="2098"/>
                    <a:pt x="1072" y="45490"/>
                  </a:cubicBezTo>
                  <a:cubicBezTo>
                    <a:pt x="-10936" y="108450"/>
                    <a:pt x="47640" y="175857"/>
                    <a:pt x="95670" y="138183"/>
                  </a:cubicBezTo>
                  <a:cubicBezTo>
                    <a:pt x="143700" y="100509"/>
                    <a:pt x="93764" y="41043"/>
                    <a:pt x="93764" y="41043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 50"/>
            <p:cNvSpPr/>
            <p:nvPr/>
          </p:nvSpPr>
          <p:spPr>
            <a:xfrm>
              <a:off x="8248927" y="2523567"/>
              <a:ext cx="148402" cy="155616"/>
            </a:xfrm>
            <a:custGeom>
              <a:avLst/>
              <a:gdLst>
                <a:gd name="connsiteX0" fmla="*/ 44850 w 131071"/>
                <a:gd name="connsiteY0" fmla="*/ 23606 h 137443"/>
                <a:gd name="connsiteX1" fmla="*/ 129474 w 131071"/>
                <a:gd name="connsiteY1" fmla="*/ 61725 h 137443"/>
                <a:gd name="connsiteX2" fmla="*/ 7430 w 131071"/>
                <a:gd name="connsiteY2" fmla="*/ 113122 h 137443"/>
                <a:gd name="connsiteX3" fmla="*/ 44850 w 131071"/>
                <a:gd name="connsiteY3" fmla="*/ 23479 h 137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071" h="137443">
                  <a:moveTo>
                    <a:pt x="44850" y="23606"/>
                  </a:moveTo>
                  <a:cubicBezTo>
                    <a:pt x="97708" y="-30396"/>
                    <a:pt x="137734" y="18397"/>
                    <a:pt x="129474" y="61725"/>
                  </a:cubicBezTo>
                  <a:cubicBezTo>
                    <a:pt x="117466" y="124685"/>
                    <a:pt x="38115" y="165790"/>
                    <a:pt x="7430" y="113122"/>
                  </a:cubicBezTo>
                  <a:cubicBezTo>
                    <a:pt x="-23256" y="60455"/>
                    <a:pt x="44850" y="23479"/>
                    <a:pt x="44850" y="23479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 51"/>
            <p:cNvSpPr/>
            <p:nvPr/>
          </p:nvSpPr>
          <p:spPr>
            <a:xfrm>
              <a:off x="7809723" y="2240589"/>
              <a:ext cx="532212" cy="546181"/>
            </a:xfrm>
            <a:custGeom>
              <a:avLst/>
              <a:gdLst>
                <a:gd name="connsiteX0" fmla="*/ 180923 w 470060"/>
                <a:gd name="connsiteY0" fmla="*/ 478301 h 482397"/>
                <a:gd name="connsiteX1" fmla="*/ 29463 w 470060"/>
                <a:gd name="connsiteY1" fmla="*/ 77479 h 482397"/>
                <a:gd name="connsiteX2" fmla="*/ 469484 w 470060"/>
                <a:gd name="connsiteY2" fmla="*/ 161341 h 482397"/>
                <a:gd name="connsiteX3" fmla="*/ 180923 w 470060"/>
                <a:gd name="connsiteY3" fmla="*/ 478301 h 482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0060" h="482397">
                  <a:moveTo>
                    <a:pt x="180923" y="478301"/>
                  </a:moveTo>
                  <a:cubicBezTo>
                    <a:pt x="19045" y="447488"/>
                    <a:pt x="-42962" y="252065"/>
                    <a:pt x="29463" y="77479"/>
                  </a:cubicBezTo>
                  <a:cubicBezTo>
                    <a:pt x="89247" y="-66293"/>
                    <a:pt x="466880" y="5688"/>
                    <a:pt x="469484" y="161341"/>
                  </a:cubicBezTo>
                  <a:cubicBezTo>
                    <a:pt x="472788" y="350348"/>
                    <a:pt x="342929" y="509304"/>
                    <a:pt x="180923" y="47830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 52"/>
            <p:cNvSpPr/>
            <p:nvPr/>
          </p:nvSpPr>
          <p:spPr>
            <a:xfrm>
              <a:off x="7789201" y="2165401"/>
              <a:ext cx="375782" cy="560573"/>
            </a:xfrm>
            <a:custGeom>
              <a:avLst/>
              <a:gdLst>
                <a:gd name="connsiteX0" fmla="*/ 331384 w 331898"/>
                <a:gd name="connsiteY0" fmla="*/ 36709 h 495109"/>
                <a:gd name="connsiteX1" fmla="*/ 61184 w 331898"/>
                <a:gd name="connsiteY1" fmla="*/ 494899 h 495109"/>
                <a:gd name="connsiteX2" fmla="*/ 61184 w 331898"/>
                <a:gd name="connsiteY2" fmla="*/ 494899 h 495109"/>
                <a:gd name="connsiteX3" fmla="*/ 42633 w 331898"/>
                <a:gd name="connsiteY3" fmla="*/ 73430 h 495109"/>
                <a:gd name="connsiteX4" fmla="*/ 331384 w 331898"/>
                <a:gd name="connsiteY4" fmla="*/ 36709 h 495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898" h="495109">
                  <a:moveTo>
                    <a:pt x="331384" y="36709"/>
                  </a:moveTo>
                  <a:cubicBezTo>
                    <a:pt x="45491" y="74002"/>
                    <a:pt x="40409" y="335308"/>
                    <a:pt x="61184" y="494899"/>
                  </a:cubicBezTo>
                  <a:lnTo>
                    <a:pt x="61184" y="494899"/>
                  </a:lnTo>
                  <a:cubicBezTo>
                    <a:pt x="61184" y="494899"/>
                    <a:pt x="-64292" y="213962"/>
                    <a:pt x="42633" y="73430"/>
                  </a:cubicBezTo>
                  <a:cubicBezTo>
                    <a:pt x="149556" y="-67102"/>
                    <a:pt x="331384" y="36709"/>
                    <a:pt x="331384" y="36709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 53"/>
            <p:cNvSpPr/>
            <p:nvPr/>
          </p:nvSpPr>
          <p:spPr>
            <a:xfrm>
              <a:off x="7703109" y="2838260"/>
              <a:ext cx="683282" cy="765140"/>
            </a:xfrm>
            <a:custGeom>
              <a:avLst/>
              <a:gdLst>
                <a:gd name="connsiteX0" fmla="*/ 602973 w 603487"/>
                <a:gd name="connsiteY0" fmla="*/ 61225 h 675786"/>
                <a:gd name="connsiteX1" fmla="*/ 415491 w 603487"/>
                <a:gd name="connsiteY1" fmla="*/ -210 h 675786"/>
                <a:gd name="connsiteX2" fmla="*/ 302532 w 603487"/>
                <a:gd name="connsiteY2" fmla="*/ 86828 h 675786"/>
                <a:gd name="connsiteX3" fmla="*/ 299927 w 603487"/>
                <a:gd name="connsiteY3" fmla="*/ 86828 h 675786"/>
                <a:gd name="connsiteX4" fmla="*/ 197260 w 603487"/>
                <a:gd name="connsiteY4" fmla="*/ -210 h 675786"/>
                <a:gd name="connsiteX5" fmla="*/ -514 w 603487"/>
                <a:gd name="connsiteY5" fmla="*/ 61225 h 675786"/>
                <a:gd name="connsiteX6" fmla="*/ 24898 w 603487"/>
                <a:gd name="connsiteY6" fmla="*/ 268529 h 675786"/>
                <a:gd name="connsiteX7" fmla="*/ 50311 w 603487"/>
                <a:gd name="connsiteY7" fmla="*/ 406774 h 675786"/>
                <a:gd name="connsiteX8" fmla="*/ 88811 w 603487"/>
                <a:gd name="connsiteY8" fmla="*/ 675577 h 675786"/>
                <a:gd name="connsiteX9" fmla="*/ 512504 w 603487"/>
                <a:gd name="connsiteY9" fmla="*/ 675577 h 675786"/>
                <a:gd name="connsiteX10" fmla="*/ 553609 w 603487"/>
                <a:gd name="connsiteY10" fmla="*/ 406774 h 675786"/>
                <a:gd name="connsiteX11" fmla="*/ 576735 w 603487"/>
                <a:gd name="connsiteY11" fmla="*/ 268529 h 675786"/>
                <a:gd name="connsiteX12" fmla="*/ 602147 w 603487"/>
                <a:gd name="connsiteY12" fmla="*/ 61225 h 675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03487" h="675786">
                  <a:moveTo>
                    <a:pt x="602973" y="61225"/>
                  </a:moveTo>
                  <a:lnTo>
                    <a:pt x="415491" y="-210"/>
                  </a:lnTo>
                  <a:cubicBezTo>
                    <a:pt x="400116" y="66308"/>
                    <a:pt x="315365" y="86828"/>
                    <a:pt x="302532" y="86828"/>
                  </a:cubicBezTo>
                  <a:lnTo>
                    <a:pt x="299927" y="86828"/>
                  </a:lnTo>
                  <a:cubicBezTo>
                    <a:pt x="287220" y="86828"/>
                    <a:pt x="212634" y="66308"/>
                    <a:pt x="197260" y="-210"/>
                  </a:cubicBezTo>
                  <a:lnTo>
                    <a:pt x="-514" y="61225"/>
                  </a:lnTo>
                  <a:lnTo>
                    <a:pt x="24898" y="268529"/>
                  </a:lnTo>
                  <a:cubicBezTo>
                    <a:pt x="24898" y="268529"/>
                    <a:pt x="9460" y="347880"/>
                    <a:pt x="50311" y="406774"/>
                  </a:cubicBezTo>
                  <a:cubicBezTo>
                    <a:pt x="88811" y="463063"/>
                    <a:pt x="88811" y="675577"/>
                    <a:pt x="88811" y="675577"/>
                  </a:cubicBezTo>
                  <a:lnTo>
                    <a:pt x="512504" y="675577"/>
                  </a:lnTo>
                  <a:cubicBezTo>
                    <a:pt x="512504" y="675577"/>
                    <a:pt x="512504" y="463063"/>
                    <a:pt x="553609" y="406774"/>
                  </a:cubicBezTo>
                  <a:cubicBezTo>
                    <a:pt x="592109" y="347880"/>
                    <a:pt x="576735" y="268529"/>
                    <a:pt x="576735" y="268529"/>
                  </a:cubicBezTo>
                  <a:lnTo>
                    <a:pt x="602147" y="61225"/>
                  </a:ln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 54"/>
            <p:cNvSpPr/>
            <p:nvPr/>
          </p:nvSpPr>
          <p:spPr>
            <a:xfrm>
              <a:off x="7668222" y="2246131"/>
              <a:ext cx="203061" cy="147805"/>
            </a:xfrm>
            <a:custGeom>
              <a:avLst/>
              <a:gdLst>
                <a:gd name="connsiteX0" fmla="*/ -514 w 179347"/>
                <a:gd name="connsiteY0" fmla="*/ 71186 h 130544"/>
                <a:gd name="connsiteX1" fmla="*/ 171784 w 179347"/>
                <a:gd name="connsiteY1" fmla="*/ 4287 h 130544"/>
                <a:gd name="connsiteX2" fmla="*/ 43195 w 179347"/>
                <a:gd name="connsiteY2" fmla="*/ 130334 h 130544"/>
                <a:gd name="connsiteX3" fmla="*/ -514 w 179347"/>
                <a:gd name="connsiteY3" fmla="*/ 71186 h 130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9347" h="130544">
                  <a:moveTo>
                    <a:pt x="-514" y="71186"/>
                  </a:moveTo>
                  <a:cubicBezTo>
                    <a:pt x="-514" y="71186"/>
                    <a:pt x="146053" y="-21379"/>
                    <a:pt x="171784" y="4287"/>
                  </a:cubicBezTo>
                  <a:cubicBezTo>
                    <a:pt x="197196" y="27477"/>
                    <a:pt x="153804" y="73728"/>
                    <a:pt x="43195" y="130334"/>
                  </a:cubicBezTo>
                  <a:lnTo>
                    <a:pt x="-514" y="71186"/>
                  </a:ln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 55"/>
            <p:cNvSpPr/>
            <p:nvPr/>
          </p:nvSpPr>
          <p:spPr>
            <a:xfrm>
              <a:off x="7253337" y="2273163"/>
              <a:ext cx="519616" cy="812040"/>
            </a:xfrm>
            <a:custGeom>
              <a:avLst/>
              <a:gdLst>
                <a:gd name="connsiteX0" fmla="*/ 396859 w 458935"/>
                <a:gd name="connsiteY0" fmla="*/ 560775 h 717209"/>
                <a:gd name="connsiteX1" fmla="*/ 147942 w 458935"/>
                <a:gd name="connsiteY1" fmla="*/ 358426 h 717209"/>
                <a:gd name="connsiteX2" fmla="*/ 458421 w 458935"/>
                <a:gd name="connsiteY2" fmla="*/ 107349 h 717209"/>
                <a:gd name="connsiteX3" fmla="*/ 409628 w 458935"/>
                <a:gd name="connsiteY3" fmla="*/ -210 h 717209"/>
                <a:gd name="connsiteX4" fmla="*/ 4297 w 458935"/>
                <a:gd name="connsiteY4" fmla="*/ 348134 h 717209"/>
                <a:gd name="connsiteX5" fmla="*/ 417253 w 458935"/>
                <a:gd name="connsiteY5" fmla="*/ 716999 h 717209"/>
                <a:gd name="connsiteX6" fmla="*/ 396732 w 458935"/>
                <a:gd name="connsiteY6" fmla="*/ 560775 h 717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8935" h="717209">
                  <a:moveTo>
                    <a:pt x="396859" y="560775"/>
                  </a:moveTo>
                  <a:cubicBezTo>
                    <a:pt x="396859" y="560775"/>
                    <a:pt x="158234" y="399404"/>
                    <a:pt x="147942" y="358426"/>
                  </a:cubicBezTo>
                  <a:cubicBezTo>
                    <a:pt x="137713" y="320307"/>
                    <a:pt x="458421" y="107349"/>
                    <a:pt x="458421" y="107349"/>
                  </a:cubicBezTo>
                  <a:lnTo>
                    <a:pt x="409628" y="-210"/>
                  </a:lnTo>
                  <a:cubicBezTo>
                    <a:pt x="409628" y="-210"/>
                    <a:pt x="47879" y="230346"/>
                    <a:pt x="4297" y="348134"/>
                  </a:cubicBezTo>
                  <a:cubicBezTo>
                    <a:pt x="-41891" y="465986"/>
                    <a:pt x="255691" y="696542"/>
                    <a:pt x="417253" y="716999"/>
                  </a:cubicBezTo>
                  <a:lnTo>
                    <a:pt x="396732" y="560775"/>
                  </a:ln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 56"/>
            <p:cNvSpPr/>
            <p:nvPr/>
          </p:nvSpPr>
          <p:spPr>
            <a:xfrm>
              <a:off x="7861504" y="4281217"/>
              <a:ext cx="152998" cy="1017478"/>
            </a:xfrm>
            <a:custGeom>
              <a:avLst/>
              <a:gdLst>
                <a:gd name="connsiteX0" fmla="*/ 126555 w 135131"/>
                <a:gd name="connsiteY0" fmla="*/ 898656 h 898656"/>
                <a:gd name="connsiteX1" fmla="*/ 0 w 135131"/>
                <a:gd name="connsiteY1" fmla="*/ 898656 h 898656"/>
                <a:gd name="connsiteX2" fmla="*/ 0 w 135131"/>
                <a:gd name="connsiteY2" fmla="*/ 0 h 898656"/>
                <a:gd name="connsiteX3" fmla="*/ 135132 w 135131"/>
                <a:gd name="connsiteY3" fmla="*/ 0 h 898656"/>
                <a:gd name="connsiteX4" fmla="*/ 126555 w 135131"/>
                <a:gd name="connsiteY4" fmla="*/ 898656 h 898656"/>
                <a:gd name="connsiteX5" fmla="*/ 126555 w 135131"/>
                <a:gd name="connsiteY5" fmla="*/ 898656 h 898656"/>
                <a:gd name="connsiteX6" fmla="*/ 126555 w 135131"/>
                <a:gd name="connsiteY6" fmla="*/ 898656 h 898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131" h="898656">
                  <a:moveTo>
                    <a:pt x="126555" y="898656"/>
                  </a:moveTo>
                  <a:lnTo>
                    <a:pt x="0" y="898656"/>
                  </a:lnTo>
                  <a:lnTo>
                    <a:pt x="0" y="0"/>
                  </a:lnTo>
                  <a:lnTo>
                    <a:pt x="135132" y="0"/>
                  </a:lnTo>
                  <a:lnTo>
                    <a:pt x="126555" y="898656"/>
                  </a:lnTo>
                  <a:lnTo>
                    <a:pt x="126555" y="898656"/>
                  </a:lnTo>
                  <a:lnTo>
                    <a:pt x="126555" y="898656"/>
                  </a:ln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 57"/>
            <p:cNvSpPr/>
            <p:nvPr/>
          </p:nvSpPr>
          <p:spPr>
            <a:xfrm>
              <a:off x="7703109" y="5287978"/>
              <a:ext cx="316405" cy="123506"/>
            </a:xfrm>
            <a:custGeom>
              <a:avLst/>
              <a:gdLst>
                <a:gd name="connsiteX0" fmla="*/ 264603 w 279455"/>
                <a:gd name="connsiteY0" fmla="*/ -210 h 109083"/>
                <a:gd name="connsiteX1" fmla="*/ 138493 w 279455"/>
                <a:gd name="connsiteY1" fmla="*/ -210 h 109083"/>
                <a:gd name="connsiteX2" fmla="*/ -514 w 279455"/>
                <a:gd name="connsiteY2" fmla="*/ 96168 h 109083"/>
                <a:gd name="connsiteX3" fmla="*/ -514 w 279455"/>
                <a:gd name="connsiteY3" fmla="*/ 108874 h 109083"/>
                <a:gd name="connsiteX4" fmla="*/ 277500 w 279455"/>
                <a:gd name="connsiteY4" fmla="*/ 108874 h 109083"/>
                <a:gd name="connsiteX5" fmla="*/ 264794 w 279455"/>
                <a:gd name="connsiteY5" fmla="*/ -210 h 109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9455" h="109083">
                  <a:moveTo>
                    <a:pt x="264603" y="-210"/>
                  </a:moveTo>
                  <a:lnTo>
                    <a:pt x="138493" y="-210"/>
                  </a:lnTo>
                  <a:cubicBezTo>
                    <a:pt x="138493" y="-210"/>
                    <a:pt x="12382" y="68277"/>
                    <a:pt x="-514" y="96168"/>
                  </a:cubicBezTo>
                  <a:lnTo>
                    <a:pt x="-514" y="108874"/>
                  </a:lnTo>
                  <a:lnTo>
                    <a:pt x="277500" y="108874"/>
                  </a:lnTo>
                  <a:cubicBezTo>
                    <a:pt x="277500" y="108874"/>
                    <a:pt x="285251" y="27681"/>
                    <a:pt x="264794" y="-210"/>
                  </a:cubicBez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 58"/>
            <p:cNvSpPr/>
            <p:nvPr/>
          </p:nvSpPr>
          <p:spPr>
            <a:xfrm>
              <a:off x="7703109" y="5411484"/>
              <a:ext cx="314126" cy="18773"/>
            </a:xfrm>
            <a:custGeom>
              <a:avLst/>
              <a:gdLst>
                <a:gd name="connsiteX0" fmla="*/ 0 w 277442"/>
                <a:gd name="connsiteY0" fmla="*/ 0 h 16581"/>
                <a:gd name="connsiteX1" fmla="*/ 277443 w 277442"/>
                <a:gd name="connsiteY1" fmla="*/ 0 h 16581"/>
                <a:gd name="connsiteX2" fmla="*/ 277443 w 277442"/>
                <a:gd name="connsiteY2" fmla="*/ 16582 h 16581"/>
                <a:gd name="connsiteX3" fmla="*/ 0 w 277442"/>
                <a:gd name="connsiteY3" fmla="*/ 16582 h 16581"/>
                <a:gd name="connsiteX4" fmla="*/ 0 w 277442"/>
                <a:gd name="connsiteY4" fmla="*/ 0 h 16581"/>
                <a:gd name="connsiteX5" fmla="*/ 0 w 277442"/>
                <a:gd name="connsiteY5" fmla="*/ 0 h 16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7442" h="16581">
                  <a:moveTo>
                    <a:pt x="0" y="0"/>
                  </a:moveTo>
                  <a:lnTo>
                    <a:pt x="277443" y="0"/>
                  </a:lnTo>
                  <a:lnTo>
                    <a:pt x="277443" y="16582"/>
                  </a:lnTo>
                  <a:lnTo>
                    <a:pt x="0" y="1658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 59"/>
            <p:cNvSpPr/>
            <p:nvPr/>
          </p:nvSpPr>
          <p:spPr>
            <a:xfrm>
              <a:off x="8074926" y="4281217"/>
              <a:ext cx="154366" cy="1017478"/>
            </a:xfrm>
            <a:custGeom>
              <a:avLst/>
              <a:gdLst>
                <a:gd name="connsiteX0" fmla="*/ 8704 w 136339"/>
                <a:gd name="connsiteY0" fmla="*/ 898656 h 898656"/>
                <a:gd name="connsiteX1" fmla="*/ 136339 w 136339"/>
                <a:gd name="connsiteY1" fmla="*/ 898656 h 898656"/>
                <a:gd name="connsiteX2" fmla="*/ 136339 w 136339"/>
                <a:gd name="connsiteY2" fmla="*/ 0 h 898656"/>
                <a:gd name="connsiteX3" fmla="*/ 0 w 136339"/>
                <a:gd name="connsiteY3" fmla="*/ 0 h 898656"/>
                <a:gd name="connsiteX4" fmla="*/ 8704 w 136339"/>
                <a:gd name="connsiteY4" fmla="*/ 898656 h 898656"/>
                <a:gd name="connsiteX5" fmla="*/ 8704 w 136339"/>
                <a:gd name="connsiteY5" fmla="*/ 898656 h 898656"/>
                <a:gd name="connsiteX6" fmla="*/ 8704 w 136339"/>
                <a:gd name="connsiteY6" fmla="*/ 898656 h 898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6339" h="898656">
                  <a:moveTo>
                    <a:pt x="8704" y="898656"/>
                  </a:moveTo>
                  <a:lnTo>
                    <a:pt x="136339" y="898656"/>
                  </a:lnTo>
                  <a:lnTo>
                    <a:pt x="136339" y="0"/>
                  </a:lnTo>
                  <a:lnTo>
                    <a:pt x="0" y="0"/>
                  </a:lnTo>
                  <a:lnTo>
                    <a:pt x="8704" y="898656"/>
                  </a:lnTo>
                  <a:lnTo>
                    <a:pt x="8704" y="898656"/>
                  </a:lnTo>
                  <a:lnTo>
                    <a:pt x="8704" y="898656"/>
                  </a:ln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 60"/>
            <p:cNvSpPr/>
            <p:nvPr/>
          </p:nvSpPr>
          <p:spPr>
            <a:xfrm>
              <a:off x="8073764" y="5287978"/>
              <a:ext cx="312627" cy="123506"/>
            </a:xfrm>
            <a:custGeom>
              <a:avLst/>
              <a:gdLst>
                <a:gd name="connsiteX0" fmla="*/ 11376 w 276118"/>
                <a:gd name="connsiteY0" fmla="*/ -210 h 109083"/>
                <a:gd name="connsiteX1" fmla="*/ 139646 w 276118"/>
                <a:gd name="connsiteY1" fmla="*/ -210 h 109083"/>
                <a:gd name="connsiteX2" fmla="*/ 275604 w 276118"/>
                <a:gd name="connsiteY2" fmla="*/ 96168 h 109083"/>
                <a:gd name="connsiteX3" fmla="*/ 275604 w 276118"/>
                <a:gd name="connsiteY3" fmla="*/ 108874 h 109083"/>
                <a:gd name="connsiteX4" fmla="*/ 1147 w 276118"/>
                <a:gd name="connsiteY4" fmla="*/ 108874 h 109083"/>
                <a:gd name="connsiteX5" fmla="*/ 11376 w 276118"/>
                <a:gd name="connsiteY5" fmla="*/ -210 h 109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6118" h="109083">
                  <a:moveTo>
                    <a:pt x="11376" y="-210"/>
                  </a:moveTo>
                  <a:lnTo>
                    <a:pt x="139646" y="-210"/>
                  </a:lnTo>
                  <a:cubicBezTo>
                    <a:pt x="139646" y="-210"/>
                    <a:pt x="262771" y="68277"/>
                    <a:pt x="275604" y="96168"/>
                  </a:cubicBezTo>
                  <a:lnTo>
                    <a:pt x="275604" y="108874"/>
                  </a:lnTo>
                  <a:lnTo>
                    <a:pt x="1147" y="108874"/>
                  </a:lnTo>
                  <a:cubicBezTo>
                    <a:pt x="1147" y="108874"/>
                    <a:pt x="-6604" y="27681"/>
                    <a:pt x="11376" y="-210"/>
                  </a:cubicBez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 61"/>
            <p:cNvSpPr/>
            <p:nvPr/>
          </p:nvSpPr>
          <p:spPr>
            <a:xfrm>
              <a:off x="8074926" y="5411484"/>
              <a:ext cx="311393" cy="18773"/>
            </a:xfrm>
            <a:custGeom>
              <a:avLst/>
              <a:gdLst>
                <a:gd name="connsiteX0" fmla="*/ 0 w 275028"/>
                <a:gd name="connsiteY0" fmla="*/ 0 h 16581"/>
                <a:gd name="connsiteX1" fmla="*/ 275029 w 275028"/>
                <a:gd name="connsiteY1" fmla="*/ 0 h 16581"/>
                <a:gd name="connsiteX2" fmla="*/ 275029 w 275028"/>
                <a:gd name="connsiteY2" fmla="*/ 16582 h 16581"/>
                <a:gd name="connsiteX3" fmla="*/ 0 w 275028"/>
                <a:gd name="connsiteY3" fmla="*/ 16582 h 16581"/>
                <a:gd name="connsiteX4" fmla="*/ 0 w 275028"/>
                <a:gd name="connsiteY4" fmla="*/ 0 h 16581"/>
                <a:gd name="connsiteX5" fmla="*/ 0 w 275028"/>
                <a:gd name="connsiteY5" fmla="*/ 0 h 16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5028" h="16581">
                  <a:moveTo>
                    <a:pt x="0" y="0"/>
                  </a:moveTo>
                  <a:lnTo>
                    <a:pt x="275029" y="0"/>
                  </a:lnTo>
                  <a:lnTo>
                    <a:pt x="275029" y="16582"/>
                  </a:lnTo>
                  <a:lnTo>
                    <a:pt x="0" y="1658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 62"/>
            <p:cNvSpPr/>
            <p:nvPr/>
          </p:nvSpPr>
          <p:spPr>
            <a:xfrm>
              <a:off x="7564855" y="3584555"/>
              <a:ext cx="961084" cy="1110846"/>
            </a:xfrm>
            <a:custGeom>
              <a:avLst/>
              <a:gdLst>
                <a:gd name="connsiteX0" fmla="*/ 635502 w 848847"/>
                <a:gd name="connsiteY0" fmla="*/ -210 h 981120"/>
                <a:gd name="connsiteX1" fmla="*/ 212380 w 848847"/>
                <a:gd name="connsiteY1" fmla="*/ -210 h 981120"/>
                <a:gd name="connsiteX2" fmla="*/ -514 w 848847"/>
                <a:gd name="connsiteY2" fmla="*/ 980910 h 981120"/>
                <a:gd name="connsiteX3" fmla="*/ 848334 w 848847"/>
                <a:gd name="connsiteY3" fmla="*/ 980910 h 981120"/>
                <a:gd name="connsiteX4" fmla="*/ 635502 w 848847"/>
                <a:gd name="connsiteY4" fmla="*/ -210 h 981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8847" h="981120">
                  <a:moveTo>
                    <a:pt x="635502" y="-210"/>
                  </a:moveTo>
                  <a:lnTo>
                    <a:pt x="212380" y="-210"/>
                  </a:lnTo>
                  <a:cubicBezTo>
                    <a:pt x="12319" y="253281"/>
                    <a:pt x="-514" y="980910"/>
                    <a:pt x="-514" y="980910"/>
                  </a:cubicBezTo>
                  <a:lnTo>
                    <a:pt x="848334" y="980910"/>
                  </a:lnTo>
                  <a:cubicBezTo>
                    <a:pt x="848334" y="980910"/>
                    <a:pt x="838104" y="253281"/>
                    <a:pt x="635502" y="-210"/>
                  </a:cubicBez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 63"/>
            <p:cNvSpPr/>
            <p:nvPr/>
          </p:nvSpPr>
          <p:spPr>
            <a:xfrm>
              <a:off x="6993099" y="2948350"/>
              <a:ext cx="1467130" cy="1769867"/>
            </a:xfrm>
            <a:custGeom>
              <a:avLst/>
              <a:gdLst>
                <a:gd name="connsiteX0" fmla="*/ 927593 w 1295797"/>
                <a:gd name="connsiteY0" fmla="*/ 878849 h 1563180"/>
                <a:gd name="connsiteX1" fmla="*/ 1022891 w 1295797"/>
                <a:gd name="connsiteY1" fmla="*/ 1014617 h 1563180"/>
                <a:gd name="connsiteX2" fmla="*/ 992077 w 1295797"/>
                <a:gd name="connsiteY2" fmla="*/ 1186152 h 1563180"/>
                <a:gd name="connsiteX3" fmla="*/ 821876 w 1295797"/>
                <a:gd name="connsiteY3" fmla="*/ 1157900 h 1563180"/>
                <a:gd name="connsiteX4" fmla="*/ 820161 w 1295797"/>
                <a:gd name="connsiteY4" fmla="*/ 1155403 h 1563180"/>
                <a:gd name="connsiteX5" fmla="*/ 668447 w 1295797"/>
                <a:gd name="connsiteY5" fmla="*/ 940348 h 1563180"/>
                <a:gd name="connsiteX6" fmla="*/ 668447 w 1295797"/>
                <a:gd name="connsiteY6" fmla="*/ 935202 h 1563180"/>
                <a:gd name="connsiteX7" fmla="*/ 663300 w 1295797"/>
                <a:gd name="connsiteY7" fmla="*/ 932661 h 1563180"/>
                <a:gd name="connsiteX8" fmla="*/ 694114 w 1295797"/>
                <a:gd name="connsiteY8" fmla="*/ 761125 h 1563180"/>
                <a:gd name="connsiteX9" fmla="*/ 765968 w 1295797"/>
                <a:gd name="connsiteY9" fmla="*/ 364243 h 1563180"/>
                <a:gd name="connsiteX10" fmla="*/ 368196 w 1295797"/>
                <a:gd name="connsiteY10" fmla="*/ 297661 h 1563180"/>
                <a:gd name="connsiteX11" fmla="*/ 250154 w 1295797"/>
                <a:gd name="connsiteY11" fmla="*/ 551153 h 1563180"/>
                <a:gd name="connsiteX12" fmla="*/ 134780 w 1295797"/>
                <a:gd name="connsiteY12" fmla="*/ 686793 h 1563180"/>
                <a:gd name="connsiteX13" fmla="*/ 1364 w 1295797"/>
                <a:gd name="connsiteY13" fmla="*/ 574152 h 1563180"/>
                <a:gd name="connsiteX14" fmla="*/ 224614 w 1295797"/>
                <a:gd name="connsiteY14" fmla="*/ 95313 h 1563180"/>
                <a:gd name="connsiteX15" fmla="*/ 966156 w 1295797"/>
                <a:gd name="connsiteY15" fmla="*/ 223329 h 1563180"/>
                <a:gd name="connsiteX16" fmla="*/ 927657 w 1295797"/>
                <a:gd name="connsiteY16" fmla="*/ 878849 h 1563180"/>
                <a:gd name="connsiteX17" fmla="*/ 1245823 w 1295797"/>
                <a:gd name="connsiteY17" fmla="*/ 1332149 h 1563180"/>
                <a:gd name="connsiteX18" fmla="*/ 1271236 w 1295797"/>
                <a:gd name="connsiteY18" fmla="*/ 1367980 h 1563180"/>
                <a:gd name="connsiteX19" fmla="*/ 1242965 w 1295797"/>
                <a:gd name="connsiteY19" fmla="*/ 1542121 h 1563180"/>
                <a:gd name="connsiteX20" fmla="*/ 1068506 w 1295797"/>
                <a:gd name="connsiteY20" fmla="*/ 1511371 h 1563180"/>
                <a:gd name="connsiteX21" fmla="*/ 1043093 w 1295797"/>
                <a:gd name="connsiteY21" fmla="*/ 1473252 h 1563180"/>
                <a:gd name="connsiteX22" fmla="*/ 1073906 w 1295797"/>
                <a:gd name="connsiteY22" fmla="*/ 1301717 h 1563180"/>
                <a:gd name="connsiteX23" fmla="*/ 1242583 w 1295797"/>
                <a:gd name="connsiteY23" fmla="*/ 1327847 h 1563180"/>
                <a:gd name="connsiteX24" fmla="*/ 1245823 w 1295797"/>
                <a:gd name="connsiteY24" fmla="*/ 1332466 h 1563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95797" h="1563180">
                  <a:moveTo>
                    <a:pt x="927593" y="878849"/>
                  </a:moveTo>
                  <a:lnTo>
                    <a:pt x="1022891" y="1014617"/>
                  </a:lnTo>
                  <a:cubicBezTo>
                    <a:pt x="1063932" y="1070906"/>
                    <a:pt x="1051098" y="1145174"/>
                    <a:pt x="992077" y="1186152"/>
                  </a:cubicBezTo>
                  <a:cubicBezTo>
                    <a:pt x="937313" y="1225345"/>
                    <a:pt x="861075" y="1212696"/>
                    <a:pt x="821876" y="1157900"/>
                  </a:cubicBezTo>
                  <a:cubicBezTo>
                    <a:pt x="821305" y="1157074"/>
                    <a:pt x="820732" y="1156242"/>
                    <a:pt x="820161" y="1155403"/>
                  </a:cubicBezTo>
                  <a:lnTo>
                    <a:pt x="668447" y="940348"/>
                  </a:lnTo>
                  <a:lnTo>
                    <a:pt x="668447" y="935202"/>
                  </a:lnTo>
                  <a:cubicBezTo>
                    <a:pt x="663300" y="935202"/>
                    <a:pt x="663300" y="935202"/>
                    <a:pt x="663300" y="932661"/>
                  </a:cubicBezTo>
                  <a:cubicBezTo>
                    <a:pt x="624801" y="878849"/>
                    <a:pt x="640239" y="799244"/>
                    <a:pt x="694114" y="761125"/>
                  </a:cubicBezTo>
                  <a:cubicBezTo>
                    <a:pt x="822384" y="668941"/>
                    <a:pt x="855738" y="492259"/>
                    <a:pt x="765968" y="364243"/>
                  </a:cubicBezTo>
                  <a:cubicBezTo>
                    <a:pt x="673593" y="233621"/>
                    <a:pt x="499135" y="208018"/>
                    <a:pt x="368196" y="297661"/>
                  </a:cubicBezTo>
                  <a:cubicBezTo>
                    <a:pt x="283572" y="359096"/>
                    <a:pt x="239926" y="456491"/>
                    <a:pt x="250154" y="551153"/>
                  </a:cubicBezTo>
                  <a:cubicBezTo>
                    <a:pt x="255618" y="620421"/>
                    <a:pt x="204030" y="681056"/>
                    <a:pt x="134780" y="686793"/>
                  </a:cubicBezTo>
                  <a:cubicBezTo>
                    <a:pt x="65467" y="691939"/>
                    <a:pt x="9051" y="643274"/>
                    <a:pt x="1364" y="574152"/>
                  </a:cubicBezTo>
                  <a:cubicBezTo>
                    <a:pt x="-14456" y="386231"/>
                    <a:pt x="70486" y="204003"/>
                    <a:pt x="224614" y="95313"/>
                  </a:cubicBezTo>
                  <a:cubicBezTo>
                    <a:pt x="466035" y="-71140"/>
                    <a:pt x="799386" y="-14788"/>
                    <a:pt x="966156" y="223329"/>
                  </a:cubicBezTo>
                  <a:cubicBezTo>
                    <a:pt x="1107832" y="424058"/>
                    <a:pt x="1091822" y="696081"/>
                    <a:pt x="927657" y="878849"/>
                  </a:cubicBezTo>
                  <a:close/>
                  <a:moveTo>
                    <a:pt x="1245823" y="1332149"/>
                  </a:moveTo>
                  <a:lnTo>
                    <a:pt x="1271236" y="1367980"/>
                  </a:lnTo>
                  <a:cubicBezTo>
                    <a:pt x="1312277" y="1426874"/>
                    <a:pt x="1299444" y="1501397"/>
                    <a:pt x="1242965" y="1542121"/>
                  </a:cubicBezTo>
                  <a:cubicBezTo>
                    <a:pt x="1189089" y="1577953"/>
                    <a:pt x="1109548" y="1567533"/>
                    <a:pt x="1068506" y="1511371"/>
                  </a:cubicBezTo>
                  <a:lnTo>
                    <a:pt x="1043093" y="1473252"/>
                  </a:lnTo>
                  <a:cubicBezTo>
                    <a:pt x="1004593" y="1419505"/>
                    <a:pt x="1019968" y="1339836"/>
                    <a:pt x="1073906" y="1301717"/>
                  </a:cubicBezTo>
                  <a:cubicBezTo>
                    <a:pt x="1127718" y="1262346"/>
                    <a:pt x="1203257" y="1274049"/>
                    <a:pt x="1242583" y="1327847"/>
                  </a:cubicBezTo>
                  <a:cubicBezTo>
                    <a:pt x="1243727" y="1329359"/>
                    <a:pt x="1244806" y="1330903"/>
                    <a:pt x="1245823" y="1332466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 64"/>
            <p:cNvSpPr/>
            <p:nvPr/>
          </p:nvSpPr>
          <p:spPr>
            <a:xfrm>
              <a:off x="8074926" y="2908035"/>
              <a:ext cx="512041" cy="826857"/>
            </a:xfrm>
            <a:custGeom>
              <a:avLst/>
              <a:gdLst>
                <a:gd name="connsiteX0" fmla="*/ 274260 w 452244"/>
                <a:gd name="connsiteY0" fmla="*/ -210 h 730296"/>
                <a:gd name="connsiteX1" fmla="*/ 451387 w 452244"/>
                <a:gd name="connsiteY1" fmla="*/ 381616 h 730296"/>
                <a:gd name="connsiteX2" fmla="*/ 43132 w 452244"/>
                <a:gd name="connsiteY2" fmla="*/ 730087 h 730296"/>
                <a:gd name="connsiteX3" fmla="*/ -514 w 452244"/>
                <a:gd name="connsiteY3" fmla="*/ 558551 h 730296"/>
                <a:gd name="connsiteX4" fmla="*/ 315302 w 452244"/>
                <a:gd name="connsiteY4" fmla="*/ 366368 h 730296"/>
                <a:gd name="connsiteX5" fmla="*/ 248594 w 452244"/>
                <a:gd name="connsiteY5" fmla="*/ 207539 h 730296"/>
                <a:gd name="connsiteX6" fmla="*/ 274007 w 452244"/>
                <a:gd name="connsiteY6" fmla="*/ -19 h 730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2244" h="730296">
                  <a:moveTo>
                    <a:pt x="274260" y="-210"/>
                  </a:moveTo>
                  <a:cubicBezTo>
                    <a:pt x="274260" y="-210"/>
                    <a:pt x="438553" y="292036"/>
                    <a:pt x="451387" y="381616"/>
                  </a:cubicBezTo>
                  <a:cubicBezTo>
                    <a:pt x="464093" y="473864"/>
                    <a:pt x="120196" y="717317"/>
                    <a:pt x="43132" y="730087"/>
                  </a:cubicBezTo>
                  <a:lnTo>
                    <a:pt x="-514" y="558551"/>
                  </a:lnTo>
                  <a:cubicBezTo>
                    <a:pt x="-514" y="558551"/>
                    <a:pt x="284489" y="425135"/>
                    <a:pt x="315302" y="366368"/>
                  </a:cubicBezTo>
                  <a:lnTo>
                    <a:pt x="248594" y="207539"/>
                  </a:lnTo>
                  <a:lnTo>
                    <a:pt x="274007" y="-19"/>
                  </a:ln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 65"/>
            <p:cNvSpPr/>
            <p:nvPr/>
          </p:nvSpPr>
          <p:spPr>
            <a:xfrm>
              <a:off x="8008236" y="3573622"/>
              <a:ext cx="101648" cy="117572"/>
            </a:xfrm>
            <a:custGeom>
              <a:avLst/>
              <a:gdLst>
                <a:gd name="connsiteX0" fmla="*/ 66265 w 89777"/>
                <a:gd name="connsiteY0" fmla="*/ 362 h 103842"/>
                <a:gd name="connsiteX1" fmla="*/ 5147 w 89777"/>
                <a:gd name="connsiteY1" fmla="*/ 15800 h 103842"/>
                <a:gd name="connsiteX2" fmla="*/ 89263 w 89777"/>
                <a:gd name="connsiteY2" fmla="*/ 95596 h 103842"/>
                <a:gd name="connsiteX3" fmla="*/ 66265 w 89777"/>
                <a:gd name="connsiteY3" fmla="*/ 298 h 103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777" h="103842">
                  <a:moveTo>
                    <a:pt x="66265" y="362"/>
                  </a:moveTo>
                  <a:cubicBezTo>
                    <a:pt x="66265" y="362"/>
                    <a:pt x="15439" y="-4784"/>
                    <a:pt x="5147" y="15800"/>
                  </a:cubicBezTo>
                  <a:cubicBezTo>
                    <a:pt x="-5145" y="36384"/>
                    <a:pt x="-12705" y="131555"/>
                    <a:pt x="89263" y="95596"/>
                  </a:cubicBezTo>
                  <a:lnTo>
                    <a:pt x="66265" y="298"/>
                  </a:ln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 67"/>
            <p:cNvSpPr/>
            <p:nvPr/>
          </p:nvSpPr>
          <p:spPr>
            <a:xfrm rot="19901924">
              <a:off x="4001212" y="2597109"/>
              <a:ext cx="340051" cy="595716"/>
            </a:xfrm>
            <a:custGeom>
              <a:avLst/>
              <a:gdLst>
                <a:gd name="connsiteX0" fmla="*/ 596690 w 1007682"/>
                <a:gd name="connsiteY0" fmla="*/ 1042540 h 1765307"/>
                <a:gd name="connsiteX1" fmla="*/ 596690 w 1007682"/>
                <a:gd name="connsiteY1" fmla="*/ 1209120 h 1765307"/>
                <a:gd name="connsiteX2" fmla="*/ 479747 w 1007682"/>
                <a:gd name="connsiteY2" fmla="*/ 1332124 h 1765307"/>
                <a:gd name="connsiteX3" fmla="*/ 473502 w 1007682"/>
                <a:gd name="connsiteY3" fmla="*/ 1332118 h 1765307"/>
                <a:gd name="connsiteX4" fmla="*/ 350314 w 1007682"/>
                <a:gd name="connsiteY4" fmla="*/ 1209120 h 1765307"/>
                <a:gd name="connsiteX5" fmla="*/ 350314 w 1007682"/>
                <a:gd name="connsiteY5" fmla="*/ 945209 h 1765307"/>
                <a:gd name="connsiteX6" fmla="*/ 352855 w 1007682"/>
                <a:gd name="connsiteY6" fmla="*/ 940063 h 1765307"/>
                <a:gd name="connsiteX7" fmla="*/ 350314 w 1007682"/>
                <a:gd name="connsiteY7" fmla="*/ 934981 h 1765307"/>
                <a:gd name="connsiteX8" fmla="*/ 473502 w 1007682"/>
                <a:gd name="connsiteY8" fmla="*/ 811983 h 1765307"/>
                <a:gd name="connsiteX9" fmla="*/ 760983 w 1007682"/>
                <a:gd name="connsiteY9" fmla="*/ 530157 h 1765307"/>
                <a:gd name="connsiteX10" fmla="*/ 473502 w 1007682"/>
                <a:gd name="connsiteY10" fmla="*/ 245725 h 1765307"/>
                <a:gd name="connsiteX11" fmla="*/ 229667 w 1007682"/>
                <a:gd name="connsiteY11" fmla="*/ 384097 h 1765307"/>
                <a:gd name="connsiteX12" fmla="*/ 62134 w 1007682"/>
                <a:gd name="connsiteY12" fmla="*/ 430888 h 1765307"/>
                <a:gd name="connsiteX13" fmla="*/ 15343 w 1007682"/>
                <a:gd name="connsiteY13" fmla="*/ 263355 h 1765307"/>
                <a:gd name="connsiteX14" fmla="*/ 16645 w 1007682"/>
                <a:gd name="connsiteY14" fmla="*/ 261100 h 1765307"/>
                <a:gd name="connsiteX15" fmla="*/ 473502 w 1007682"/>
                <a:gd name="connsiteY15" fmla="*/ -206 h 1765307"/>
                <a:gd name="connsiteX16" fmla="*/ 1007168 w 1007682"/>
                <a:gd name="connsiteY16" fmla="*/ 530157 h 1765307"/>
                <a:gd name="connsiteX17" fmla="*/ 596499 w 1007682"/>
                <a:gd name="connsiteY17" fmla="*/ 1042540 h 1765307"/>
                <a:gd name="connsiteX18" fmla="*/ 596690 w 1007682"/>
                <a:gd name="connsiteY18" fmla="*/ 1595965 h 1765307"/>
                <a:gd name="connsiteX19" fmla="*/ 596690 w 1007682"/>
                <a:gd name="connsiteY19" fmla="*/ 1642089 h 1765307"/>
                <a:gd name="connsiteX20" fmla="*/ 473502 w 1007682"/>
                <a:gd name="connsiteY20" fmla="*/ 1765086 h 1765307"/>
                <a:gd name="connsiteX21" fmla="*/ 350314 w 1007682"/>
                <a:gd name="connsiteY21" fmla="*/ 1645221 h 1765307"/>
                <a:gd name="connsiteX22" fmla="*/ 350314 w 1007682"/>
                <a:gd name="connsiteY22" fmla="*/ 1642089 h 1765307"/>
                <a:gd name="connsiteX23" fmla="*/ 350314 w 1007682"/>
                <a:gd name="connsiteY23" fmla="*/ 1595965 h 1765307"/>
                <a:gd name="connsiteX24" fmla="*/ 473502 w 1007682"/>
                <a:gd name="connsiteY24" fmla="*/ 1473031 h 1765307"/>
                <a:gd name="connsiteX25" fmla="*/ 596690 w 1007682"/>
                <a:gd name="connsiteY25" fmla="*/ 1592769 h 1765307"/>
                <a:gd name="connsiteX26" fmla="*/ 596690 w 1007682"/>
                <a:gd name="connsiteY26" fmla="*/ 1595965 h 1765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07682" h="1765307">
                  <a:moveTo>
                    <a:pt x="596690" y="1042540"/>
                  </a:moveTo>
                  <a:lnTo>
                    <a:pt x="596690" y="1209120"/>
                  </a:lnTo>
                  <a:cubicBezTo>
                    <a:pt x="598361" y="1275377"/>
                    <a:pt x="546004" y="1330447"/>
                    <a:pt x="479747" y="1332124"/>
                  </a:cubicBezTo>
                  <a:cubicBezTo>
                    <a:pt x="477663" y="1332175"/>
                    <a:pt x="475579" y="1332175"/>
                    <a:pt x="473502" y="1332118"/>
                  </a:cubicBezTo>
                  <a:cubicBezTo>
                    <a:pt x="405529" y="1332156"/>
                    <a:pt x="350384" y="1277093"/>
                    <a:pt x="350314" y="1209120"/>
                  </a:cubicBezTo>
                  <a:lnTo>
                    <a:pt x="350314" y="945209"/>
                  </a:lnTo>
                  <a:cubicBezTo>
                    <a:pt x="350314" y="942668"/>
                    <a:pt x="352855" y="942668"/>
                    <a:pt x="352855" y="940063"/>
                  </a:cubicBezTo>
                  <a:cubicBezTo>
                    <a:pt x="350314" y="937522"/>
                    <a:pt x="350314" y="937522"/>
                    <a:pt x="350314" y="934981"/>
                  </a:cubicBezTo>
                  <a:cubicBezTo>
                    <a:pt x="350314" y="870941"/>
                    <a:pt x="406793" y="811983"/>
                    <a:pt x="473502" y="811983"/>
                  </a:cubicBezTo>
                  <a:cubicBezTo>
                    <a:pt x="632649" y="811983"/>
                    <a:pt x="760983" y="686445"/>
                    <a:pt x="760983" y="530157"/>
                  </a:cubicBezTo>
                  <a:cubicBezTo>
                    <a:pt x="760983" y="368723"/>
                    <a:pt x="632649" y="245725"/>
                    <a:pt x="473502" y="245725"/>
                  </a:cubicBezTo>
                  <a:cubicBezTo>
                    <a:pt x="373636" y="246094"/>
                    <a:pt x="281198" y="298552"/>
                    <a:pt x="229667" y="384097"/>
                  </a:cubicBezTo>
                  <a:cubicBezTo>
                    <a:pt x="196326" y="443283"/>
                    <a:pt x="121320" y="464230"/>
                    <a:pt x="62134" y="430888"/>
                  </a:cubicBezTo>
                  <a:cubicBezTo>
                    <a:pt x="2948" y="397547"/>
                    <a:pt x="-17999" y="322541"/>
                    <a:pt x="15343" y="263355"/>
                  </a:cubicBezTo>
                  <a:cubicBezTo>
                    <a:pt x="15769" y="262599"/>
                    <a:pt x="16201" y="261850"/>
                    <a:pt x="16645" y="261100"/>
                  </a:cubicBezTo>
                  <a:cubicBezTo>
                    <a:pt x="111346" y="98668"/>
                    <a:pt x="285480" y="-930"/>
                    <a:pt x="473502" y="-206"/>
                  </a:cubicBezTo>
                  <a:cubicBezTo>
                    <a:pt x="766129" y="-206"/>
                    <a:pt x="1007168" y="235497"/>
                    <a:pt x="1007168" y="530157"/>
                  </a:cubicBezTo>
                  <a:cubicBezTo>
                    <a:pt x="1007168" y="778693"/>
                    <a:pt x="832647" y="988792"/>
                    <a:pt x="596499" y="1042540"/>
                  </a:cubicBezTo>
                  <a:close/>
                  <a:moveTo>
                    <a:pt x="596690" y="1595965"/>
                  </a:moveTo>
                  <a:lnTo>
                    <a:pt x="596690" y="1642089"/>
                  </a:lnTo>
                  <a:cubicBezTo>
                    <a:pt x="596690" y="1713816"/>
                    <a:pt x="545356" y="1765086"/>
                    <a:pt x="473502" y="1765086"/>
                  </a:cubicBezTo>
                  <a:cubicBezTo>
                    <a:pt x="406387" y="1766001"/>
                    <a:pt x="351235" y="1712336"/>
                    <a:pt x="350314" y="1645221"/>
                  </a:cubicBezTo>
                  <a:cubicBezTo>
                    <a:pt x="350301" y="1644179"/>
                    <a:pt x="350301" y="1643131"/>
                    <a:pt x="350314" y="1642089"/>
                  </a:cubicBezTo>
                  <a:lnTo>
                    <a:pt x="350314" y="1595965"/>
                  </a:lnTo>
                  <a:cubicBezTo>
                    <a:pt x="351305" y="1528386"/>
                    <a:pt x="405923" y="1473882"/>
                    <a:pt x="473502" y="1473031"/>
                  </a:cubicBezTo>
                  <a:cubicBezTo>
                    <a:pt x="540585" y="1472078"/>
                    <a:pt x="595737" y="1525686"/>
                    <a:pt x="596690" y="1592769"/>
                  </a:cubicBezTo>
                  <a:cubicBezTo>
                    <a:pt x="596703" y="1593830"/>
                    <a:pt x="596703" y="1594897"/>
                    <a:pt x="596690" y="1595965"/>
                  </a:cubicBezTo>
                  <a:close/>
                </a:path>
              </a:pathLst>
            </a:custGeom>
            <a:solidFill>
              <a:srgbClr val="D0D4DA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pic>
        <p:nvPicPr>
          <p:cNvPr id="74" name="图片 7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3035" y="299594"/>
            <a:ext cx="1837445" cy="501494"/>
          </a:xfrm>
          <a:prstGeom prst="rect">
            <a:avLst/>
          </a:prstGeom>
        </p:spPr>
      </p:pic>
      <p:graphicFrame>
        <p:nvGraphicFramePr>
          <p:cNvPr id="2" name="表格 1"/>
          <p:cNvGraphicFramePr/>
          <p:nvPr/>
        </p:nvGraphicFramePr>
        <p:xfrm>
          <a:off x="1197610" y="3239770"/>
          <a:ext cx="2301240" cy="2413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2320"/>
                <a:gridCol w="943610"/>
                <a:gridCol w="575310"/>
              </a:tblGrid>
              <a:tr h="2413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90204" pitchFamily="34" charset="0"/>
                          <a:ea typeface="华文楷体" panose="02010600040101010101" pitchFamily="2" charset="-122"/>
                        </a:rPr>
                        <a:t>承保年份</a:t>
                      </a:r>
                      <a:endParaRPr lang="zh-CN" altLang="en-US" sz="1200" b="1">
                        <a:solidFill>
                          <a:srgbClr val="FFFFFF"/>
                        </a:solidFill>
                        <a:latin typeface="Arial" panose="020B0604020202090204" pitchFamily="34" charset="0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90204" pitchFamily="34" charset="0"/>
                          <a:ea typeface="华文楷体" panose="02010600040101010101" pitchFamily="2" charset="-122"/>
                        </a:rPr>
                        <a:t>投诉保单量</a:t>
                      </a:r>
                      <a:endParaRPr lang="zh-CN" altLang="en-US" sz="1200" b="1">
                        <a:solidFill>
                          <a:srgbClr val="FFFFFF"/>
                        </a:solidFill>
                        <a:latin typeface="Arial" panose="020B0604020202090204" pitchFamily="34" charset="0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90204" pitchFamily="34" charset="0"/>
                          <a:ea typeface="华文楷体" panose="02010600040101010101" pitchFamily="2" charset="-122"/>
                        </a:rPr>
                        <a:t>占比</a:t>
                      </a:r>
                      <a:endParaRPr lang="zh-CN" altLang="en-US" sz="1200" b="1">
                        <a:solidFill>
                          <a:srgbClr val="FFFFFF"/>
                        </a:solidFill>
                        <a:latin typeface="Arial" panose="020B0604020202090204" pitchFamily="34" charset="0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</a:tr>
              <a:tr h="2413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021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,731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0.5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13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020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4,108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3.8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13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019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42,806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1.4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13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018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95,825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5.50%</a:t>
                      </a:r>
                      <a:endParaRPr lang="en-US" altLang="en-US" sz="1200" b="1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</a:tr>
              <a:tr h="2413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017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01,140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6.90%</a:t>
                      </a:r>
                      <a:endParaRPr lang="en-US" altLang="en-US" sz="1200" b="1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</a:tr>
              <a:tr h="2413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016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70,079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8.7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13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015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34,935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9.3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13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014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4,302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3.8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13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013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491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0.1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" name="文本框 5"/>
          <p:cNvSpPr txBox="1"/>
          <p:nvPr/>
        </p:nvSpPr>
        <p:spPr>
          <a:xfrm>
            <a:off x="3612515" y="3673475"/>
            <a:ext cx="1811020" cy="93853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p>
            <a:pPr marL="106045" indent="0" fontAlgn="auto">
              <a:lnSpc>
                <a:spcPts val="1800"/>
              </a:lnSpc>
              <a:buNone/>
            </a:pP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得到规则：</a:t>
            </a:r>
            <a:endParaRPr lang="zh-CN" altLang="en-US" sz="1400" dirty="0" smtClean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  <a:p>
            <a:pPr marL="106045" indent="0" fontAlgn="auto">
              <a:lnSpc>
                <a:spcPts val="1800"/>
              </a:lnSpc>
              <a:buNone/>
            </a:pPr>
            <a:r>
              <a:rPr lang="en-US" alt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2018</a:t>
            </a: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、</a:t>
            </a:r>
            <a:r>
              <a:rPr lang="en-US" alt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2019</a:t>
            </a: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年承保保单容易投诉？</a:t>
            </a:r>
            <a:endParaRPr lang="zh-CN" altLang="en-US" sz="1400" dirty="0" smtClean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graphicFrame>
        <p:nvGraphicFramePr>
          <p:cNvPr id="7" name="表格 6"/>
          <p:cNvGraphicFramePr/>
          <p:nvPr/>
        </p:nvGraphicFramePr>
        <p:xfrm>
          <a:off x="5733415" y="3239770"/>
          <a:ext cx="5718810" cy="24168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94080"/>
                <a:gridCol w="914400"/>
                <a:gridCol w="960755"/>
                <a:gridCol w="1033145"/>
                <a:gridCol w="998855"/>
                <a:gridCol w="917575"/>
              </a:tblGrid>
              <a:tr h="24511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90204" pitchFamily="34" charset="0"/>
                          <a:ea typeface="华文楷体" panose="02010600040101010101" pitchFamily="2" charset="-122"/>
                        </a:rPr>
                        <a:t>承保年份</a:t>
                      </a:r>
                      <a:endParaRPr lang="zh-CN" altLang="en-US" sz="1200" b="1">
                        <a:solidFill>
                          <a:srgbClr val="FFFFFF"/>
                        </a:solidFill>
                        <a:latin typeface="Arial" panose="020B0604020202090204" pitchFamily="34" charset="0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90204" pitchFamily="34" charset="0"/>
                          <a:ea typeface="华文楷体" panose="02010600040101010101" pitchFamily="2" charset="-122"/>
                        </a:rPr>
                        <a:t>全量保单</a:t>
                      </a:r>
                      <a:endParaRPr lang="zh-CN" altLang="en-US" sz="1200" b="1">
                        <a:solidFill>
                          <a:srgbClr val="FFFFFF"/>
                        </a:solidFill>
                        <a:latin typeface="Arial" panose="020B0604020202090204" pitchFamily="34" charset="0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90204" pitchFamily="34" charset="0"/>
                          <a:ea typeface="华文楷体" panose="02010600040101010101" pitchFamily="2" charset="-122"/>
                        </a:rPr>
                        <a:t>保单占比</a:t>
                      </a:r>
                      <a:endParaRPr lang="zh-CN" altLang="en-US" sz="1200" b="1">
                        <a:solidFill>
                          <a:srgbClr val="FFFFFF"/>
                        </a:solidFill>
                        <a:latin typeface="Arial" panose="020B0604020202090204" pitchFamily="34" charset="0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90204" pitchFamily="34" charset="0"/>
                          <a:ea typeface="华文楷体" panose="02010600040101010101" pitchFamily="2" charset="-122"/>
                        </a:rPr>
                        <a:t>投诉保单量</a:t>
                      </a:r>
                      <a:endParaRPr lang="zh-CN" altLang="en-US" sz="1200" b="1">
                        <a:solidFill>
                          <a:srgbClr val="FFFFFF"/>
                        </a:solidFill>
                        <a:latin typeface="Arial" panose="020B0604020202090204" pitchFamily="34" charset="0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90204" pitchFamily="34" charset="0"/>
                          <a:ea typeface="华文楷体" panose="02010600040101010101" pitchFamily="2" charset="-122"/>
                        </a:rPr>
                        <a:t>投诉保单占比</a:t>
                      </a:r>
                      <a:endParaRPr lang="zh-CN" altLang="en-US" sz="1200" b="1">
                        <a:solidFill>
                          <a:srgbClr val="FFFFFF"/>
                        </a:solidFill>
                        <a:latin typeface="Arial" panose="020B0604020202090204" pitchFamily="34" charset="0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90204" pitchFamily="34" charset="0"/>
                          <a:ea typeface="华文楷体" panose="02010600040101010101" pitchFamily="2" charset="-122"/>
                        </a:rPr>
                        <a:t>保单投诉率</a:t>
                      </a:r>
                      <a:endParaRPr lang="zh-CN" altLang="en-US" sz="1200" b="1">
                        <a:solidFill>
                          <a:srgbClr val="FFFFFF"/>
                        </a:solidFill>
                        <a:latin typeface="Arial" panose="020B0604020202090204" pitchFamily="34" charset="0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</a:tr>
              <a:tr h="2413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021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519,962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.0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,731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0.5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0.3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13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020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,659,862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6.3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4,108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3.8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0.9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13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019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3,409,747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3.0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42,806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1.4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.3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13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018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6,124,984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3.30%</a:t>
                      </a:r>
                      <a:endParaRPr lang="en-US" altLang="en-US" sz="1200" b="1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95,825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5.50%</a:t>
                      </a:r>
                      <a:endParaRPr lang="en-US" altLang="en-US" sz="1200" b="1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.60%</a:t>
                      </a:r>
                      <a:endParaRPr lang="en-US" altLang="en-US" sz="1200" b="1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</a:tr>
              <a:tr h="2413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017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6,142,380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3.40%</a:t>
                      </a:r>
                      <a:endParaRPr lang="en-US" altLang="en-US" sz="1200" b="1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01,140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6.90%</a:t>
                      </a:r>
                      <a:endParaRPr lang="en-US" altLang="en-US" sz="1200" b="1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.70%</a:t>
                      </a:r>
                      <a:endParaRPr lang="en-US" altLang="en-US" sz="1200" b="1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</a:tr>
              <a:tr h="2413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016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4,769,520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8.1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70,079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8.7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.5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13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015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,558,080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9.7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34,935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9.3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.4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13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014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,082,211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4.1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4,302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3.8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.3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13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013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36,360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0.1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491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0.1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.4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cxnSp>
        <p:nvCxnSpPr>
          <p:cNvPr id="75" name="直接箭头连接符 74"/>
          <p:cNvCxnSpPr/>
          <p:nvPr/>
        </p:nvCxnSpPr>
        <p:spPr>
          <a:xfrm>
            <a:off x="3813810" y="4589780"/>
            <a:ext cx="1543050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文本框 75"/>
          <p:cNvSpPr txBox="1"/>
          <p:nvPr/>
        </p:nvSpPr>
        <p:spPr>
          <a:xfrm>
            <a:off x="4167505" y="4612005"/>
            <a:ext cx="701040" cy="42354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>
              <a:lnSpc>
                <a:spcPct val="120000"/>
              </a:lnSpc>
            </a:pPr>
            <a:r>
              <a:rPr lang="en-US" altLang="zh-CN" kern="600" spc="160" dirty="0" smtClean="0"/>
              <a:t>BUT</a:t>
            </a:r>
            <a:endParaRPr lang="en-US" altLang="zh-CN" kern="600" spc="160" dirty="0" smtClean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6" grpId="1"/>
      <p:bldP spid="76" grpId="0"/>
      <p:bldP spid="76" grpId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小样本解决之招式二：</a:t>
            </a: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挖掘规则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-</a:t>
            </a: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强规则探索</a:t>
            </a:r>
            <a:endParaRPr lang="en-US" altLang="zh-CN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938530" y="112522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sz="1800" dirty="0" smtClean="0"/>
              <a:t>好规则怎么做（四步法）</a:t>
            </a:r>
            <a:endParaRPr lang="zh-CN" altLang="en-US" sz="1800" dirty="0" smtClean="0"/>
          </a:p>
        </p:txBody>
      </p:sp>
      <p:grpSp>
        <p:nvGrpSpPr>
          <p:cNvPr id="3" name="组合 2"/>
          <p:cNvGrpSpPr/>
          <p:nvPr/>
        </p:nvGrpSpPr>
        <p:grpSpPr>
          <a:xfrm>
            <a:off x="450215" y="1061720"/>
            <a:ext cx="389255" cy="427990"/>
            <a:chOff x="450391" y="1977754"/>
            <a:chExt cx="465233" cy="511985"/>
          </a:xfrm>
        </p:grpSpPr>
        <p:sp>
          <p:nvSpPr>
            <p:cNvPr id="488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89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0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1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2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3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5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12" name="矩形 11"/>
          <p:cNvSpPr/>
          <p:nvPr/>
        </p:nvSpPr>
        <p:spPr>
          <a:xfrm>
            <a:off x="666750" y="4162425"/>
            <a:ext cx="2583815" cy="4102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 anchorCtr="0">
            <a:normAutofit/>
          </a:bodyPr>
          <a:p>
            <a:pPr algn="l">
              <a:lnSpc>
                <a:spcPct val="120000"/>
              </a:lnSpc>
            </a:pPr>
            <a:r>
              <a:rPr kumimoji="1" lang="zh-CN" altLang="fr-FR" sz="140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要素：</a:t>
            </a:r>
            <a:endParaRPr kumimoji="1" lang="zh-CN" altLang="fr-FR" sz="140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algn="l">
              <a:lnSpc>
                <a:spcPct val="120000"/>
              </a:lnSpc>
            </a:pPr>
            <a:endParaRPr kumimoji="1" lang="zh-CN" altLang="en-US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cxnSp>
        <p:nvCxnSpPr>
          <p:cNvPr id="13" name="直接连接符 12"/>
          <p:cNvCxnSpPr/>
          <p:nvPr/>
        </p:nvCxnSpPr>
        <p:spPr>
          <a:xfrm>
            <a:off x="1633220" y="2871470"/>
            <a:ext cx="0" cy="1290955"/>
          </a:xfrm>
          <a:prstGeom prst="line">
            <a:avLst/>
          </a:prstGeom>
          <a:ln>
            <a:solidFill>
              <a:schemeClr val="accent1">
                <a:alpha val="8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箭头: 右 3"/>
          <p:cNvSpPr/>
          <p:nvPr/>
        </p:nvSpPr>
        <p:spPr>
          <a:xfrm>
            <a:off x="666750" y="2117090"/>
            <a:ext cx="2583815" cy="1180465"/>
          </a:xfrm>
          <a:prstGeom prst="rightArrow">
            <a:avLst>
              <a:gd name="adj1" fmla="val 50000"/>
              <a:gd name="adj2" fmla="val 49038"/>
            </a:avLst>
          </a:prstGeom>
          <a:solidFill>
            <a:schemeClr val="accent1"/>
          </a:solidFill>
          <a:ln w="12700" cap="flat">
            <a:noFill/>
            <a:prstDash val="solid"/>
            <a:miter/>
          </a:ln>
          <a:effectLst>
            <a:outerShdw blurRad="127000" dist="63500" dir="2700000" algn="tl" rotWithShape="0">
              <a:schemeClr val="accent1">
                <a:alpha val="40000"/>
              </a:schemeClr>
            </a:outerShdw>
          </a:effectLst>
        </p:spPr>
        <p:txBody>
          <a:bodyPr wrap="square" lIns="91440" tIns="45720" rIns="91440" bIns="45720" rtlCol="0" anchor="ctr">
            <a:normAutofit/>
          </a:bodyPr>
          <a:p>
            <a:pPr algn="ctr"/>
            <a:r>
              <a:rPr lang="zh-CN" altLang="en-US" sz="1600" b="1" dirty="0">
                <a:solidFill>
                  <a:srgbClr val="FFFFFF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构建宽表</a:t>
            </a:r>
            <a:endParaRPr lang="zh-CN" altLang="en-US" sz="1600" b="1" dirty="0">
              <a:solidFill>
                <a:srgbClr val="FFFFFF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911225" y="1846580"/>
            <a:ext cx="1443355" cy="3683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 anchorCtr="0">
            <a:spAutoFit/>
          </a:bodyPr>
          <a:p>
            <a:pPr algn="ctr"/>
            <a:r>
              <a:rPr kumimoji="1" lang="en-US" altLang="zh-CN" b="1" dirty="0">
                <a:solidFill>
                  <a:schemeClr val="tx1"/>
                </a:solidFill>
                <a:latin typeface="Calibri" panose="020F0502020204030204" pitchFamily="34" charset="0"/>
                <a:ea typeface="宋体" pitchFamily="2" charset="-122"/>
              </a:rPr>
              <a:t>step1</a:t>
            </a:r>
            <a:endParaRPr kumimoji="1" lang="en-US" altLang="zh-CN" b="1" dirty="0">
              <a:solidFill>
                <a:schemeClr val="tx1"/>
              </a:solidFill>
              <a:latin typeface="Calibri" panose="020F0502020204030204" pitchFamily="34" charset="0"/>
              <a:ea typeface="宋体" pitchFamily="2" charset="-122"/>
            </a:endParaRPr>
          </a:p>
        </p:txBody>
      </p:sp>
      <p:cxnSp>
        <p:nvCxnSpPr>
          <p:cNvPr id="17" name="直接连接符 16"/>
          <p:cNvCxnSpPr/>
          <p:nvPr/>
        </p:nvCxnSpPr>
        <p:spPr>
          <a:xfrm>
            <a:off x="4391660" y="2871470"/>
            <a:ext cx="0" cy="1290955"/>
          </a:xfrm>
          <a:prstGeom prst="line">
            <a:avLst/>
          </a:prstGeom>
          <a:ln>
            <a:solidFill>
              <a:schemeClr val="accent2">
                <a:alpha val="8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箭头: 右 10"/>
          <p:cNvSpPr/>
          <p:nvPr/>
        </p:nvSpPr>
        <p:spPr>
          <a:xfrm>
            <a:off x="3425190" y="2117090"/>
            <a:ext cx="2583815" cy="1180465"/>
          </a:xfrm>
          <a:prstGeom prst="rightArrow">
            <a:avLst>
              <a:gd name="adj1" fmla="val 50000"/>
              <a:gd name="adj2" fmla="val 49038"/>
            </a:avLst>
          </a:prstGeom>
          <a:solidFill>
            <a:schemeClr val="accent2"/>
          </a:solidFill>
          <a:ln w="12700" cap="flat">
            <a:noFill/>
            <a:prstDash val="solid"/>
            <a:miter/>
          </a:ln>
          <a:effectLst>
            <a:outerShdw blurRad="127000" dist="63500" dir="2700000" algn="tl" rotWithShape="0">
              <a:schemeClr val="accent2">
                <a:alpha val="40000"/>
              </a:schemeClr>
            </a:outerShdw>
          </a:effectLst>
        </p:spPr>
        <p:txBody>
          <a:bodyPr wrap="square" lIns="91440" tIns="45720" rIns="91440" bIns="45720" rtlCol="0" anchor="ctr">
            <a:normAutofit/>
          </a:bodyPr>
          <a:p>
            <a:pPr algn="ctr"/>
            <a:r>
              <a:rPr lang="zh-CN" altLang="en-US" sz="1600" b="1">
                <a:solidFill>
                  <a:srgbClr val="FFFFFF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单变量</a:t>
            </a:r>
            <a:r>
              <a:rPr lang="en-US" altLang="zh-CN" sz="1600" b="1">
                <a:solidFill>
                  <a:srgbClr val="FFFFFF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&amp;</a:t>
            </a:r>
            <a:r>
              <a:rPr lang="zh-CN" altLang="en-US" sz="1600" b="1">
                <a:solidFill>
                  <a:srgbClr val="FFFFFF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交叉变量分析</a:t>
            </a:r>
            <a:endParaRPr lang="zh-CN" altLang="en-US" sz="1600" b="1" dirty="0">
              <a:solidFill>
                <a:srgbClr val="FFFFFF"/>
              </a:solidFill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sp>
        <p:nvSpPr>
          <p:cNvPr id="19" name="矩形 18"/>
          <p:cNvSpPr/>
          <p:nvPr/>
        </p:nvSpPr>
        <p:spPr>
          <a:xfrm>
            <a:off x="3669665" y="1846580"/>
            <a:ext cx="1443355" cy="3683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 anchorCtr="0">
            <a:spAutoFit/>
          </a:bodyPr>
          <a:p>
            <a:pPr algn="ctr"/>
            <a:r>
              <a:rPr kumimoji="1" lang="en-US" altLang="zh-CN" b="1" dirty="0">
                <a:solidFill>
                  <a:schemeClr val="tx1"/>
                </a:solidFill>
                <a:latin typeface="Calibri" panose="020F0502020204030204" pitchFamily="34" charset="0"/>
                <a:ea typeface="宋体" pitchFamily="2" charset="-122"/>
              </a:rPr>
              <a:t>step2</a:t>
            </a:r>
            <a:endParaRPr kumimoji="1" lang="en-US" altLang="zh-CN" b="1" dirty="0">
              <a:solidFill>
                <a:schemeClr val="tx1"/>
              </a:solidFill>
              <a:latin typeface="Calibri" panose="020F0502020204030204" pitchFamily="34" charset="0"/>
              <a:ea typeface="宋体" pitchFamily="2" charset="-122"/>
            </a:endParaRPr>
          </a:p>
        </p:txBody>
      </p:sp>
      <p:cxnSp>
        <p:nvCxnSpPr>
          <p:cNvPr id="21" name="直接连接符 20"/>
          <p:cNvCxnSpPr/>
          <p:nvPr/>
        </p:nvCxnSpPr>
        <p:spPr>
          <a:xfrm>
            <a:off x="7150100" y="2871470"/>
            <a:ext cx="0" cy="1290955"/>
          </a:xfrm>
          <a:prstGeom prst="line">
            <a:avLst/>
          </a:prstGeom>
          <a:ln>
            <a:solidFill>
              <a:schemeClr val="accent1">
                <a:alpha val="8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箭头: 右 16"/>
          <p:cNvSpPr/>
          <p:nvPr/>
        </p:nvSpPr>
        <p:spPr>
          <a:xfrm>
            <a:off x="6183630" y="2117090"/>
            <a:ext cx="2583815" cy="1180465"/>
          </a:xfrm>
          <a:prstGeom prst="rightArrow">
            <a:avLst>
              <a:gd name="adj1" fmla="val 50000"/>
              <a:gd name="adj2" fmla="val 49038"/>
            </a:avLst>
          </a:prstGeom>
          <a:solidFill>
            <a:schemeClr val="accent1"/>
          </a:solidFill>
          <a:ln w="12700" cap="flat">
            <a:noFill/>
            <a:prstDash val="solid"/>
            <a:miter/>
          </a:ln>
          <a:effectLst>
            <a:outerShdw blurRad="127000" dist="63500" dir="2700000" algn="tl" rotWithShape="0">
              <a:schemeClr val="accent1">
                <a:alpha val="40000"/>
              </a:schemeClr>
            </a:outerShdw>
          </a:effectLst>
        </p:spPr>
        <p:txBody>
          <a:bodyPr wrap="square" lIns="91440" tIns="45720" rIns="91440" bIns="45720" rtlCol="0" anchor="ctr">
            <a:normAutofit/>
          </a:bodyPr>
          <a:p>
            <a:pPr algn="ctr"/>
            <a:r>
              <a:rPr lang="zh-CN" sz="1600" b="1" dirty="0" smtClean="0">
                <a:solidFill>
                  <a:schemeClr val="bg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  <a:sym typeface="+mn-ea"/>
              </a:rPr>
              <a:t>通过</a:t>
            </a:r>
            <a:r>
              <a:rPr lang="en-US" altLang="zh-CN" sz="1600" b="1" dirty="0" smtClean="0">
                <a:solidFill>
                  <a:schemeClr val="bg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  <a:sym typeface="+mn-ea"/>
              </a:rPr>
              <a:t>IV</a:t>
            </a:r>
            <a:r>
              <a:rPr lang="zh-CN" altLang="en-US" sz="1600" b="1" dirty="0" smtClean="0">
                <a:solidFill>
                  <a:schemeClr val="bg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  <a:sym typeface="+mn-ea"/>
              </a:rPr>
              <a:t>、召回率批量筛选</a:t>
            </a:r>
            <a:endParaRPr lang="zh-CN" altLang="en-US" sz="1600" b="1" dirty="0" smtClean="0">
              <a:solidFill>
                <a:schemeClr val="bg1"/>
              </a:solidFill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  <a:sym typeface="+mn-ea"/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6428105" y="1846580"/>
            <a:ext cx="1443355" cy="3683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 anchorCtr="0">
            <a:spAutoFit/>
          </a:bodyPr>
          <a:p>
            <a:pPr algn="ctr"/>
            <a:r>
              <a:rPr kumimoji="1" lang="en-US" altLang="zh-CN" b="1" dirty="0">
                <a:solidFill>
                  <a:schemeClr val="tx1"/>
                </a:solidFill>
                <a:latin typeface="Calibri" panose="020F0502020204030204" pitchFamily="34" charset="0"/>
                <a:ea typeface="宋体" pitchFamily="2" charset="-122"/>
              </a:rPr>
              <a:t>step3</a:t>
            </a:r>
            <a:endParaRPr kumimoji="1" lang="en-US" altLang="zh-CN" b="1" dirty="0">
              <a:solidFill>
                <a:schemeClr val="tx1"/>
              </a:solidFill>
              <a:latin typeface="Calibri" panose="020F0502020204030204" pitchFamily="34" charset="0"/>
              <a:ea typeface="宋体" pitchFamily="2" charset="-122"/>
            </a:endParaRPr>
          </a:p>
        </p:txBody>
      </p:sp>
      <p:cxnSp>
        <p:nvCxnSpPr>
          <p:cNvPr id="26" name="直接连接符 25"/>
          <p:cNvCxnSpPr/>
          <p:nvPr/>
        </p:nvCxnSpPr>
        <p:spPr>
          <a:xfrm>
            <a:off x="9907905" y="2871470"/>
            <a:ext cx="0" cy="1290955"/>
          </a:xfrm>
          <a:prstGeom prst="line">
            <a:avLst/>
          </a:prstGeom>
          <a:ln>
            <a:solidFill>
              <a:schemeClr val="accent2">
                <a:alpha val="8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箭头: 右 22"/>
          <p:cNvSpPr/>
          <p:nvPr/>
        </p:nvSpPr>
        <p:spPr>
          <a:xfrm>
            <a:off x="8941435" y="2117090"/>
            <a:ext cx="2583815" cy="1180465"/>
          </a:xfrm>
          <a:prstGeom prst="rightArrow">
            <a:avLst>
              <a:gd name="adj1" fmla="val 50000"/>
              <a:gd name="adj2" fmla="val 49038"/>
            </a:avLst>
          </a:prstGeom>
          <a:solidFill>
            <a:schemeClr val="accent2"/>
          </a:solidFill>
          <a:ln w="12700" cap="flat">
            <a:noFill/>
            <a:prstDash val="solid"/>
            <a:miter/>
          </a:ln>
          <a:effectLst>
            <a:outerShdw blurRad="127000" dist="63500" dir="2700000" algn="tl" rotWithShape="0">
              <a:schemeClr val="accent2">
                <a:alpha val="40000"/>
              </a:schemeClr>
            </a:outerShdw>
          </a:effectLst>
        </p:spPr>
        <p:txBody>
          <a:bodyPr wrap="square" lIns="91440" tIns="45720" rIns="91440" bIns="45720" rtlCol="0" anchor="ctr">
            <a:normAutofit/>
          </a:bodyPr>
          <a:p>
            <a:pPr algn="ctr"/>
            <a:r>
              <a:rPr lang="zh-CN" sz="1600" b="1" dirty="0" smtClean="0">
                <a:solidFill>
                  <a:schemeClr val="bg1"/>
                </a:solidFill>
                <a:sym typeface="+mn-ea"/>
              </a:rPr>
              <a:t>跨时间验证稳定性</a:t>
            </a:r>
            <a:endParaRPr lang="zh-CN" altLang="zh-CN" sz="1600" b="1" dirty="0" smtClean="0">
              <a:solidFill>
                <a:schemeClr val="bg1"/>
              </a:solidFill>
              <a:latin typeface="Calibri" panose="020F0502020204030204" pitchFamily="34" charset="0"/>
              <a:ea typeface="宋体" pitchFamily="2" charset="-122"/>
              <a:sym typeface="+mn-ea"/>
            </a:endParaRPr>
          </a:p>
        </p:txBody>
      </p:sp>
      <p:sp>
        <p:nvSpPr>
          <p:cNvPr id="27" name="矩形 26"/>
          <p:cNvSpPr/>
          <p:nvPr/>
        </p:nvSpPr>
        <p:spPr>
          <a:xfrm>
            <a:off x="9185910" y="1846580"/>
            <a:ext cx="1443355" cy="3683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 anchorCtr="0">
            <a:spAutoFit/>
          </a:bodyPr>
          <a:p>
            <a:pPr algn="ctr"/>
            <a:r>
              <a:rPr kumimoji="1" lang="en-US" altLang="zh-CN" b="1" dirty="0">
                <a:solidFill>
                  <a:schemeClr val="tx1"/>
                </a:solidFill>
                <a:latin typeface="Calibri" panose="020F0502020204030204" pitchFamily="34" charset="0"/>
                <a:ea typeface="宋体" pitchFamily="2" charset="-122"/>
              </a:rPr>
              <a:t>step4</a:t>
            </a:r>
            <a:endParaRPr kumimoji="1" lang="en-US" altLang="zh-CN" b="1" dirty="0">
              <a:solidFill>
                <a:schemeClr val="tx1"/>
              </a:solidFill>
              <a:latin typeface="Calibri" panose="020F0502020204030204" pitchFamily="34" charset="0"/>
              <a:ea typeface="宋体" pitchFamily="2" charset="-122"/>
            </a:endParaRPr>
          </a:p>
        </p:txBody>
      </p:sp>
      <p:sp>
        <p:nvSpPr>
          <p:cNvPr id="28" name="矩形 27"/>
          <p:cNvSpPr/>
          <p:nvPr/>
        </p:nvSpPr>
        <p:spPr>
          <a:xfrm>
            <a:off x="666750" y="4846320"/>
            <a:ext cx="2583815" cy="9359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 anchorCtr="0">
            <a:normAutofit/>
          </a:bodyPr>
          <a:p>
            <a:pPr marL="285750" indent="-285750" algn="l">
              <a:lnSpc>
                <a:spcPct val="120000"/>
              </a:lnSpc>
              <a:buFont typeface="Arial" panose="020B0604020202090204" pitchFamily="34" charset="0"/>
              <a:buChar char="•"/>
            </a:pPr>
            <a:r>
              <a:rPr kumimoji="1" lang="zh-CN" altLang="fr-FR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样本</a:t>
            </a:r>
            <a:endParaRPr kumimoji="1" lang="zh-CN" altLang="fr-FR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285750" indent="-285750" algn="l">
              <a:lnSpc>
                <a:spcPct val="120000"/>
              </a:lnSpc>
              <a:buFont typeface="Arial" panose="020B0604020202090204" pitchFamily="34" charset="0"/>
              <a:buChar char="•"/>
            </a:pPr>
            <a:r>
              <a:rPr kumimoji="1" lang="zh-CN" altLang="fr-FR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特征</a:t>
            </a:r>
            <a:endParaRPr kumimoji="1" lang="zh-CN" altLang="fr-FR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285750" indent="-285750" algn="l">
              <a:lnSpc>
                <a:spcPct val="120000"/>
              </a:lnSpc>
              <a:buFont typeface="Arial" panose="020B0604020202090204" pitchFamily="34" charset="0"/>
              <a:buChar char="•"/>
            </a:pPr>
            <a:r>
              <a:rPr kumimoji="1" lang="en-US" altLang="zh-CN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Y</a:t>
            </a:r>
            <a:r>
              <a:rPr kumimoji="1" lang="zh-CN" altLang="en-US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变量</a:t>
            </a:r>
            <a:endParaRPr kumimoji="1" lang="zh-CN" altLang="en-US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33" name="矩形 32"/>
          <p:cNvSpPr/>
          <p:nvPr/>
        </p:nvSpPr>
        <p:spPr>
          <a:xfrm>
            <a:off x="3425190" y="4162425"/>
            <a:ext cx="2583815" cy="6838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 anchorCtr="0">
            <a:normAutofit/>
          </a:bodyPr>
          <a:p>
            <a:pPr algn="l">
              <a:lnSpc>
                <a:spcPct val="120000"/>
              </a:lnSpc>
            </a:pPr>
            <a:r>
              <a:rPr kumimoji="1" lang="zh-CN" altLang="fr-FR" sz="140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每个特征或交叉特征的每一个取值，如连续变量需分箱：</a:t>
            </a:r>
            <a:endParaRPr kumimoji="1" lang="zh-CN" altLang="fr-FR" sz="140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algn="l">
              <a:lnSpc>
                <a:spcPct val="120000"/>
              </a:lnSpc>
            </a:pPr>
            <a:endParaRPr kumimoji="1" lang="zh-CN" altLang="en-US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3425190" y="4846320"/>
            <a:ext cx="2583815" cy="14154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 anchorCtr="0">
            <a:normAutofit/>
          </a:bodyPr>
          <a:p>
            <a:pPr marL="285750" indent="-285750" algn="l">
              <a:lnSpc>
                <a:spcPct val="120000"/>
              </a:lnSpc>
              <a:buFont typeface="Arial" panose="020B0604020202090204" pitchFamily="34" charset="0"/>
              <a:buChar char="•"/>
            </a:pPr>
            <a:r>
              <a:rPr kumimoji="1" lang="zh-CN" altLang="fr-FR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样本量、占比</a:t>
            </a:r>
            <a:endParaRPr kumimoji="1" lang="zh-CN" altLang="fr-FR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285750" indent="-285750" algn="l">
              <a:lnSpc>
                <a:spcPct val="120000"/>
              </a:lnSpc>
              <a:buFont typeface="Arial" panose="020B0604020202090204" pitchFamily="34" charset="0"/>
              <a:buChar char="•"/>
            </a:pPr>
            <a:r>
              <a:rPr kumimoji="1" lang="zh-CN" altLang="fr-FR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正样本量、占比</a:t>
            </a:r>
            <a:endParaRPr kumimoji="1" lang="zh-CN" altLang="fr-FR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285750" indent="-285750" algn="l">
              <a:lnSpc>
                <a:spcPct val="120000"/>
              </a:lnSpc>
              <a:buFont typeface="Arial" panose="020B0604020202090204" pitchFamily="34" charset="0"/>
              <a:buChar char="•"/>
            </a:pPr>
            <a:r>
              <a:rPr kumimoji="1" lang="zh-CN" altLang="fr-FR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精确率、召回率</a:t>
            </a:r>
            <a:endParaRPr kumimoji="1" lang="zh-CN" altLang="fr-FR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285750" indent="-285750" algn="l">
              <a:lnSpc>
                <a:spcPct val="120000"/>
              </a:lnSpc>
              <a:buFont typeface="Arial" panose="020B0604020202090204" pitchFamily="34" charset="0"/>
              <a:buChar char="•"/>
            </a:pPr>
            <a:r>
              <a:rPr kumimoji="1" lang="en-US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IV</a:t>
            </a:r>
            <a:endParaRPr kumimoji="1" lang="en-US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285750" indent="-285750" algn="l">
              <a:lnSpc>
                <a:spcPct val="120000"/>
              </a:lnSpc>
              <a:buFont typeface="Arial" panose="020B0604020202090204" pitchFamily="34" charset="0"/>
              <a:buChar char="•"/>
            </a:pPr>
            <a:r>
              <a:rPr kumimoji="1" lang="en-US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...</a:t>
            </a:r>
            <a:endParaRPr kumimoji="1" lang="en-US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36" name="矩形 35"/>
          <p:cNvSpPr/>
          <p:nvPr/>
        </p:nvSpPr>
        <p:spPr>
          <a:xfrm>
            <a:off x="6183630" y="4162425"/>
            <a:ext cx="2583815" cy="6838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 anchorCtr="0">
            <a:normAutofit/>
          </a:bodyPr>
          <a:p>
            <a:pPr algn="l">
              <a:lnSpc>
                <a:spcPct val="120000"/>
              </a:lnSpc>
            </a:pPr>
            <a:r>
              <a:rPr kumimoji="1" lang="zh-CN" altLang="en-US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设定</a:t>
            </a:r>
            <a:r>
              <a:rPr kumimoji="1" lang="en-US" altLang="zh-CN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IV</a:t>
            </a:r>
            <a:r>
              <a:rPr kumimoji="1" lang="zh-CN" altLang="en-US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、召回率的阈值，筛选特征及规则</a:t>
            </a:r>
            <a:endParaRPr kumimoji="1" lang="zh-CN" altLang="en-US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37" name="矩形 36"/>
          <p:cNvSpPr/>
          <p:nvPr/>
        </p:nvSpPr>
        <p:spPr>
          <a:xfrm>
            <a:off x="6183630" y="4846320"/>
            <a:ext cx="2583815" cy="14154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 anchorCtr="0">
            <a:normAutofit/>
          </a:bodyPr>
          <a:p>
            <a:pPr marL="285750" indent="-285750" algn="l">
              <a:lnSpc>
                <a:spcPct val="120000"/>
              </a:lnSpc>
              <a:buFont typeface="Arial" panose="020B0604020202090204" pitchFamily="34" charset="0"/>
              <a:buChar char="•"/>
            </a:pPr>
            <a:r>
              <a:rPr kumimoji="1" lang="zh-CN" altLang="fr-FR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样本量、占比</a:t>
            </a:r>
            <a:endParaRPr kumimoji="1" lang="zh-CN" altLang="fr-FR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285750" indent="-285750" algn="l">
              <a:lnSpc>
                <a:spcPct val="120000"/>
              </a:lnSpc>
              <a:buFont typeface="Arial" panose="020B0604020202090204" pitchFamily="34" charset="0"/>
              <a:buChar char="•"/>
            </a:pPr>
            <a:r>
              <a:rPr kumimoji="1" lang="zh-CN" altLang="fr-FR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正样本量、占比</a:t>
            </a:r>
            <a:endParaRPr kumimoji="1" lang="zh-CN" altLang="fr-FR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285750" indent="-285750" algn="l">
              <a:lnSpc>
                <a:spcPct val="120000"/>
              </a:lnSpc>
              <a:buFont typeface="Arial" panose="020B0604020202090204" pitchFamily="34" charset="0"/>
              <a:buChar char="•"/>
            </a:pPr>
            <a:r>
              <a:rPr kumimoji="1" lang="zh-CN" altLang="fr-FR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精确率、召回率</a:t>
            </a:r>
            <a:endParaRPr kumimoji="1" lang="zh-CN" altLang="fr-FR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285750" indent="-285750" algn="l">
              <a:lnSpc>
                <a:spcPct val="120000"/>
              </a:lnSpc>
              <a:buFont typeface="Arial" panose="020B0604020202090204" pitchFamily="34" charset="0"/>
              <a:buChar char="•"/>
            </a:pPr>
            <a:r>
              <a:rPr kumimoji="1" lang="en-US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IV</a:t>
            </a:r>
            <a:endParaRPr kumimoji="1" lang="en-US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285750" indent="-285750" algn="l">
              <a:lnSpc>
                <a:spcPct val="120000"/>
              </a:lnSpc>
              <a:buFont typeface="Arial" panose="020B0604020202090204" pitchFamily="34" charset="0"/>
              <a:buChar char="•"/>
            </a:pPr>
            <a:r>
              <a:rPr kumimoji="1" lang="en-US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...</a:t>
            </a:r>
            <a:endParaRPr kumimoji="1" lang="en-US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38" name="矩形 37"/>
          <p:cNvSpPr/>
          <p:nvPr/>
        </p:nvSpPr>
        <p:spPr>
          <a:xfrm>
            <a:off x="8941435" y="4162425"/>
            <a:ext cx="2583815" cy="6838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 anchorCtr="0">
            <a:normAutofit/>
          </a:bodyPr>
          <a:p>
            <a:pPr algn="l">
              <a:lnSpc>
                <a:spcPct val="120000"/>
              </a:lnSpc>
            </a:pPr>
            <a:r>
              <a:rPr kumimoji="1" lang="zh-CN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设置多个时间窗，验证规则稳定性</a:t>
            </a:r>
            <a:endParaRPr kumimoji="1" lang="zh-CN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小样本解决之招式三：融合模型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-</a:t>
            </a:r>
            <a:r>
              <a:rPr lang="zh-CN" altLang="en-US" sz="2800" b="1" smtClean="0">
                <a:solidFill>
                  <a:srgbClr val="F05A23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比赛王道之选</a:t>
            </a:r>
            <a:endParaRPr lang="zh-CN" altLang="en-US" sz="2800" b="1" smtClean="0">
              <a:solidFill>
                <a:srgbClr val="F05A23"/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938530" y="112522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dirty="0" smtClean="0"/>
              <a:t>模型融合常用方法</a:t>
            </a:r>
            <a:endParaRPr lang="zh-CN" altLang="en-US" dirty="0" smtClean="0"/>
          </a:p>
        </p:txBody>
      </p:sp>
      <p:sp>
        <p:nvSpPr>
          <p:cNvPr id="7" name="文本框 6"/>
          <p:cNvSpPr txBox="1"/>
          <p:nvPr/>
        </p:nvSpPr>
        <p:spPr>
          <a:xfrm>
            <a:off x="1339215" y="1584960"/>
            <a:ext cx="2453640" cy="354965"/>
          </a:xfrm>
          <a:prstGeom prst="rect">
            <a:avLst/>
          </a:prstGeom>
        </p:spPr>
        <p:txBody>
          <a:bodyPr vert="horz" wrap="square" lIns="91440" tIns="45720" rIns="91440" bIns="45720" rtlCol="0"/>
          <a:p>
            <a:pPr marL="106045" indent="0">
              <a:buFont typeface="Arial" panose="020B0604020202090204" pitchFamily="34" charset="0"/>
              <a:buNone/>
            </a:pPr>
            <a:r>
              <a:rPr lang="en-US" altLang="zh-CN" sz="1600" dirty="0" smtClean="0"/>
              <a:t>voting</a:t>
            </a:r>
            <a:r>
              <a:rPr lang="zh-CN" altLang="en-US" sz="1600" dirty="0" smtClean="0"/>
              <a:t>投票（分类模型）</a:t>
            </a:r>
            <a:endParaRPr lang="zh-CN" altLang="en-US" sz="1600" dirty="0" smtClean="0"/>
          </a:p>
        </p:txBody>
      </p:sp>
      <p:sp>
        <p:nvSpPr>
          <p:cNvPr id="10" name="文本框 9"/>
          <p:cNvSpPr txBox="1"/>
          <p:nvPr/>
        </p:nvSpPr>
        <p:spPr>
          <a:xfrm>
            <a:off x="1158240" y="3891280"/>
            <a:ext cx="4340860" cy="1732915"/>
          </a:xfrm>
          <a:prstGeom prst="rect">
            <a:avLst/>
          </a:prstGeom>
        </p:spPr>
        <p:txBody>
          <a:bodyPr vert="horz" wrap="square" lIns="91440" tIns="45720" rIns="91440" bIns="45720" rtlCol="0"/>
          <a:p>
            <a:pPr marL="391795" indent="-285750" fontAlgn="auto">
              <a:lnSpc>
                <a:spcPts val="2300"/>
              </a:lnSpc>
              <a:buFont typeface="Arial" panose="020B0604020202090204" pitchFamily="34" charset="0"/>
              <a:buChar char="•"/>
            </a:pPr>
            <a:r>
              <a:rPr lang="zh-CN" altLang="en-US" sz="1400" b="1" dirty="0" smtClean="0"/>
              <a:t>硬投票</a:t>
            </a:r>
            <a:r>
              <a:rPr lang="zh-CN" altLang="en-US" sz="1400" dirty="0" smtClean="0"/>
              <a:t>：最终结果为</a:t>
            </a:r>
            <a:r>
              <a:rPr lang="en-US" altLang="zh-CN" sz="1400" dirty="0" smtClean="0"/>
              <a:t>0</a:t>
            </a:r>
            <a:endParaRPr lang="en-US" altLang="zh-CN" sz="1400" dirty="0" smtClean="0"/>
          </a:p>
          <a:p>
            <a:pPr marL="106045" indent="0" fontAlgn="auto">
              <a:lnSpc>
                <a:spcPts val="2300"/>
              </a:lnSpc>
              <a:buFont typeface="Arial" panose="020B0604020202090204" pitchFamily="34" charset="0"/>
              <a:buNone/>
            </a:pPr>
            <a:r>
              <a:rPr lang="en-US" altLang="zh-CN" sz="1400" dirty="0" smtClean="0"/>
              <a:t>      </a:t>
            </a:r>
            <a:r>
              <a:rPr lang="zh-CN" altLang="en-US" sz="1400" dirty="0" smtClean="0"/>
              <a:t>弊端：未考虑概率值大小</a:t>
            </a:r>
            <a:endParaRPr lang="zh-CN" altLang="en-US" sz="1400" dirty="0" smtClean="0"/>
          </a:p>
          <a:p>
            <a:pPr marL="106045" indent="0" fontAlgn="auto">
              <a:lnSpc>
                <a:spcPts val="2300"/>
              </a:lnSpc>
              <a:buFont typeface="Arial" panose="020B0604020202090204" pitchFamily="34" charset="0"/>
              <a:buNone/>
            </a:pPr>
            <a:endParaRPr lang="en-US" altLang="zh-CN" sz="1400" dirty="0" smtClean="0"/>
          </a:p>
          <a:p>
            <a:pPr marL="391795" indent="-285750" fontAlgn="auto">
              <a:lnSpc>
                <a:spcPts val="2300"/>
              </a:lnSpc>
              <a:buFont typeface="Arial" panose="020B0604020202090204" pitchFamily="34" charset="0"/>
              <a:buChar char="•"/>
            </a:pPr>
            <a:r>
              <a:rPr lang="zh-CN" altLang="en-US" sz="1400" b="1" dirty="0" smtClean="0"/>
              <a:t>软投票</a:t>
            </a:r>
            <a:r>
              <a:rPr lang="zh-CN" altLang="en-US" sz="1400" dirty="0" smtClean="0"/>
              <a:t>：</a:t>
            </a:r>
            <a:r>
              <a:rPr lang="en-US" altLang="zh-CN" sz="1400" dirty="0" smtClean="0"/>
              <a:t>(0.9+0.49+0.4+0.8+0.2)/5=0.558</a:t>
            </a:r>
            <a:r>
              <a:rPr lang="zh-CN" altLang="en-US" sz="1400" dirty="0" smtClean="0"/>
              <a:t>，大于阈值</a:t>
            </a:r>
            <a:r>
              <a:rPr lang="en-US" altLang="zh-CN" sz="1400" dirty="0" smtClean="0"/>
              <a:t>0.5</a:t>
            </a:r>
            <a:r>
              <a:rPr lang="zh-CN" altLang="en-US" sz="1400" dirty="0" smtClean="0"/>
              <a:t>，最终结果为</a:t>
            </a:r>
            <a:r>
              <a:rPr lang="en-US" altLang="zh-CN" sz="1400" dirty="0" smtClean="0"/>
              <a:t>1</a:t>
            </a:r>
            <a:endParaRPr lang="en-US" altLang="zh-CN" sz="1400" dirty="0" smtClean="0"/>
          </a:p>
        </p:txBody>
      </p:sp>
      <p:graphicFrame>
        <p:nvGraphicFramePr>
          <p:cNvPr id="13" name="表格 12"/>
          <p:cNvGraphicFramePr/>
          <p:nvPr/>
        </p:nvGraphicFramePr>
        <p:xfrm>
          <a:off x="1735455" y="1961515"/>
          <a:ext cx="2057400" cy="129540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685800"/>
                <a:gridCol w="685800"/>
                <a:gridCol w="685800"/>
              </a:tblGrid>
              <a:tr h="2159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/>
                        <a:t>模型</a:t>
                      </a:r>
                      <a:endParaRPr lang="zh-CN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/>
                        <a:t>样本</a:t>
                      </a:r>
                      <a:endParaRPr lang="zh-CN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/>
                        <a:t>阈值0.5</a:t>
                      </a:r>
                      <a:endParaRPr lang="zh-CN" altLang="en-US" sz="1200"/>
                    </a:p>
                  </a:txBody>
                  <a:tcPr marL="12700" marR="12700" marT="12700" vert="horz" anchor="ctr" anchorCtr="0"/>
                </a:tc>
              </a:tr>
              <a:tr h="21590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/>
                        <a:t>模型1</a:t>
                      </a:r>
                      <a:endParaRPr lang="zh-CN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0.9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1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</a:tr>
              <a:tr h="21590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/>
                        <a:t>模型2</a:t>
                      </a:r>
                      <a:endParaRPr lang="zh-CN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0.49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0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</a:tr>
              <a:tr h="21590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/>
                        <a:t>模型3</a:t>
                      </a:r>
                      <a:endParaRPr lang="zh-CN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0.4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0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</a:tr>
              <a:tr h="21590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/>
                        <a:t>模型4</a:t>
                      </a:r>
                      <a:endParaRPr lang="zh-CN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0.8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1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</a:tr>
              <a:tr h="21590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/>
                        <a:t>模型5</a:t>
                      </a:r>
                      <a:endParaRPr lang="zh-CN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0.2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0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</a:tr>
            </a:tbl>
          </a:graphicData>
        </a:graphic>
      </p:graphicFrame>
      <p:sp>
        <p:nvSpPr>
          <p:cNvPr id="28" name="sync-symbol_73424"/>
          <p:cNvSpPr>
            <a:spLocks noChangeAspect="1"/>
          </p:cNvSpPr>
          <p:nvPr/>
        </p:nvSpPr>
        <p:spPr bwMode="auto">
          <a:xfrm>
            <a:off x="1052830" y="1575435"/>
            <a:ext cx="316230" cy="382270"/>
          </a:xfrm>
          <a:custGeom>
            <a:avLst/>
            <a:gdLst>
              <a:gd name="connsiteX0" fmla="*/ 404210 w 503090"/>
              <a:gd name="connsiteY0" fmla="*/ 172161 h 607710"/>
              <a:gd name="connsiteX1" fmla="*/ 398125 w 503090"/>
              <a:gd name="connsiteY1" fmla="*/ 175935 h 607710"/>
              <a:gd name="connsiteX2" fmla="*/ 401997 w 503090"/>
              <a:gd name="connsiteY2" fmla="*/ 182010 h 607710"/>
              <a:gd name="connsiteX3" fmla="*/ 444964 w 503090"/>
              <a:gd name="connsiteY3" fmla="*/ 191675 h 607710"/>
              <a:gd name="connsiteX4" fmla="*/ 446070 w 503090"/>
              <a:gd name="connsiteY4" fmla="*/ 191767 h 607710"/>
              <a:gd name="connsiteX5" fmla="*/ 451049 w 503090"/>
              <a:gd name="connsiteY5" fmla="*/ 187809 h 607710"/>
              <a:gd name="connsiteX6" fmla="*/ 447177 w 503090"/>
              <a:gd name="connsiteY6" fmla="*/ 181734 h 607710"/>
              <a:gd name="connsiteX7" fmla="*/ 394252 w 503090"/>
              <a:gd name="connsiteY7" fmla="*/ 138289 h 607710"/>
              <a:gd name="connsiteX8" fmla="*/ 388167 w 503090"/>
              <a:gd name="connsiteY8" fmla="*/ 142155 h 607710"/>
              <a:gd name="connsiteX9" fmla="*/ 392039 w 503090"/>
              <a:gd name="connsiteY9" fmla="*/ 148137 h 607710"/>
              <a:gd name="connsiteX10" fmla="*/ 468475 w 503090"/>
              <a:gd name="connsiteY10" fmla="*/ 165350 h 607710"/>
              <a:gd name="connsiteX11" fmla="*/ 469582 w 503090"/>
              <a:gd name="connsiteY11" fmla="*/ 165442 h 607710"/>
              <a:gd name="connsiteX12" fmla="*/ 474561 w 503090"/>
              <a:gd name="connsiteY12" fmla="*/ 161484 h 607710"/>
              <a:gd name="connsiteX13" fmla="*/ 470688 w 503090"/>
              <a:gd name="connsiteY13" fmla="*/ 155409 h 607710"/>
              <a:gd name="connsiteX14" fmla="*/ 388997 w 503090"/>
              <a:gd name="connsiteY14" fmla="*/ 97697 h 607710"/>
              <a:gd name="connsiteX15" fmla="*/ 410296 w 503090"/>
              <a:gd name="connsiteY15" fmla="*/ 102483 h 607710"/>
              <a:gd name="connsiteX16" fmla="*/ 409281 w 503090"/>
              <a:gd name="connsiteY16" fmla="*/ 107086 h 607710"/>
              <a:gd name="connsiteX17" fmla="*/ 419700 w 503090"/>
              <a:gd name="connsiteY17" fmla="*/ 123654 h 607710"/>
              <a:gd name="connsiteX18" fmla="*/ 452616 w 503090"/>
              <a:gd name="connsiteY18" fmla="*/ 131017 h 607710"/>
              <a:gd name="connsiteX19" fmla="*/ 470411 w 503090"/>
              <a:gd name="connsiteY19" fmla="*/ 120708 h 607710"/>
              <a:gd name="connsiteX20" fmla="*/ 471426 w 503090"/>
              <a:gd name="connsiteY20" fmla="*/ 116106 h 607710"/>
              <a:gd name="connsiteX21" fmla="*/ 492817 w 503090"/>
              <a:gd name="connsiteY21" fmla="*/ 120892 h 607710"/>
              <a:gd name="connsiteX22" fmla="*/ 501115 w 503090"/>
              <a:gd name="connsiteY22" fmla="*/ 126691 h 607710"/>
              <a:gd name="connsiteX23" fmla="*/ 502774 w 503090"/>
              <a:gd name="connsiteY23" fmla="*/ 136632 h 607710"/>
              <a:gd name="connsiteX24" fmla="*/ 469213 w 503090"/>
              <a:gd name="connsiteY24" fmla="*/ 285929 h 607710"/>
              <a:gd name="connsiteX25" fmla="*/ 453446 w 503090"/>
              <a:gd name="connsiteY25" fmla="*/ 295869 h 607710"/>
              <a:gd name="connsiteX26" fmla="*/ 411494 w 503090"/>
              <a:gd name="connsiteY26" fmla="*/ 286481 h 607710"/>
              <a:gd name="connsiteX27" fmla="*/ 428736 w 503090"/>
              <a:gd name="connsiteY27" fmla="*/ 219104 h 607710"/>
              <a:gd name="connsiteX28" fmla="*/ 359584 w 503090"/>
              <a:gd name="connsiteY28" fmla="*/ 199498 h 607710"/>
              <a:gd name="connsiteX29" fmla="*/ 351655 w 503090"/>
              <a:gd name="connsiteY29" fmla="*/ 203917 h 607710"/>
              <a:gd name="connsiteX30" fmla="*/ 373322 w 503090"/>
              <a:gd name="connsiteY30" fmla="*/ 107546 h 607710"/>
              <a:gd name="connsiteX31" fmla="*/ 388997 w 503090"/>
              <a:gd name="connsiteY31" fmla="*/ 97697 h 607710"/>
              <a:gd name="connsiteX32" fmla="*/ 427054 w 503090"/>
              <a:gd name="connsiteY32" fmla="*/ 87148 h 607710"/>
              <a:gd name="connsiteX33" fmla="*/ 427884 w 503090"/>
              <a:gd name="connsiteY33" fmla="*/ 87240 h 607710"/>
              <a:gd name="connsiteX34" fmla="*/ 461971 w 503090"/>
              <a:gd name="connsiteY34" fmla="*/ 94892 h 607710"/>
              <a:gd name="connsiteX35" fmla="*/ 464827 w 503090"/>
              <a:gd name="connsiteY35" fmla="*/ 99317 h 607710"/>
              <a:gd name="connsiteX36" fmla="*/ 460404 w 503090"/>
              <a:gd name="connsiteY36" fmla="*/ 118585 h 607710"/>
              <a:gd name="connsiteX37" fmla="*/ 458838 w 503090"/>
              <a:gd name="connsiteY37" fmla="*/ 120890 h 607710"/>
              <a:gd name="connsiteX38" fmla="*/ 456904 w 503090"/>
              <a:gd name="connsiteY38" fmla="*/ 121443 h 607710"/>
              <a:gd name="connsiteX39" fmla="*/ 456074 w 503090"/>
              <a:gd name="connsiteY39" fmla="*/ 121351 h 607710"/>
              <a:gd name="connsiteX40" fmla="*/ 421895 w 503090"/>
              <a:gd name="connsiteY40" fmla="*/ 113699 h 607710"/>
              <a:gd name="connsiteX41" fmla="*/ 419132 w 503090"/>
              <a:gd name="connsiteY41" fmla="*/ 109274 h 607710"/>
              <a:gd name="connsiteX42" fmla="*/ 423462 w 503090"/>
              <a:gd name="connsiteY42" fmla="*/ 90098 h 607710"/>
              <a:gd name="connsiteX43" fmla="*/ 427054 w 503090"/>
              <a:gd name="connsiteY43" fmla="*/ 87148 h 607710"/>
              <a:gd name="connsiteX44" fmla="*/ 39020 w 503090"/>
              <a:gd name="connsiteY44" fmla="*/ 50484 h 607710"/>
              <a:gd name="connsiteX45" fmla="*/ 57224 w 503090"/>
              <a:gd name="connsiteY45" fmla="*/ 65108 h 607710"/>
              <a:gd name="connsiteX46" fmla="*/ 88655 w 503090"/>
              <a:gd name="connsiteY46" fmla="*/ 122267 h 607710"/>
              <a:gd name="connsiteX47" fmla="*/ 161103 w 503090"/>
              <a:gd name="connsiteY47" fmla="*/ 155404 h 607710"/>
              <a:gd name="connsiteX48" fmla="*/ 253736 w 503090"/>
              <a:gd name="connsiteY48" fmla="*/ 155404 h 607710"/>
              <a:gd name="connsiteX49" fmla="*/ 296136 w 503090"/>
              <a:gd name="connsiteY49" fmla="*/ 177678 h 607710"/>
              <a:gd name="connsiteX50" fmla="*/ 336138 w 503090"/>
              <a:gd name="connsiteY50" fmla="*/ 235850 h 607710"/>
              <a:gd name="connsiteX51" fmla="*/ 369413 w 503090"/>
              <a:gd name="connsiteY51" fmla="*/ 217257 h 607710"/>
              <a:gd name="connsiteX52" fmla="*/ 410890 w 503090"/>
              <a:gd name="connsiteY52" fmla="*/ 228947 h 607710"/>
              <a:gd name="connsiteX53" fmla="*/ 399184 w 503090"/>
              <a:gd name="connsiteY53" fmla="*/ 270367 h 607710"/>
              <a:gd name="connsiteX54" fmla="*/ 341577 w 503090"/>
              <a:gd name="connsiteY54" fmla="*/ 302491 h 607710"/>
              <a:gd name="connsiteX55" fmla="*/ 326737 w 503090"/>
              <a:gd name="connsiteY55" fmla="*/ 306356 h 607710"/>
              <a:gd name="connsiteX56" fmla="*/ 301574 w 503090"/>
              <a:gd name="connsiteY56" fmla="*/ 293194 h 607710"/>
              <a:gd name="connsiteX57" fmla="*/ 283416 w 503090"/>
              <a:gd name="connsiteY57" fmla="*/ 266777 h 607710"/>
              <a:gd name="connsiteX58" fmla="*/ 283416 w 503090"/>
              <a:gd name="connsiteY58" fmla="*/ 576875 h 607710"/>
              <a:gd name="connsiteX59" fmla="*/ 252630 w 503090"/>
              <a:gd name="connsiteY59" fmla="*/ 607710 h 607710"/>
              <a:gd name="connsiteX60" fmla="*/ 221752 w 503090"/>
              <a:gd name="connsiteY60" fmla="*/ 576875 h 607710"/>
              <a:gd name="connsiteX61" fmla="*/ 221752 w 503090"/>
              <a:gd name="connsiteY61" fmla="*/ 392786 h 607710"/>
              <a:gd name="connsiteX62" fmla="*/ 197419 w 503090"/>
              <a:gd name="connsiteY62" fmla="*/ 392786 h 607710"/>
              <a:gd name="connsiteX63" fmla="*/ 197419 w 503090"/>
              <a:gd name="connsiteY63" fmla="*/ 576875 h 607710"/>
              <a:gd name="connsiteX64" fmla="*/ 166541 w 503090"/>
              <a:gd name="connsiteY64" fmla="*/ 607710 h 607710"/>
              <a:gd name="connsiteX65" fmla="*/ 135663 w 503090"/>
              <a:gd name="connsiteY65" fmla="*/ 576875 h 607710"/>
              <a:gd name="connsiteX66" fmla="*/ 135663 w 503090"/>
              <a:gd name="connsiteY66" fmla="*/ 210722 h 607710"/>
              <a:gd name="connsiteX67" fmla="*/ 53998 w 503090"/>
              <a:gd name="connsiteY67" fmla="*/ 173352 h 607710"/>
              <a:gd name="connsiteX68" fmla="*/ 39988 w 503090"/>
              <a:gd name="connsiteY68" fmla="*/ 160374 h 607710"/>
              <a:gd name="connsiteX69" fmla="*/ 3764 w 503090"/>
              <a:gd name="connsiteY69" fmla="*/ 94378 h 607710"/>
              <a:gd name="connsiteX70" fmla="*/ 15839 w 503090"/>
              <a:gd name="connsiteY70" fmla="*/ 53050 h 607710"/>
              <a:gd name="connsiteX71" fmla="*/ 39020 w 503090"/>
              <a:gd name="connsiteY71" fmla="*/ 50484 h 607710"/>
              <a:gd name="connsiteX72" fmla="*/ 209572 w 503090"/>
              <a:gd name="connsiteY72" fmla="*/ 0 h 607710"/>
              <a:gd name="connsiteX73" fmla="*/ 276715 w 503090"/>
              <a:gd name="connsiteY73" fmla="*/ 67073 h 607710"/>
              <a:gd name="connsiteX74" fmla="*/ 209572 w 503090"/>
              <a:gd name="connsiteY74" fmla="*/ 134146 h 607710"/>
              <a:gd name="connsiteX75" fmla="*/ 142429 w 503090"/>
              <a:gd name="connsiteY75" fmla="*/ 67073 h 607710"/>
              <a:gd name="connsiteX76" fmla="*/ 209572 w 503090"/>
              <a:gd name="connsiteY76" fmla="*/ 0 h 607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503090" h="607710">
                <a:moveTo>
                  <a:pt x="404210" y="172161"/>
                </a:moveTo>
                <a:cubicBezTo>
                  <a:pt x="401352" y="171517"/>
                  <a:pt x="398770" y="173266"/>
                  <a:pt x="398125" y="175935"/>
                </a:cubicBezTo>
                <a:cubicBezTo>
                  <a:pt x="397479" y="178696"/>
                  <a:pt x="399231" y="181458"/>
                  <a:pt x="401997" y="182010"/>
                </a:cubicBezTo>
                <a:lnTo>
                  <a:pt x="444964" y="191675"/>
                </a:lnTo>
                <a:cubicBezTo>
                  <a:pt x="445332" y="191767"/>
                  <a:pt x="445701" y="191767"/>
                  <a:pt x="446070" y="191767"/>
                </a:cubicBezTo>
                <a:cubicBezTo>
                  <a:pt x="448375" y="191767"/>
                  <a:pt x="450496" y="190202"/>
                  <a:pt x="451049" y="187809"/>
                </a:cubicBezTo>
                <a:cubicBezTo>
                  <a:pt x="451602" y="185139"/>
                  <a:pt x="449943" y="182378"/>
                  <a:pt x="447177" y="181734"/>
                </a:cubicBezTo>
                <a:close/>
                <a:moveTo>
                  <a:pt x="394252" y="138289"/>
                </a:moveTo>
                <a:cubicBezTo>
                  <a:pt x="391394" y="137644"/>
                  <a:pt x="388812" y="139393"/>
                  <a:pt x="388167" y="142155"/>
                </a:cubicBezTo>
                <a:cubicBezTo>
                  <a:pt x="387522" y="144824"/>
                  <a:pt x="389273" y="147585"/>
                  <a:pt x="392039" y="148137"/>
                </a:cubicBezTo>
                <a:lnTo>
                  <a:pt x="468475" y="165350"/>
                </a:lnTo>
                <a:cubicBezTo>
                  <a:pt x="468844" y="165442"/>
                  <a:pt x="469213" y="165442"/>
                  <a:pt x="469582" y="165442"/>
                </a:cubicBezTo>
                <a:cubicBezTo>
                  <a:pt x="471887" y="165442"/>
                  <a:pt x="474007" y="163877"/>
                  <a:pt x="474561" y="161484"/>
                </a:cubicBezTo>
                <a:cubicBezTo>
                  <a:pt x="475114" y="158723"/>
                  <a:pt x="473454" y="156053"/>
                  <a:pt x="470688" y="155409"/>
                </a:cubicBezTo>
                <a:close/>
                <a:moveTo>
                  <a:pt x="388997" y="97697"/>
                </a:moveTo>
                <a:lnTo>
                  <a:pt x="410296" y="102483"/>
                </a:lnTo>
                <a:lnTo>
                  <a:pt x="409281" y="107086"/>
                </a:lnTo>
                <a:cubicBezTo>
                  <a:pt x="407622" y="114541"/>
                  <a:pt x="412324" y="121905"/>
                  <a:pt x="419700" y="123654"/>
                </a:cubicBezTo>
                <a:cubicBezTo>
                  <a:pt x="419700" y="123654"/>
                  <a:pt x="443120" y="129084"/>
                  <a:pt x="452616" y="131017"/>
                </a:cubicBezTo>
                <a:cubicBezTo>
                  <a:pt x="465433" y="133594"/>
                  <a:pt x="469674" y="124298"/>
                  <a:pt x="470411" y="120708"/>
                </a:cubicBezTo>
                <a:lnTo>
                  <a:pt x="471426" y="116106"/>
                </a:lnTo>
                <a:lnTo>
                  <a:pt x="492817" y="120892"/>
                </a:lnTo>
                <a:cubicBezTo>
                  <a:pt x="496228" y="121721"/>
                  <a:pt x="499179" y="123746"/>
                  <a:pt x="501115" y="126691"/>
                </a:cubicBezTo>
                <a:cubicBezTo>
                  <a:pt x="502959" y="129636"/>
                  <a:pt x="503512" y="133226"/>
                  <a:pt x="502774" y="136632"/>
                </a:cubicBezTo>
                <a:lnTo>
                  <a:pt x="469213" y="285929"/>
                </a:lnTo>
                <a:cubicBezTo>
                  <a:pt x="467553" y="293016"/>
                  <a:pt x="460546" y="297434"/>
                  <a:pt x="453446" y="295869"/>
                </a:cubicBezTo>
                <a:lnTo>
                  <a:pt x="411494" y="286481"/>
                </a:lnTo>
                <a:cubicBezTo>
                  <a:pt x="434084" y="272122"/>
                  <a:pt x="441921" y="242667"/>
                  <a:pt x="428736" y="219104"/>
                </a:cubicBezTo>
                <a:cubicBezTo>
                  <a:pt x="414998" y="194620"/>
                  <a:pt x="384018" y="185876"/>
                  <a:pt x="359584" y="199498"/>
                </a:cubicBezTo>
                <a:lnTo>
                  <a:pt x="351655" y="203917"/>
                </a:lnTo>
                <a:lnTo>
                  <a:pt x="373322" y="107546"/>
                </a:lnTo>
                <a:cubicBezTo>
                  <a:pt x="374890" y="100550"/>
                  <a:pt x="381897" y="96040"/>
                  <a:pt x="388997" y="97697"/>
                </a:cubicBezTo>
                <a:close/>
                <a:moveTo>
                  <a:pt x="427054" y="87148"/>
                </a:moveTo>
                <a:cubicBezTo>
                  <a:pt x="427331" y="87148"/>
                  <a:pt x="427607" y="87240"/>
                  <a:pt x="427884" y="87240"/>
                </a:cubicBezTo>
                <a:lnTo>
                  <a:pt x="461971" y="94892"/>
                </a:lnTo>
                <a:cubicBezTo>
                  <a:pt x="463997" y="95353"/>
                  <a:pt x="465195" y="97381"/>
                  <a:pt x="464827" y="99317"/>
                </a:cubicBezTo>
                <a:lnTo>
                  <a:pt x="460404" y="118585"/>
                </a:lnTo>
                <a:cubicBezTo>
                  <a:pt x="460220" y="119599"/>
                  <a:pt x="459667" y="120429"/>
                  <a:pt x="458838" y="120890"/>
                </a:cubicBezTo>
                <a:cubicBezTo>
                  <a:pt x="458286" y="121259"/>
                  <a:pt x="457549" y="121443"/>
                  <a:pt x="456904" y="121443"/>
                </a:cubicBezTo>
                <a:cubicBezTo>
                  <a:pt x="456627" y="121443"/>
                  <a:pt x="456351" y="121443"/>
                  <a:pt x="456074" y="121351"/>
                </a:cubicBezTo>
                <a:lnTo>
                  <a:pt x="421895" y="113699"/>
                </a:lnTo>
                <a:cubicBezTo>
                  <a:pt x="419961" y="113238"/>
                  <a:pt x="418763" y="111302"/>
                  <a:pt x="419132" y="109274"/>
                </a:cubicBezTo>
                <a:lnTo>
                  <a:pt x="423462" y="90098"/>
                </a:lnTo>
                <a:cubicBezTo>
                  <a:pt x="423922" y="88347"/>
                  <a:pt x="425396" y="87148"/>
                  <a:pt x="427054" y="87148"/>
                </a:cubicBezTo>
                <a:close/>
                <a:moveTo>
                  <a:pt x="39020" y="50484"/>
                </a:moveTo>
                <a:cubicBezTo>
                  <a:pt x="46509" y="52659"/>
                  <a:pt x="53169" y="57698"/>
                  <a:pt x="57224" y="65108"/>
                </a:cubicBezTo>
                <a:lnTo>
                  <a:pt x="88655" y="122267"/>
                </a:lnTo>
                <a:lnTo>
                  <a:pt x="161103" y="155404"/>
                </a:lnTo>
                <a:lnTo>
                  <a:pt x="253736" y="155404"/>
                </a:lnTo>
                <a:cubicBezTo>
                  <a:pt x="270696" y="155404"/>
                  <a:pt x="286550" y="163688"/>
                  <a:pt x="296136" y="177678"/>
                </a:cubicBezTo>
                <a:lnTo>
                  <a:pt x="336138" y="235850"/>
                </a:lnTo>
                <a:lnTo>
                  <a:pt x="369413" y="217257"/>
                </a:lnTo>
                <a:cubicBezTo>
                  <a:pt x="384160" y="209065"/>
                  <a:pt x="402687" y="214312"/>
                  <a:pt x="410890" y="228947"/>
                </a:cubicBezTo>
                <a:cubicBezTo>
                  <a:pt x="419186" y="243674"/>
                  <a:pt x="413840" y="262175"/>
                  <a:pt x="399184" y="270367"/>
                </a:cubicBezTo>
                <a:lnTo>
                  <a:pt x="341577" y="302491"/>
                </a:lnTo>
                <a:cubicBezTo>
                  <a:pt x="336876" y="305160"/>
                  <a:pt x="331806" y="306356"/>
                  <a:pt x="326737" y="306356"/>
                </a:cubicBezTo>
                <a:cubicBezTo>
                  <a:pt x="316967" y="306356"/>
                  <a:pt x="307473" y="301754"/>
                  <a:pt x="301574" y="293194"/>
                </a:cubicBezTo>
                <a:lnTo>
                  <a:pt x="283416" y="266777"/>
                </a:lnTo>
                <a:lnTo>
                  <a:pt x="283416" y="576875"/>
                </a:lnTo>
                <a:cubicBezTo>
                  <a:pt x="283416" y="593903"/>
                  <a:pt x="269590" y="607710"/>
                  <a:pt x="252630" y="607710"/>
                </a:cubicBezTo>
                <a:cubicBezTo>
                  <a:pt x="235578" y="607710"/>
                  <a:pt x="221752" y="593903"/>
                  <a:pt x="221752" y="576875"/>
                </a:cubicBezTo>
                <a:lnTo>
                  <a:pt x="221752" y="392786"/>
                </a:lnTo>
                <a:lnTo>
                  <a:pt x="197419" y="392786"/>
                </a:lnTo>
                <a:lnTo>
                  <a:pt x="197419" y="576875"/>
                </a:lnTo>
                <a:cubicBezTo>
                  <a:pt x="197419" y="593903"/>
                  <a:pt x="183593" y="607710"/>
                  <a:pt x="166541" y="607710"/>
                </a:cubicBezTo>
                <a:cubicBezTo>
                  <a:pt x="149489" y="607710"/>
                  <a:pt x="135663" y="593903"/>
                  <a:pt x="135663" y="576875"/>
                </a:cubicBezTo>
                <a:lnTo>
                  <a:pt x="135663" y="210722"/>
                </a:lnTo>
                <a:lnTo>
                  <a:pt x="53998" y="173352"/>
                </a:lnTo>
                <a:cubicBezTo>
                  <a:pt x="48099" y="170683"/>
                  <a:pt x="43122" y="166081"/>
                  <a:pt x="39988" y="160374"/>
                </a:cubicBezTo>
                <a:lnTo>
                  <a:pt x="3764" y="94378"/>
                </a:lnTo>
                <a:cubicBezTo>
                  <a:pt x="-4347" y="79651"/>
                  <a:pt x="1091" y="61150"/>
                  <a:pt x="15839" y="53050"/>
                </a:cubicBezTo>
                <a:cubicBezTo>
                  <a:pt x="23213" y="49000"/>
                  <a:pt x="31531" y="48310"/>
                  <a:pt x="39020" y="50484"/>
                </a:cubicBezTo>
                <a:close/>
                <a:moveTo>
                  <a:pt x="209572" y="0"/>
                </a:moveTo>
                <a:cubicBezTo>
                  <a:pt x="246654" y="0"/>
                  <a:pt x="276715" y="30030"/>
                  <a:pt x="276715" y="67073"/>
                </a:cubicBezTo>
                <a:cubicBezTo>
                  <a:pt x="276715" y="104116"/>
                  <a:pt x="246654" y="134146"/>
                  <a:pt x="209572" y="134146"/>
                </a:cubicBezTo>
                <a:cubicBezTo>
                  <a:pt x="172490" y="134146"/>
                  <a:pt x="142429" y="104116"/>
                  <a:pt x="142429" y="67073"/>
                </a:cubicBezTo>
                <a:cubicBezTo>
                  <a:pt x="142429" y="30030"/>
                  <a:pt x="172490" y="0"/>
                  <a:pt x="209572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15" name="文本框 14"/>
          <p:cNvSpPr txBox="1"/>
          <p:nvPr/>
        </p:nvSpPr>
        <p:spPr>
          <a:xfrm>
            <a:off x="7089775" y="1584960"/>
            <a:ext cx="2999740" cy="354965"/>
          </a:xfrm>
          <a:prstGeom prst="rect">
            <a:avLst/>
          </a:prstGeom>
        </p:spPr>
        <p:txBody>
          <a:bodyPr vert="horz" wrap="square" lIns="91440" tIns="45720" rIns="91440" bIns="45720" rtlCol="0"/>
          <a:p>
            <a:pPr marL="106045" indent="0">
              <a:buFont typeface="Arial" panose="020B0604020202090204" pitchFamily="34" charset="0"/>
              <a:buNone/>
            </a:pPr>
            <a:r>
              <a:rPr lang="zh-CN" altLang="en-US" sz="1600" dirty="0" smtClean="0"/>
              <a:t>平均法（主要是回归模型）</a:t>
            </a:r>
            <a:endParaRPr lang="zh-CN" altLang="en-US" sz="1600" dirty="0" smtClean="0"/>
          </a:p>
        </p:txBody>
      </p:sp>
      <p:sp>
        <p:nvSpPr>
          <p:cNvPr id="17" name="sync-symbol_73424"/>
          <p:cNvSpPr>
            <a:spLocks noChangeAspect="1"/>
          </p:cNvSpPr>
          <p:nvPr/>
        </p:nvSpPr>
        <p:spPr bwMode="auto">
          <a:xfrm>
            <a:off x="6803390" y="1556385"/>
            <a:ext cx="316230" cy="382270"/>
          </a:xfrm>
          <a:custGeom>
            <a:avLst/>
            <a:gdLst>
              <a:gd name="connsiteX0" fmla="*/ 404210 w 503090"/>
              <a:gd name="connsiteY0" fmla="*/ 172161 h 607710"/>
              <a:gd name="connsiteX1" fmla="*/ 398125 w 503090"/>
              <a:gd name="connsiteY1" fmla="*/ 175935 h 607710"/>
              <a:gd name="connsiteX2" fmla="*/ 401997 w 503090"/>
              <a:gd name="connsiteY2" fmla="*/ 182010 h 607710"/>
              <a:gd name="connsiteX3" fmla="*/ 444964 w 503090"/>
              <a:gd name="connsiteY3" fmla="*/ 191675 h 607710"/>
              <a:gd name="connsiteX4" fmla="*/ 446070 w 503090"/>
              <a:gd name="connsiteY4" fmla="*/ 191767 h 607710"/>
              <a:gd name="connsiteX5" fmla="*/ 451049 w 503090"/>
              <a:gd name="connsiteY5" fmla="*/ 187809 h 607710"/>
              <a:gd name="connsiteX6" fmla="*/ 447177 w 503090"/>
              <a:gd name="connsiteY6" fmla="*/ 181734 h 607710"/>
              <a:gd name="connsiteX7" fmla="*/ 394252 w 503090"/>
              <a:gd name="connsiteY7" fmla="*/ 138289 h 607710"/>
              <a:gd name="connsiteX8" fmla="*/ 388167 w 503090"/>
              <a:gd name="connsiteY8" fmla="*/ 142155 h 607710"/>
              <a:gd name="connsiteX9" fmla="*/ 392039 w 503090"/>
              <a:gd name="connsiteY9" fmla="*/ 148137 h 607710"/>
              <a:gd name="connsiteX10" fmla="*/ 468475 w 503090"/>
              <a:gd name="connsiteY10" fmla="*/ 165350 h 607710"/>
              <a:gd name="connsiteX11" fmla="*/ 469582 w 503090"/>
              <a:gd name="connsiteY11" fmla="*/ 165442 h 607710"/>
              <a:gd name="connsiteX12" fmla="*/ 474561 w 503090"/>
              <a:gd name="connsiteY12" fmla="*/ 161484 h 607710"/>
              <a:gd name="connsiteX13" fmla="*/ 470688 w 503090"/>
              <a:gd name="connsiteY13" fmla="*/ 155409 h 607710"/>
              <a:gd name="connsiteX14" fmla="*/ 388997 w 503090"/>
              <a:gd name="connsiteY14" fmla="*/ 97697 h 607710"/>
              <a:gd name="connsiteX15" fmla="*/ 410296 w 503090"/>
              <a:gd name="connsiteY15" fmla="*/ 102483 h 607710"/>
              <a:gd name="connsiteX16" fmla="*/ 409281 w 503090"/>
              <a:gd name="connsiteY16" fmla="*/ 107086 h 607710"/>
              <a:gd name="connsiteX17" fmla="*/ 419700 w 503090"/>
              <a:gd name="connsiteY17" fmla="*/ 123654 h 607710"/>
              <a:gd name="connsiteX18" fmla="*/ 452616 w 503090"/>
              <a:gd name="connsiteY18" fmla="*/ 131017 h 607710"/>
              <a:gd name="connsiteX19" fmla="*/ 470411 w 503090"/>
              <a:gd name="connsiteY19" fmla="*/ 120708 h 607710"/>
              <a:gd name="connsiteX20" fmla="*/ 471426 w 503090"/>
              <a:gd name="connsiteY20" fmla="*/ 116106 h 607710"/>
              <a:gd name="connsiteX21" fmla="*/ 492817 w 503090"/>
              <a:gd name="connsiteY21" fmla="*/ 120892 h 607710"/>
              <a:gd name="connsiteX22" fmla="*/ 501115 w 503090"/>
              <a:gd name="connsiteY22" fmla="*/ 126691 h 607710"/>
              <a:gd name="connsiteX23" fmla="*/ 502774 w 503090"/>
              <a:gd name="connsiteY23" fmla="*/ 136632 h 607710"/>
              <a:gd name="connsiteX24" fmla="*/ 469213 w 503090"/>
              <a:gd name="connsiteY24" fmla="*/ 285929 h 607710"/>
              <a:gd name="connsiteX25" fmla="*/ 453446 w 503090"/>
              <a:gd name="connsiteY25" fmla="*/ 295869 h 607710"/>
              <a:gd name="connsiteX26" fmla="*/ 411494 w 503090"/>
              <a:gd name="connsiteY26" fmla="*/ 286481 h 607710"/>
              <a:gd name="connsiteX27" fmla="*/ 428736 w 503090"/>
              <a:gd name="connsiteY27" fmla="*/ 219104 h 607710"/>
              <a:gd name="connsiteX28" fmla="*/ 359584 w 503090"/>
              <a:gd name="connsiteY28" fmla="*/ 199498 h 607710"/>
              <a:gd name="connsiteX29" fmla="*/ 351655 w 503090"/>
              <a:gd name="connsiteY29" fmla="*/ 203917 h 607710"/>
              <a:gd name="connsiteX30" fmla="*/ 373322 w 503090"/>
              <a:gd name="connsiteY30" fmla="*/ 107546 h 607710"/>
              <a:gd name="connsiteX31" fmla="*/ 388997 w 503090"/>
              <a:gd name="connsiteY31" fmla="*/ 97697 h 607710"/>
              <a:gd name="connsiteX32" fmla="*/ 427054 w 503090"/>
              <a:gd name="connsiteY32" fmla="*/ 87148 h 607710"/>
              <a:gd name="connsiteX33" fmla="*/ 427884 w 503090"/>
              <a:gd name="connsiteY33" fmla="*/ 87240 h 607710"/>
              <a:gd name="connsiteX34" fmla="*/ 461971 w 503090"/>
              <a:gd name="connsiteY34" fmla="*/ 94892 h 607710"/>
              <a:gd name="connsiteX35" fmla="*/ 464827 w 503090"/>
              <a:gd name="connsiteY35" fmla="*/ 99317 h 607710"/>
              <a:gd name="connsiteX36" fmla="*/ 460404 w 503090"/>
              <a:gd name="connsiteY36" fmla="*/ 118585 h 607710"/>
              <a:gd name="connsiteX37" fmla="*/ 458838 w 503090"/>
              <a:gd name="connsiteY37" fmla="*/ 120890 h 607710"/>
              <a:gd name="connsiteX38" fmla="*/ 456904 w 503090"/>
              <a:gd name="connsiteY38" fmla="*/ 121443 h 607710"/>
              <a:gd name="connsiteX39" fmla="*/ 456074 w 503090"/>
              <a:gd name="connsiteY39" fmla="*/ 121351 h 607710"/>
              <a:gd name="connsiteX40" fmla="*/ 421895 w 503090"/>
              <a:gd name="connsiteY40" fmla="*/ 113699 h 607710"/>
              <a:gd name="connsiteX41" fmla="*/ 419132 w 503090"/>
              <a:gd name="connsiteY41" fmla="*/ 109274 h 607710"/>
              <a:gd name="connsiteX42" fmla="*/ 423462 w 503090"/>
              <a:gd name="connsiteY42" fmla="*/ 90098 h 607710"/>
              <a:gd name="connsiteX43" fmla="*/ 427054 w 503090"/>
              <a:gd name="connsiteY43" fmla="*/ 87148 h 607710"/>
              <a:gd name="connsiteX44" fmla="*/ 39020 w 503090"/>
              <a:gd name="connsiteY44" fmla="*/ 50484 h 607710"/>
              <a:gd name="connsiteX45" fmla="*/ 57224 w 503090"/>
              <a:gd name="connsiteY45" fmla="*/ 65108 h 607710"/>
              <a:gd name="connsiteX46" fmla="*/ 88655 w 503090"/>
              <a:gd name="connsiteY46" fmla="*/ 122267 h 607710"/>
              <a:gd name="connsiteX47" fmla="*/ 161103 w 503090"/>
              <a:gd name="connsiteY47" fmla="*/ 155404 h 607710"/>
              <a:gd name="connsiteX48" fmla="*/ 253736 w 503090"/>
              <a:gd name="connsiteY48" fmla="*/ 155404 h 607710"/>
              <a:gd name="connsiteX49" fmla="*/ 296136 w 503090"/>
              <a:gd name="connsiteY49" fmla="*/ 177678 h 607710"/>
              <a:gd name="connsiteX50" fmla="*/ 336138 w 503090"/>
              <a:gd name="connsiteY50" fmla="*/ 235850 h 607710"/>
              <a:gd name="connsiteX51" fmla="*/ 369413 w 503090"/>
              <a:gd name="connsiteY51" fmla="*/ 217257 h 607710"/>
              <a:gd name="connsiteX52" fmla="*/ 410890 w 503090"/>
              <a:gd name="connsiteY52" fmla="*/ 228947 h 607710"/>
              <a:gd name="connsiteX53" fmla="*/ 399184 w 503090"/>
              <a:gd name="connsiteY53" fmla="*/ 270367 h 607710"/>
              <a:gd name="connsiteX54" fmla="*/ 341577 w 503090"/>
              <a:gd name="connsiteY54" fmla="*/ 302491 h 607710"/>
              <a:gd name="connsiteX55" fmla="*/ 326737 w 503090"/>
              <a:gd name="connsiteY55" fmla="*/ 306356 h 607710"/>
              <a:gd name="connsiteX56" fmla="*/ 301574 w 503090"/>
              <a:gd name="connsiteY56" fmla="*/ 293194 h 607710"/>
              <a:gd name="connsiteX57" fmla="*/ 283416 w 503090"/>
              <a:gd name="connsiteY57" fmla="*/ 266777 h 607710"/>
              <a:gd name="connsiteX58" fmla="*/ 283416 w 503090"/>
              <a:gd name="connsiteY58" fmla="*/ 576875 h 607710"/>
              <a:gd name="connsiteX59" fmla="*/ 252630 w 503090"/>
              <a:gd name="connsiteY59" fmla="*/ 607710 h 607710"/>
              <a:gd name="connsiteX60" fmla="*/ 221752 w 503090"/>
              <a:gd name="connsiteY60" fmla="*/ 576875 h 607710"/>
              <a:gd name="connsiteX61" fmla="*/ 221752 w 503090"/>
              <a:gd name="connsiteY61" fmla="*/ 392786 h 607710"/>
              <a:gd name="connsiteX62" fmla="*/ 197419 w 503090"/>
              <a:gd name="connsiteY62" fmla="*/ 392786 h 607710"/>
              <a:gd name="connsiteX63" fmla="*/ 197419 w 503090"/>
              <a:gd name="connsiteY63" fmla="*/ 576875 h 607710"/>
              <a:gd name="connsiteX64" fmla="*/ 166541 w 503090"/>
              <a:gd name="connsiteY64" fmla="*/ 607710 h 607710"/>
              <a:gd name="connsiteX65" fmla="*/ 135663 w 503090"/>
              <a:gd name="connsiteY65" fmla="*/ 576875 h 607710"/>
              <a:gd name="connsiteX66" fmla="*/ 135663 w 503090"/>
              <a:gd name="connsiteY66" fmla="*/ 210722 h 607710"/>
              <a:gd name="connsiteX67" fmla="*/ 53998 w 503090"/>
              <a:gd name="connsiteY67" fmla="*/ 173352 h 607710"/>
              <a:gd name="connsiteX68" fmla="*/ 39988 w 503090"/>
              <a:gd name="connsiteY68" fmla="*/ 160374 h 607710"/>
              <a:gd name="connsiteX69" fmla="*/ 3764 w 503090"/>
              <a:gd name="connsiteY69" fmla="*/ 94378 h 607710"/>
              <a:gd name="connsiteX70" fmla="*/ 15839 w 503090"/>
              <a:gd name="connsiteY70" fmla="*/ 53050 h 607710"/>
              <a:gd name="connsiteX71" fmla="*/ 39020 w 503090"/>
              <a:gd name="connsiteY71" fmla="*/ 50484 h 607710"/>
              <a:gd name="connsiteX72" fmla="*/ 209572 w 503090"/>
              <a:gd name="connsiteY72" fmla="*/ 0 h 607710"/>
              <a:gd name="connsiteX73" fmla="*/ 276715 w 503090"/>
              <a:gd name="connsiteY73" fmla="*/ 67073 h 607710"/>
              <a:gd name="connsiteX74" fmla="*/ 209572 w 503090"/>
              <a:gd name="connsiteY74" fmla="*/ 134146 h 607710"/>
              <a:gd name="connsiteX75" fmla="*/ 142429 w 503090"/>
              <a:gd name="connsiteY75" fmla="*/ 67073 h 607710"/>
              <a:gd name="connsiteX76" fmla="*/ 209572 w 503090"/>
              <a:gd name="connsiteY76" fmla="*/ 0 h 607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503090" h="607710">
                <a:moveTo>
                  <a:pt x="404210" y="172161"/>
                </a:moveTo>
                <a:cubicBezTo>
                  <a:pt x="401352" y="171517"/>
                  <a:pt x="398770" y="173266"/>
                  <a:pt x="398125" y="175935"/>
                </a:cubicBezTo>
                <a:cubicBezTo>
                  <a:pt x="397479" y="178696"/>
                  <a:pt x="399231" y="181458"/>
                  <a:pt x="401997" y="182010"/>
                </a:cubicBezTo>
                <a:lnTo>
                  <a:pt x="444964" y="191675"/>
                </a:lnTo>
                <a:cubicBezTo>
                  <a:pt x="445332" y="191767"/>
                  <a:pt x="445701" y="191767"/>
                  <a:pt x="446070" y="191767"/>
                </a:cubicBezTo>
                <a:cubicBezTo>
                  <a:pt x="448375" y="191767"/>
                  <a:pt x="450496" y="190202"/>
                  <a:pt x="451049" y="187809"/>
                </a:cubicBezTo>
                <a:cubicBezTo>
                  <a:pt x="451602" y="185139"/>
                  <a:pt x="449943" y="182378"/>
                  <a:pt x="447177" y="181734"/>
                </a:cubicBezTo>
                <a:close/>
                <a:moveTo>
                  <a:pt x="394252" y="138289"/>
                </a:moveTo>
                <a:cubicBezTo>
                  <a:pt x="391394" y="137644"/>
                  <a:pt x="388812" y="139393"/>
                  <a:pt x="388167" y="142155"/>
                </a:cubicBezTo>
                <a:cubicBezTo>
                  <a:pt x="387522" y="144824"/>
                  <a:pt x="389273" y="147585"/>
                  <a:pt x="392039" y="148137"/>
                </a:cubicBezTo>
                <a:lnTo>
                  <a:pt x="468475" y="165350"/>
                </a:lnTo>
                <a:cubicBezTo>
                  <a:pt x="468844" y="165442"/>
                  <a:pt x="469213" y="165442"/>
                  <a:pt x="469582" y="165442"/>
                </a:cubicBezTo>
                <a:cubicBezTo>
                  <a:pt x="471887" y="165442"/>
                  <a:pt x="474007" y="163877"/>
                  <a:pt x="474561" y="161484"/>
                </a:cubicBezTo>
                <a:cubicBezTo>
                  <a:pt x="475114" y="158723"/>
                  <a:pt x="473454" y="156053"/>
                  <a:pt x="470688" y="155409"/>
                </a:cubicBezTo>
                <a:close/>
                <a:moveTo>
                  <a:pt x="388997" y="97697"/>
                </a:moveTo>
                <a:lnTo>
                  <a:pt x="410296" y="102483"/>
                </a:lnTo>
                <a:lnTo>
                  <a:pt x="409281" y="107086"/>
                </a:lnTo>
                <a:cubicBezTo>
                  <a:pt x="407622" y="114541"/>
                  <a:pt x="412324" y="121905"/>
                  <a:pt x="419700" y="123654"/>
                </a:cubicBezTo>
                <a:cubicBezTo>
                  <a:pt x="419700" y="123654"/>
                  <a:pt x="443120" y="129084"/>
                  <a:pt x="452616" y="131017"/>
                </a:cubicBezTo>
                <a:cubicBezTo>
                  <a:pt x="465433" y="133594"/>
                  <a:pt x="469674" y="124298"/>
                  <a:pt x="470411" y="120708"/>
                </a:cubicBezTo>
                <a:lnTo>
                  <a:pt x="471426" y="116106"/>
                </a:lnTo>
                <a:lnTo>
                  <a:pt x="492817" y="120892"/>
                </a:lnTo>
                <a:cubicBezTo>
                  <a:pt x="496228" y="121721"/>
                  <a:pt x="499179" y="123746"/>
                  <a:pt x="501115" y="126691"/>
                </a:cubicBezTo>
                <a:cubicBezTo>
                  <a:pt x="502959" y="129636"/>
                  <a:pt x="503512" y="133226"/>
                  <a:pt x="502774" y="136632"/>
                </a:cubicBezTo>
                <a:lnTo>
                  <a:pt x="469213" y="285929"/>
                </a:lnTo>
                <a:cubicBezTo>
                  <a:pt x="467553" y="293016"/>
                  <a:pt x="460546" y="297434"/>
                  <a:pt x="453446" y="295869"/>
                </a:cubicBezTo>
                <a:lnTo>
                  <a:pt x="411494" y="286481"/>
                </a:lnTo>
                <a:cubicBezTo>
                  <a:pt x="434084" y="272122"/>
                  <a:pt x="441921" y="242667"/>
                  <a:pt x="428736" y="219104"/>
                </a:cubicBezTo>
                <a:cubicBezTo>
                  <a:pt x="414998" y="194620"/>
                  <a:pt x="384018" y="185876"/>
                  <a:pt x="359584" y="199498"/>
                </a:cubicBezTo>
                <a:lnTo>
                  <a:pt x="351655" y="203917"/>
                </a:lnTo>
                <a:lnTo>
                  <a:pt x="373322" y="107546"/>
                </a:lnTo>
                <a:cubicBezTo>
                  <a:pt x="374890" y="100550"/>
                  <a:pt x="381897" y="96040"/>
                  <a:pt x="388997" y="97697"/>
                </a:cubicBezTo>
                <a:close/>
                <a:moveTo>
                  <a:pt x="427054" y="87148"/>
                </a:moveTo>
                <a:cubicBezTo>
                  <a:pt x="427331" y="87148"/>
                  <a:pt x="427607" y="87240"/>
                  <a:pt x="427884" y="87240"/>
                </a:cubicBezTo>
                <a:lnTo>
                  <a:pt x="461971" y="94892"/>
                </a:lnTo>
                <a:cubicBezTo>
                  <a:pt x="463997" y="95353"/>
                  <a:pt x="465195" y="97381"/>
                  <a:pt x="464827" y="99317"/>
                </a:cubicBezTo>
                <a:lnTo>
                  <a:pt x="460404" y="118585"/>
                </a:lnTo>
                <a:cubicBezTo>
                  <a:pt x="460220" y="119599"/>
                  <a:pt x="459667" y="120429"/>
                  <a:pt x="458838" y="120890"/>
                </a:cubicBezTo>
                <a:cubicBezTo>
                  <a:pt x="458286" y="121259"/>
                  <a:pt x="457549" y="121443"/>
                  <a:pt x="456904" y="121443"/>
                </a:cubicBezTo>
                <a:cubicBezTo>
                  <a:pt x="456627" y="121443"/>
                  <a:pt x="456351" y="121443"/>
                  <a:pt x="456074" y="121351"/>
                </a:cubicBezTo>
                <a:lnTo>
                  <a:pt x="421895" y="113699"/>
                </a:lnTo>
                <a:cubicBezTo>
                  <a:pt x="419961" y="113238"/>
                  <a:pt x="418763" y="111302"/>
                  <a:pt x="419132" y="109274"/>
                </a:cubicBezTo>
                <a:lnTo>
                  <a:pt x="423462" y="90098"/>
                </a:lnTo>
                <a:cubicBezTo>
                  <a:pt x="423922" y="88347"/>
                  <a:pt x="425396" y="87148"/>
                  <a:pt x="427054" y="87148"/>
                </a:cubicBezTo>
                <a:close/>
                <a:moveTo>
                  <a:pt x="39020" y="50484"/>
                </a:moveTo>
                <a:cubicBezTo>
                  <a:pt x="46509" y="52659"/>
                  <a:pt x="53169" y="57698"/>
                  <a:pt x="57224" y="65108"/>
                </a:cubicBezTo>
                <a:lnTo>
                  <a:pt x="88655" y="122267"/>
                </a:lnTo>
                <a:lnTo>
                  <a:pt x="161103" y="155404"/>
                </a:lnTo>
                <a:lnTo>
                  <a:pt x="253736" y="155404"/>
                </a:lnTo>
                <a:cubicBezTo>
                  <a:pt x="270696" y="155404"/>
                  <a:pt x="286550" y="163688"/>
                  <a:pt x="296136" y="177678"/>
                </a:cubicBezTo>
                <a:lnTo>
                  <a:pt x="336138" y="235850"/>
                </a:lnTo>
                <a:lnTo>
                  <a:pt x="369413" y="217257"/>
                </a:lnTo>
                <a:cubicBezTo>
                  <a:pt x="384160" y="209065"/>
                  <a:pt x="402687" y="214312"/>
                  <a:pt x="410890" y="228947"/>
                </a:cubicBezTo>
                <a:cubicBezTo>
                  <a:pt x="419186" y="243674"/>
                  <a:pt x="413840" y="262175"/>
                  <a:pt x="399184" y="270367"/>
                </a:cubicBezTo>
                <a:lnTo>
                  <a:pt x="341577" y="302491"/>
                </a:lnTo>
                <a:cubicBezTo>
                  <a:pt x="336876" y="305160"/>
                  <a:pt x="331806" y="306356"/>
                  <a:pt x="326737" y="306356"/>
                </a:cubicBezTo>
                <a:cubicBezTo>
                  <a:pt x="316967" y="306356"/>
                  <a:pt x="307473" y="301754"/>
                  <a:pt x="301574" y="293194"/>
                </a:cubicBezTo>
                <a:lnTo>
                  <a:pt x="283416" y="266777"/>
                </a:lnTo>
                <a:lnTo>
                  <a:pt x="283416" y="576875"/>
                </a:lnTo>
                <a:cubicBezTo>
                  <a:pt x="283416" y="593903"/>
                  <a:pt x="269590" y="607710"/>
                  <a:pt x="252630" y="607710"/>
                </a:cubicBezTo>
                <a:cubicBezTo>
                  <a:pt x="235578" y="607710"/>
                  <a:pt x="221752" y="593903"/>
                  <a:pt x="221752" y="576875"/>
                </a:cubicBezTo>
                <a:lnTo>
                  <a:pt x="221752" y="392786"/>
                </a:lnTo>
                <a:lnTo>
                  <a:pt x="197419" y="392786"/>
                </a:lnTo>
                <a:lnTo>
                  <a:pt x="197419" y="576875"/>
                </a:lnTo>
                <a:cubicBezTo>
                  <a:pt x="197419" y="593903"/>
                  <a:pt x="183593" y="607710"/>
                  <a:pt x="166541" y="607710"/>
                </a:cubicBezTo>
                <a:cubicBezTo>
                  <a:pt x="149489" y="607710"/>
                  <a:pt x="135663" y="593903"/>
                  <a:pt x="135663" y="576875"/>
                </a:cubicBezTo>
                <a:lnTo>
                  <a:pt x="135663" y="210722"/>
                </a:lnTo>
                <a:lnTo>
                  <a:pt x="53998" y="173352"/>
                </a:lnTo>
                <a:cubicBezTo>
                  <a:pt x="48099" y="170683"/>
                  <a:pt x="43122" y="166081"/>
                  <a:pt x="39988" y="160374"/>
                </a:cubicBezTo>
                <a:lnTo>
                  <a:pt x="3764" y="94378"/>
                </a:lnTo>
                <a:cubicBezTo>
                  <a:pt x="-4347" y="79651"/>
                  <a:pt x="1091" y="61150"/>
                  <a:pt x="15839" y="53050"/>
                </a:cubicBezTo>
                <a:cubicBezTo>
                  <a:pt x="23213" y="49000"/>
                  <a:pt x="31531" y="48310"/>
                  <a:pt x="39020" y="50484"/>
                </a:cubicBezTo>
                <a:close/>
                <a:moveTo>
                  <a:pt x="209572" y="0"/>
                </a:moveTo>
                <a:cubicBezTo>
                  <a:pt x="246654" y="0"/>
                  <a:pt x="276715" y="30030"/>
                  <a:pt x="276715" y="67073"/>
                </a:cubicBezTo>
                <a:cubicBezTo>
                  <a:pt x="276715" y="104116"/>
                  <a:pt x="246654" y="134146"/>
                  <a:pt x="209572" y="134146"/>
                </a:cubicBezTo>
                <a:cubicBezTo>
                  <a:pt x="172490" y="134146"/>
                  <a:pt x="142429" y="104116"/>
                  <a:pt x="142429" y="67073"/>
                </a:cubicBezTo>
                <a:cubicBezTo>
                  <a:pt x="142429" y="30030"/>
                  <a:pt x="172490" y="0"/>
                  <a:pt x="209572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18" name="文本框 17"/>
          <p:cNvSpPr txBox="1"/>
          <p:nvPr/>
        </p:nvSpPr>
        <p:spPr>
          <a:xfrm>
            <a:off x="7379335" y="3891280"/>
            <a:ext cx="4331970" cy="1839595"/>
          </a:xfrm>
          <a:prstGeom prst="rect">
            <a:avLst/>
          </a:prstGeom>
        </p:spPr>
        <p:txBody>
          <a:bodyPr vert="horz" wrap="square" lIns="91440" tIns="45720" rIns="91440" bIns="45720" rtlCol="0"/>
          <a:p>
            <a:pPr marL="391795" indent="-285750" fontAlgn="auto">
              <a:lnSpc>
                <a:spcPts val="2300"/>
              </a:lnSpc>
              <a:buFont typeface="Arial" panose="020B0604020202090204" pitchFamily="34" charset="0"/>
              <a:buChar char="•"/>
            </a:pPr>
            <a:r>
              <a:rPr lang="zh-CN" altLang="en-US" sz="1400" b="1" dirty="0" smtClean="0"/>
              <a:t>简单平均</a:t>
            </a:r>
            <a:r>
              <a:rPr lang="zh-CN" altLang="en-US" sz="1400" dirty="0" smtClean="0"/>
              <a:t>：和软投票类似，最终结果（</a:t>
            </a:r>
            <a:r>
              <a:rPr lang="en-US" altLang="zh-CN" sz="1400" dirty="0" smtClean="0"/>
              <a:t>18+24+12+96+35</a:t>
            </a:r>
            <a:r>
              <a:rPr lang="zh-CN" altLang="en-US" sz="1400" dirty="0" smtClean="0"/>
              <a:t>）</a:t>
            </a:r>
            <a:r>
              <a:rPr lang="en-US" altLang="zh-CN" sz="1400" dirty="0" smtClean="0"/>
              <a:t>/5=37</a:t>
            </a:r>
            <a:endParaRPr lang="zh-CN" altLang="en-US" sz="1400" dirty="0" smtClean="0"/>
          </a:p>
          <a:p>
            <a:pPr marL="106045" indent="0" fontAlgn="auto">
              <a:lnSpc>
                <a:spcPts val="2300"/>
              </a:lnSpc>
              <a:buFont typeface="Arial" panose="020B0604020202090204" pitchFamily="34" charset="0"/>
              <a:buNone/>
            </a:pPr>
            <a:endParaRPr lang="zh-CN" altLang="en-US" sz="1400" dirty="0" smtClean="0"/>
          </a:p>
          <a:p>
            <a:pPr marL="391795" indent="-285750" fontAlgn="auto">
              <a:lnSpc>
                <a:spcPts val="2300"/>
              </a:lnSpc>
              <a:buFont typeface="Arial" panose="020B0604020202090204" pitchFamily="34" charset="0"/>
              <a:buChar char="•"/>
            </a:pPr>
            <a:r>
              <a:rPr lang="zh-CN" altLang="en-US" sz="1400" b="1" dirty="0" smtClean="0"/>
              <a:t>加权平均</a:t>
            </a:r>
            <a:r>
              <a:rPr lang="zh-CN" altLang="en-US" sz="1400" dirty="0" smtClean="0"/>
              <a:t>：对效果好的模型赋予更大的权重，但确保总权重之和为</a:t>
            </a:r>
            <a:r>
              <a:rPr lang="en-US" altLang="zh-CN" sz="1400" dirty="0" smtClean="0"/>
              <a:t>1</a:t>
            </a:r>
            <a:r>
              <a:rPr lang="zh-CN" altLang="en-US" sz="1400" dirty="0" smtClean="0"/>
              <a:t>，最终结果</a:t>
            </a:r>
            <a:r>
              <a:rPr lang="en-US" altLang="zh-CN" sz="1400" dirty="0" smtClean="0"/>
              <a:t>18*0.2+24*0.5+12*0.15+96*0.05+35*0.1=25.7</a:t>
            </a:r>
            <a:endParaRPr lang="zh-CN" altLang="en-US" sz="1400" dirty="0" smtClean="0"/>
          </a:p>
        </p:txBody>
      </p:sp>
      <p:sp>
        <p:nvSpPr>
          <p:cNvPr id="257" name="Freeform 131"/>
          <p:cNvSpPr>
            <a:spLocks noEditPoints="1"/>
          </p:cNvSpPr>
          <p:nvPr/>
        </p:nvSpPr>
        <p:spPr bwMode="auto">
          <a:xfrm>
            <a:off x="520700" y="1099820"/>
            <a:ext cx="417830" cy="415290"/>
          </a:xfrm>
          <a:custGeom>
            <a:avLst/>
            <a:gdLst>
              <a:gd name="T0" fmla="*/ 20 w 106"/>
              <a:gd name="T1" fmla="*/ 53 h 105"/>
              <a:gd name="T2" fmla="*/ 20 w 106"/>
              <a:gd name="T3" fmla="*/ 49 h 105"/>
              <a:gd name="T4" fmla="*/ 1 w 106"/>
              <a:gd name="T5" fmla="*/ 43 h 105"/>
              <a:gd name="T6" fmla="*/ 0 w 106"/>
              <a:gd name="T7" fmla="*/ 53 h 105"/>
              <a:gd name="T8" fmla="*/ 17 w 106"/>
              <a:gd name="T9" fmla="*/ 91 h 105"/>
              <a:gd name="T10" fmla="*/ 29 w 106"/>
              <a:gd name="T11" fmla="*/ 75 h 105"/>
              <a:gd name="T12" fmla="*/ 20 w 106"/>
              <a:gd name="T13" fmla="*/ 53 h 105"/>
              <a:gd name="T14" fmla="*/ 86 w 106"/>
              <a:gd name="T15" fmla="*/ 53 h 105"/>
              <a:gd name="T16" fmla="*/ 77 w 106"/>
              <a:gd name="T17" fmla="*/ 75 h 105"/>
              <a:gd name="T18" fmla="*/ 89 w 106"/>
              <a:gd name="T19" fmla="*/ 91 h 105"/>
              <a:gd name="T20" fmla="*/ 106 w 106"/>
              <a:gd name="T21" fmla="*/ 53 h 105"/>
              <a:gd name="T22" fmla="*/ 105 w 106"/>
              <a:gd name="T23" fmla="*/ 43 h 105"/>
              <a:gd name="T24" fmla="*/ 86 w 106"/>
              <a:gd name="T25" fmla="*/ 49 h 105"/>
              <a:gd name="T26" fmla="*/ 86 w 106"/>
              <a:gd name="T27" fmla="*/ 53 h 105"/>
              <a:gd name="T28" fmla="*/ 59 w 106"/>
              <a:gd name="T29" fmla="*/ 20 h 105"/>
              <a:gd name="T30" fmla="*/ 82 w 106"/>
              <a:gd name="T31" fmla="*/ 36 h 105"/>
              <a:gd name="T32" fmla="*/ 101 w 106"/>
              <a:gd name="T33" fmla="*/ 30 h 105"/>
              <a:gd name="T34" fmla="*/ 59 w 106"/>
              <a:gd name="T35" fmla="*/ 0 h 105"/>
              <a:gd name="T36" fmla="*/ 59 w 106"/>
              <a:gd name="T37" fmla="*/ 20 h 105"/>
              <a:gd name="T38" fmla="*/ 24 w 106"/>
              <a:gd name="T39" fmla="*/ 36 h 105"/>
              <a:gd name="T40" fmla="*/ 46 w 106"/>
              <a:gd name="T41" fmla="*/ 20 h 105"/>
              <a:gd name="T42" fmla="*/ 46 w 106"/>
              <a:gd name="T43" fmla="*/ 0 h 105"/>
              <a:gd name="T44" fmla="*/ 5 w 106"/>
              <a:gd name="T45" fmla="*/ 30 h 105"/>
              <a:gd name="T46" fmla="*/ 24 w 106"/>
              <a:gd name="T47" fmla="*/ 36 h 105"/>
              <a:gd name="T48" fmla="*/ 67 w 106"/>
              <a:gd name="T49" fmla="*/ 83 h 105"/>
              <a:gd name="T50" fmla="*/ 53 w 106"/>
              <a:gd name="T51" fmla="*/ 85 h 105"/>
              <a:gd name="T52" fmla="*/ 39 w 106"/>
              <a:gd name="T53" fmla="*/ 83 h 105"/>
              <a:gd name="T54" fmla="*/ 28 w 106"/>
              <a:gd name="T55" fmla="*/ 99 h 105"/>
              <a:gd name="T56" fmla="*/ 53 w 106"/>
              <a:gd name="T57" fmla="*/ 105 h 105"/>
              <a:gd name="T58" fmla="*/ 78 w 106"/>
              <a:gd name="T59" fmla="*/ 99 h 105"/>
              <a:gd name="T60" fmla="*/ 67 w 106"/>
              <a:gd name="T61" fmla="*/ 83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06" h="105">
                <a:moveTo>
                  <a:pt x="20" y="53"/>
                </a:moveTo>
                <a:cubicBezTo>
                  <a:pt x="20" y="51"/>
                  <a:pt x="20" y="50"/>
                  <a:pt x="20" y="49"/>
                </a:cubicBezTo>
                <a:cubicBezTo>
                  <a:pt x="1" y="43"/>
                  <a:pt x="1" y="43"/>
                  <a:pt x="1" y="43"/>
                </a:cubicBezTo>
                <a:cubicBezTo>
                  <a:pt x="1" y="46"/>
                  <a:pt x="0" y="49"/>
                  <a:pt x="0" y="53"/>
                </a:cubicBezTo>
                <a:cubicBezTo>
                  <a:pt x="0" y="68"/>
                  <a:pt x="7" y="81"/>
                  <a:pt x="17" y="91"/>
                </a:cubicBezTo>
                <a:cubicBezTo>
                  <a:pt x="29" y="75"/>
                  <a:pt x="29" y="75"/>
                  <a:pt x="29" y="75"/>
                </a:cubicBezTo>
                <a:cubicBezTo>
                  <a:pt x="23" y="69"/>
                  <a:pt x="20" y="61"/>
                  <a:pt x="20" y="53"/>
                </a:cubicBezTo>
                <a:close/>
                <a:moveTo>
                  <a:pt x="86" y="53"/>
                </a:moveTo>
                <a:cubicBezTo>
                  <a:pt x="86" y="61"/>
                  <a:pt x="83" y="69"/>
                  <a:pt x="77" y="75"/>
                </a:cubicBezTo>
                <a:cubicBezTo>
                  <a:pt x="89" y="91"/>
                  <a:pt x="89" y="91"/>
                  <a:pt x="89" y="91"/>
                </a:cubicBezTo>
                <a:cubicBezTo>
                  <a:pt x="99" y="81"/>
                  <a:pt x="106" y="68"/>
                  <a:pt x="106" y="53"/>
                </a:cubicBezTo>
                <a:cubicBezTo>
                  <a:pt x="106" y="49"/>
                  <a:pt x="105" y="46"/>
                  <a:pt x="105" y="43"/>
                </a:cubicBezTo>
                <a:cubicBezTo>
                  <a:pt x="86" y="49"/>
                  <a:pt x="86" y="49"/>
                  <a:pt x="86" y="49"/>
                </a:cubicBezTo>
                <a:cubicBezTo>
                  <a:pt x="86" y="50"/>
                  <a:pt x="86" y="51"/>
                  <a:pt x="86" y="53"/>
                </a:cubicBezTo>
                <a:close/>
                <a:moveTo>
                  <a:pt x="59" y="20"/>
                </a:moveTo>
                <a:cubicBezTo>
                  <a:pt x="69" y="22"/>
                  <a:pt x="77" y="28"/>
                  <a:pt x="82" y="36"/>
                </a:cubicBezTo>
                <a:cubicBezTo>
                  <a:pt x="101" y="30"/>
                  <a:pt x="101" y="30"/>
                  <a:pt x="101" y="30"/>
                </a:cubicBezTo>
                <a:cubicBezTo>
                  <a:pt x="93" y="14"/>
                  <a:pt x="78" y="3"/>
                  <a:pt x="59" y="0"/>
                </a:cubicBezTo>
                <a:lnTo>
                  <a:pt x="59" y="20"/>
                </a:lnTo>
                <a:close/>
                <a:moveTo>
                  <a:pt x="24" y="36"/>
                </a:moveTo>
                <a:cubicBezTo>
                  <a:pt x="29" y="28"/>
                  <a:pt x="37" y="22"/>
                  <a:pt x="46" y="20"/>
                </a:cubicBezTo>
                <a:cubicBezTo>
                  <a:pt x="46" y="0"/>
                  <a:pt x="46" y="0"/>
                  <a:pt x="46" y="0"/>
                </a:cubicBezTo>
                <a:cubicBezTo>
                  <a:pt x="28" y="3"/>
                  <a:pt x="13" y="14"/>
                  <a:pt x="5" y="30"/>
                </a:cubicBezTo>
                <a:lnTo>
                  <a:pt x="24" y="36"/>
                </a:lnTo>
                <a:close/>
                <a:moveTo>
                  <a:pt x="67" y="83"/>
                </a:moveTo>
                <a:cubicBezTo>
                  <a:pt x="62" y="84"/>
                  <a:pt x="58" y="85"/>
                  <a:pt x="53" y="85"/>
                </a:cubicBezTo>
                <a:cubicBezTo>
                  <a:pt x="48" y="85"/>
                  <a:pt x="43" y="84"/>
                  <a:pt x="39" y="83"/>
                </a:cubicBezTo>
                <a:cubicBezTo>
                  <a:pt x="28" y="99"/>
                  <a:pt x="28" y="99"/>
                  <a:pt x="28" y="99"/>
                </a:cubicBezTo>
                <a:cubicBezTo>
                  <a:pt x="35" y="103"/>
                  <a:pt x="44" y="105"/>
                  <a:pt x="53" y="105"/>
                </a:cubicBezTo>
                <a:cubicBezTo>
                  <a:pt x="62" y="105"/>
                  <a:pt x="71" y="103"/>
                  <a:pt x="78" y="99"/>
                </a:cubicBezTo>
                <a:lnTo>
                  <a:pt x="67" y="8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p>
            <a:endParaRPr lang="id-ID" dirty="0"/>
          </a:p>
        </p:txBody>
      </p:sp>
      <p:graphicFrame>
        <p:nvGraphicFramePr>
          <p:cNvPr id="19" name="表格 18"/>
          <p:cNvGraphicFramePr/>
          <p:nvPr/>
        </p:nvGraphicFramePr>
        <p:xfrm>
          <a:off x="7379335" y="1961515"/>
          <a:ext cx="3105150" cy="132080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685800"/>
                <a:gridCol w="685800"/>
                <a:gridCol w="1047750"/>
                <a:gridCol w="685800"/>
              </a:tblGrid>
              <a:tr h="2159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/>
                        <a:t>模型</a:t>
                      </a:r>
                      <a:endParaRPr lang="zh-CN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/>
                        <a:t>样本</a:t>
                      </a:r>
                      <a:endParaRPr lang="zh-CN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/>
                        <a:t>模型效果排序（mse）</a:t>
                      </a:r>
                      <a:endParaRPr lang="zh-CN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weight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</a:tr>
              <a:tr h="24130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/>
                        <a:t>模型1</a:t>
                      </a:r>
                      <a:endParaRPr lang="zh-CN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18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2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0.2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</a:tr>
              <a:tr h="21590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/>
                        <a:t>模型2</a:t>
                      </a:r>
                      <a:endParaRPr lang="zh-CN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24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1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0.5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</a:tr>
              <a:tr h="21590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/>
                        <a:t>模型3</a:t>
                      </a:r>
                      <a:endParaRPr lang="zh-CN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12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3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0.15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</a:tr>
              <a:tr h="21590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/>
                        <a:t>模型4</a:t>
                      </a:r>
                      <a:endParaRPr lang="zh-CN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96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5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0.05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</a:tr>
              <a:tr h="21590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/>
                        <a:t>模型5</a:t>
                      </a:r>
                      <a:endParaRPr lang="zh-CN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35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4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0.1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</a:tr>
            </a:tbl>
          </a:graphicData>
        </a:graphic>
      </p:graphicFrame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小样本解决之招式三：融合模型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-</a:t>
            </a:r>
            <a:r>
              <a:rPr lang="zh-CN" altLang="en-US" sz="2800" b="1" smtClean="0">
                <a:solidFill>
                  <a:srgbClr val="F05A23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比赛王道之选</a:t>
            </a:r>
            <a:endParaRPr lang="zh-CN" altLang="en-US" sz="2800" b="1" smtClean="0">
              <a:solidFill>
                <a:srgbClr val="F05A23"/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938530" y="112522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dirty="0" smtClean="0"/>
              <a:t>模型融合常用方法</a:t>
            </a:r>
            <a:endParaRPr lang="zh-CN" altLang="en-US" dirty="0" smtClean="0"/>
          </a:p>
        </p:txBody>
      </p:sp>
      <p:sp>
        <p:nvSpPr>
          <p:cNvPr id="7" name="文本框 6"/>
          <p:cNvSpPr txBox="1"/>
          <p:nvPr/>
        </p:nvSpPr>
        <p:spPr>
          <a:xfrm>
            <a:off x="1339215" y="1546860"/>
            <a:ext cx="2453640" cy="354965"/>
          </a:xfrm>
          <a:prstGeom prst="rect">
            <a:avLst/>
          </a:prstGeom>
        </p:spPr>
        <p:txBody>
          <a:bodyPr vert="horz" wrap="square" lIns="91440" tIns="45720" rIns="91440" bIns="45720" rtlCol="0"/>
          <a:p>
            <a:pPr marL="106045" indent="0">
              <a:buFont typeface="Arial" panose="020B0604020202090204" pitchFamily="34" charset="0"/>
              <a:buNone/>
            </a:pPr>
            <a:r>
              <a:rPr lang="en-US" sz="1600" dirty="0" smtClean="0"/>
              <a:t>stacking</a:t>
            </a:r>
            <a:endParaRPr lang="en-US" sz="1600" dirty="0" smtClean="0"/>
          </a:p>
        </p:txBody>
      </p:sp>
      <p:sp>
        <p:nvSpPr>
          <p:cNvPr id="28" name="sync-symbol_73424"/>
          <p:cNvSpPr>
            <a:spLocks noChangeAspect="1"/>
          </p:cNvSpPr>
          <p:nvPr/>
        </p:nvSpPr>
        <p:spPr bwMode="auto">
          <a:xfrm>
            <a:off x="1052830" y="1537335"/>
            <a:ext cx="316230" cy="382270"/>
          </a:xfrm>
          <a:custGeom>
            <a:avLst/>
            <a:gdLst>
              <a:gd name="connsiteX0" fmla="*/ 404210 w 503090"/>
              <a:gd name="connsiteY0" fmla="*/ 172161 h 607710"/>
              <a:gd name="connsiteX1" fmla="*/ 398125 w 503090"/>
              <a:gd name="connsiteY1" fmla="*/ 175935 h 607710"/>
              <a:gd name="connsiteX2" fmla="*/ 401997 w 503090"/>
              <a:gd name="connsiteY2" fmla="*/ 182010 h 607710"/>
              <a:gd name="connsiteX3" fmla="*/ 444964 w 503090"/>
              <a:gd name="connsiteY3" fmla="*/ 191675 h 607710"/>
              <a:gd name="connsiteX4" fmla="*/ 446070 w 503090"/>
              <a:gd name="connsiteY4" fmla="*/ 191767 h 607710"/>
              <a:gd name="connsiteX5" fmla="*/ 451049 w 503090"/>
              <a:gd name="connsiteY5" fmla="*/ 187809 h 607710"/>
              <a:gd name="connsiteX6" fmla="*/ 447177 w 503090"/>
              <a:gd name="connsiteY6" fmla="*/ 181734 h 607710"/>
              <a:gd name="connsiteX7" fmla="*/ 394252 w 503090"/>
              <a:gd name="connsiteY7" fmla="*/ 138289 h 607710"/>
              <a:gd name="connsiteX8" fmla="*/ 388167 w 503090"/>
              <a:gd name="connsiteY8" fmla="*/ 142155 h 607710"/>
              <a:gd name="connsiteX9" fmla="*/ 392039 w 503090"/>
              <a:gd name="connsiteY9" fmla="*/ 148137 h 607710"/>
              <a:gd name="connsiteX10" fmla="*/ 468475 w 503090"/>
              <a:gd name="connsiteY10" fmla="*/ 165350 h 607710"/>
              <a:gd name="connsiteX11" fmla="*/ 469582 w 503090"/>
              <a:gd name="connsiteY11" fmla="*/ 165442 h 607710"/>
              <a:gd name="connsiteX12" fmla="*/ 474561 w 503090"/>
              <a:gd name="connsiteY12" fmla="*/ 161484 h 607710"/>
              <a:gd name="connsiteX13" fmla="*/ 470688 w 503090"/>
              <a:gd name="connsiteY13" fmla="*/ 155409 h 607710"/>
              <a:gd name="connsiteX14" fmla="*/ 388997 w 503090"/>
              <a:gd name="connsiteY14" fmla="*/ 97697 h 607710"/>
              <a:gd name="connsiteX15" fmla="*/ 410296 w 503090"/>
              <a:gd name="connsiteY15" fmla="*/ 102483 h 607710"/>
              <a:gd name="connsiteX16" fmla="*/ 409281 w 503090"/>
              <a:gd name="connsiteY16" fmla="*/ 107086 h 607710"/>
              <a:gd name="connsiteX17" fmla="*/ 419700 w 503090"/>
              <a:gd name="connsiteY17" fmla="*/ 123654 h 607710"/>
              <a:gd name="connsiteX18" fmla="*/ 452616 w 503090"/>
              <a:gd name="connsiteY18" fmla="*/ 131017 h 607710"/>
              <a:gd name="connsiteX19" fmla="*/ 470411 w 503090"/>
              <a:gd name="connsiteY19" fmla="*/ 120708 h 607710"/>
              <a:gd name="connsiteX20" fmla="*/ 471426 w 503090"/>
              <a:gd name="connsiteY20" fmla="*/ 116106 h 607710"/>
              <a:gd name="connsiteX21" fmla="*/ 492817 w 503090"/>
              <a:gd name="connsiteY21" fmla="*/ 120892 h 607710"/>
              <a:gd name="connsiteX22" fmla="*/ 501115 w 503090"/>
              <a:gd name="connsiteY22" fmla="*/ 126691 h 607710"/>
              <a:gd name="connsiteX23" fmla="*/ 502774 w 503090"/>
              <a:gd name="connsiteY23" fmla="*/ 136632 h 607710"/>
              <a:gd name="connsiteX24" fmla="*/ 469213 w 503090"/>
              <a:gd name="connsiteY24" fmla="*/ 285929 h 607710"/>
              <a:gd name="connsiteX25" fmla="*/ 453446 w 503090"/>
              <a:gd name="connsiteY25" fmla="*/ 295869 h 607710"/>
              <a:gd name="connsiteX26" fmla="*/ 411494 w 503090"/>
              <a:gd name="connsiteY26" fmla="*/ 286481 h 607710"/>
              <a:gd name="connsiteX27" fmla="*/ 428736 w 503090"/>
              <a:gd name="connsiteY27" fmla="*/ 219104 h 607710"/>
              <a:gd name="connsiteX28" fmla="*/ 359584 w 503090"/>
              <a:gd name="connsiteY28" fmla="*/ 199498 h 607710"/>
              <a:gd name="connsiteX29" fmla="*/ 351655 w 503090"/>
              <a:gd name="connsiteY29" fmla="*/ 203917 h 607710"/>
              <a:gd name="connsiteX30" fmla="*/ 373322 w 503090"/>
              <a:gd name="connsiteY30" fmla="*/ 107546 h 607710"/>
              <a:gd name="connsiteX31" fmla="*/ 388997 w 503090"/>
              <a:gd name="connsiteY31" fmla="*/ 97697 h 607710"/>
              <a:gd name="connsiteX32" fmla="*/ 427054 w 503090"/>
              <a:gd name="connsiteY32" fmla="*/ 87148 h 607710"/>
              <a:gd name="connsiteX33" fmla="*/ 427884 w 503090"/>
              <a:gd name="connsiteY33" fmla="*/ 87240 h 607710"/>
              <a:gd name="connsiteX34" fmla="*/ 461971 w 503090"/>
              <a:gd name="connsiteY34" fmla="*/ 94892 h 607710"/>
              <a:gd name="connsiteX35" fmla="*/ 464827 w 503090"/>
              <a:gd name="connsiteY35" fmla="*/ 99317 h 607710"/>
              <a:gd name="connsiteX36" fmla="*/ 460404 w 503090"/>
              <a:gd name="connsiteY36" fmla="*/ 118585 h 607710"/>
              <a:gd name="connsiteX37" fmla="*/ 458838 w 503090"/>
              <a:gd name="connsiteY37" fmla="*/ 120890 h 607710"/>
              <a:gd name="connsiteX38" fmla="*/ 456904 w 503090"/>
              <a:gd name="connsiteY38" fmla="*/ 121443 h 607710"/>
              <a:gd name="connsiteX39" fmla="*/ 456074 w 503090"/>
              <a:gd name="connsiteY39" fmla="*/ 121351 h 607710"/>
              <a:gd name="connsiteX40" fmla="*/ 421895 w 503090"/>
              <a:gd name="connsiteY40" fmla="*/ 113699 h 607710"/>
              <a:gd name="connsiteX41" fmla="*/ 419132 w 503090"/>
              <a:gd name="connsiteY41" fmla="*/ 109274 h 607710"/>
              <a:gd name="connsiteX42" fmla="*/ 423462 w 503090"/>
              <a:gd name="connsiteY42" fmla="*/ 90098 h 607710"/>
              <a:gd name="connsiteX43" fmla="*/ 427054 w 503090"/>
              <a:gd name="connsiteY43" fmla="*/ 87148 h 607710"/>
              <a:gd name="connsiteX44" fmla="*/ 39020 w 503090"/>
              <a:gd name="connsiteY44" fmla="*/ 50484 h 607710"/>
              <a:gd name="connsiteX45" fmla="*/ 57224 w 503090"/>
              <a:gd name="connsiteY45" fmla="*/ 65108 h 607710"/>
              <a:gd name="connsiteX46" fmla="*/ 88655 w 503090"/>
              <a:gd name="connsiteY46" fmla="*/ 122267 h 607710"/>
              <a:gd name="connsiteX47" fmla="*/ 161103 w 503090"/>
              <a:gd name="connsiteY47" fmla="*/ 155404 h 607710"/>
              <a:gd name="connsiteX48" fmla="*/ 253736 w 503090"/>
              <a:gd name="connsiteY48" fmla="*/ 155404 h 607710"/>
              <a:gd name="connsiteX49" fmla="*/ 296136 w 503090"/>
              <a:gd name="connsiteY49" fmla="*/ 177678 h 607710"/>
              <a:gd name="connsiteX50" fmla="*/ 336138 w 503090"/>
              <a:gd name="connsiteY50" fmla="*/ 235850 h 607710"/>
              <a:gd name="connsiteX51" fmla="*/ 369413 w 503090"/>
              <a:gd name="connsiteY51" fmla="*/ 217257 h 607710"/>
              <a:gd name="connsiteX52" fmla="*/ 410890 w 503090"/>
              <a:gd name="connsiteY52" fmla="*/ 228947 h 607710"/>
              <a:gd name="connsiteX53" fmla="*/ 399184 w 503090"/>
              <a:gd name="connsiteY53" fmla="*/ 270367 h 607710"/>
              <a:gd name="connsiteX54" fmla="*/ 341577 w 503090"/>
              <a:gd name="connsiteY54" fmla="*/ 302491 h 607710"/>
              <a:gd name="connsiteX55" fmla="*/ 326737 w 503090"/>
              <a:gd name="connsiteY55" fmla="*/ 306356 h 607710"/>
              <a:gd name="connsiteX56" fmla="*/ 301574 w 503090"/>
              <a:gd name="connsiteY56" fmla="*/ 293194 h 607710"/>
              <a:gd name="connsiteX57" fmla="*/ 283416 w 503090"/>
              <a:gd name="connsiteY57" fmla="*/ 266777 h 607710"/>
              <a:gd name="connsiteX58" fmla="*/ 283416 w 503090"/>
              <a:gd name="connsiteY58" fmla="*/ 576875 h 607710"/>
              <a:gd name="connsiteX59" fmla="*/ 252630 w 503090"/>
              <a:gd name="connsiteY59" fmla="*/ 607710 h 607710"/>
              <a:gd name="connsiteX60" fmla="*/ 221752 w 503090"/>
              <a:gd name="connsiteY60" fmla="*/ 576875 h 607710"/>
              <a:gd name="connsiteX61" fmla="*/ 221752 w 503090"/>
              <a:gd name="connsiteY61" fmla="*/ 392786 h 607710"/>
              <a:gd name="connsiteX62" fmla="*/ 197419 w 503090"/>
              <a:gd name="connsiteY62" fmla="*/ 392786 h 607710"/>
              <a:gd name="connsiteX63" fmla="*/ 197419 w 503090"/>
              <a:gd name="connsiteY63" fmla="*/ 576875 h 607710"/>
              <a:gd name="connsiteX64" fmla="*/ 166541 w 503090"/>
              <a:gd name="connsiteY64" fmla="*/ 607710 h 607710"/>
              <a:gd name="connsiteX65" fmla="*/ 135663 w 503090"/>
              <a:gd name="connsiteY65" fmla="*/ 576875 h 607710"/>
              <a:gd name="connsiteX66" fmla="*/ 135663 w 503090"/>
              <a:gd name="connsiteY66" fmla="*/ 210722 h 607710"/>
              <a:gd name="connsiteX67" fmla="*/ 53998 w 503090"/>
              <a:gd name="connsiteY67" fmla="*/ 173352 h 607710"/>
              <a:gd name="connsiteX68" fmla="*/ 39988 w 503090"/>
              <a:gd name="connsiteY68" fmla="*/ 160374 h 607710"/>
              <a:gd name="connsiteX69" fmla="*/ 3764 w 503090"/>
              <a:gd name="connsiteY69" fmla="*/ 94378 h 607710"/>
              <a:gd name="connsiteX70" fmla="*/ 15839 w 503090"/>
              <a:gd name="connsiteY70" fmla="*/ 53050 h 607710"/>
              <a:gd name="connsiteX71" fmla="*/ 39020 w 503090"/>
              <a:gd name="connsiteY71" fmla="*/ 50484 h 607710"/>
              <a:gd name="connsiteX72" fmla="*/ 209572 w 503090"/>
              <a:gd name="connsiteY72" fmla="*/ 0 h 607710"/>
              <a:gd name="connsiteX73" fmla="*/ 276715 w 503090"/>
              <a:gd name="connsiteY73" fmla="*/ 67073 h 607710"/>
              <a:gd name="connsiteX74" fmla="*/ 209572 w 503090"/>
              <a:gd name="connsiteY74" fmla="*/ 134146 h 607710"/>
              <a:gd name="connsiteX75" fmla="*/ 142429 w 503090"/>
              <a:gd name="connsiteY75" fmla="*/ 67073 h 607710"/>
              <a:gd name="connsiteX76" fmla="*/ 209572 w 503090"/>
              <a:gd name="connsiteY76" fmla="*/ 0 h 607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503090" h="607710">
                <a:moveTo>
                  <a:pt x="404210" y="172161"/>
                </a:moveTo>
                <a:cubicBezTo>
                  <a:pt x="401352" y="171517"/>
                  <a:pt x="398770" y="173266"/>
                  <a:pt x="398125" y="175935"/>
                </a:cubicBezTo>
                <a:cubicBezTo>
                  <a:pt x="397479" y="178696"/>
                  <a:pt x="399231" y="181458"/>
                  <a:pt x="401997" y="182010"/>
                </a:cubicBezTo>
                <a:lnTo>
                  <a:pt x="444964" y="191675"/>
                </a:lnTo>
                <a:cubicBezTo>
                  <a:pt x="445332" y="191767"/>
                  <a:pt x="445701" y="191767"/>
                  <a:pt x="446070" y="191767"/>
                </a:cubicBezTo>
                <a:cubicBezTo>
                  <a:pt x="448375" y="191767"/>
                  <a:pt x="450496" y="190202"/>
                  <a:pt x="451049" y="187809"/>
                </a:cubicBezTo>
                <a:cubicBezTo>
                  <a:pt x="451602" y="185139"/>
                  <a:pt x="449943" y="182378"/>
                  <a:pt x="447177" y="181734"/>
                </a:cubicBezTo>
                <a:close/>
                <a:moveTo>
                  <a:pt x="394252" y="138289"/>
                </a:moveTo>
                <a:cubicBezTo>
                  <a:pt x="391394" y="137644"/>
                  <a:pt x="388812" y="139393"/>
                  <a:pt x="388167" y="142155"/>
                </a:cubicBezTo>
                <a:cubicBezTo>
                  <a:pt x="387522" y="144824"/>
                  <a:pt x="389273" y="147585"/>
                  <a:pt x="392039" y="148137"/>
                </a:cubicBezTo>
                <a:lnTo>
                  <a:pt x="468475" y="165350"/>
                </a:lnTo>
                <a:cubicBezTo>
                  <a:pt x="468844" y="165442"/>
                  <a:pt x="469213" y="165442"/>
                  <a:pt x="469582" y="165442"/>
                </a:cubicBezTo>
                <a:cubicBezTo>
                  <a:pt x="471887" y="165442"/>
                  <a:pt x="474007" y="163877"/>
                  <a:pt x="474561" y="161484"/>
                </a:cubicBezTo>
                <a:cubicBezTo>
                  <a:pt x="475114" y="158723"/>
                  <a:pt x="473454" y="156053"/>
                  <a:pt x="470688" y="155409"/>
                </a:cubicBezTo>
                <a:close/>
                <a:moveTo>
                  <a:pt x="388997" y="97697"/>
                </a:moveTo>
                <a:lnTo>
                  <a:pt x="410296" y="102483"/>
                </a:lnTo>
                <a:lnTo>
                  <a:pt x="409281" y="107086"/>
                </a:lnTo>
                <a:cubicBezTo>
                  <a:pt x="407622" y="114541"/>
                  <a:pt x="412324" y="121905"/>
                  <a:pt x="419700" y="123654"/>
                </a:cubicBezTo>
                <a:cubicBezTo>
                  <a:pt x="419700" y="123654"/>
                  <a:pt x="443120" y="129084"/>
                  <a:pt x="452616" y="131017"/>
                </a:cubicBezTo>
                <a:cubicBezTo>
                  <a:pt x="465433" y="133594"/>
                  <a:pt x="469674" y="124298"/>
                  <a:pt x="470411" y="120708"/>
                </a:cubicBezTo>
                <a:lnTo>
                  <a:pt x="471426" y="116106"/>
                </a:lnTo>
                <a:lnTo>
                  <a:pt x="492817" y="120892"/>
                </a:lnTo>
                <a:cubicBezTo>
                  <a:pt x="496228" y="121721"/>
                  <a:pt x="499179" y="123746"/>
                  <a:pt x="501115" y="126691"/>
                </a:cubicBezTo>
                <a:cubicBezTo>
                  <a:pt x="502959" y="129636"/>
                  <a:pt x="503512" y="133226"/>
                  <a:pt x="502774" y="136632"/>
                </a:cubicBezTo>
                <a:lnTo>
                  <a:pt x="469213" y="285929"/>
                </a:lnTo>
                <a:cubicBezTo>
                  <a:pt x="467553" y="293016"/>
                  <a:pt x="460546" y="297434"/>
                  <a:pt x="453446" y="295869"/>
                </a:cubicBezTo>
                <a:lnTo>
                  <a:pt x="411494" y="286481"/>
                </a:lnTo>
                <a:cubicBezTo>
                  <a:pt x="434084" y="272122"/>
                  <a:pt x="441921" y="242667"/>
                  <a:pt x="428736" y="219104"/>
                </a:cubicBezTo>
                <a:cubicBezTo>
                  <a:pt x="414998" y="194620"/>
                  <a:pt x="384018" y="185876"/>
                  <a:pt x="359584" y="199498"/>
                </a:cubicBezTo>
                <a:lnTo>
                  <a:pt x="351655" y="203917"/>
                </a:lnTo>
                <a:lnTo>
                  <a:pt x="373322" y="107546"/>
                </a:lnTo>
                <a:cubicBezTo>
                  <a:pt x="374890" y="100550"/>
                  <a:pt x="381897" y="96040"/>
                  <a:pt x="388997" y="97697"/>
                </a:cubicBezTo>
                <a:close/>
                <a:moveTo>
                  <a:pt x="427054" y="87148"/>
                </a:moveTo>
                <a:cubicBezTo>
                  <a:pt x="427331" y="87148"/>
                  <a:pt x="427607" y="87240"/>
                  <a:pt x="427884" y="87240"/>
                </a:cubicBezTo>
                <a:lnTo>
                  <a:pt x="461971" y="94892"/>
                </a:lnTo>
                <a:cubicBezTo>
                  <a:pt x="463997" y="95353"/>
                  <a:pt x="465195" y="97381"/>
                  <a:pt x="464827" y="99317"/>
                </a:cubicBezTo>
                <a:lnTo>
                  <a:pt x="460404" y="118585"/>
                </a:lnTo>
                <a:cubicBezTo>
                  <a:pt x="460220" y="119599"/>
                  <a:pt x="459667" y="120429"/>
                  <a:pt x="458838" y="120890"/>
                </a:cubicBezTo>
                <a:cubicBezTo>
                  <a:pt x="458286" y="121259"/>
                  <a:pt x="457549" y="121443"/>
                  <a:pt x="456904" y="121443"/>
                </a:cubicBezTo>
                <a:cubicBezTo>
                  <a:pt x="456627" y="121443"/>
                  <a:pt x="456351" y="121443"/>
                  <a:pt x="456074" y="121351"/>
                </a:cubicBezTo>
                <a:lnTo>
                  <a:pt x="421895" y="113699"/>
                </a:lnTo>
                <a:cubicBezTo>
                  <a:pt x="419961" y="113238"/>
                  <a:pt x="418763" y="111302"/>
                  <a:pt x="419132" y="109274"/>
                </a:cubicBezTo>
                <a:lnTo>
                  <a:pt x="423462" y="90098"/>
                </a:lnTo>
                <a:cubicBezTo>
                  <a:pt x="423922" y="88347"/>
                  <a:pt x="425396" y="87148"/>
                  <a:pt x="427054" y="87148"/>
                </a:cubicBezTo>
                <a:close/>
                <a:moveTo>
                  <a:pt x="39020" y="50484"/>
                </a:moveTo>
                <a:cubicBezTo>
                  <a:pt x="46509" y="52659"/>
                  <a:pt x="53169" y="57698"/>
                  <a:pt x="57224" y="65108"/>
                </a:cubicBezTo>
                <a:lnTo>
                  <a:pt x="88655" y="122267"/>
                </a:lnTo>
                <a:lnTo>
                  <a:pt x="161103" y="155404"/>
                </a:lnTo>
                <a:lnTo>
                  <a:pt x="253736" y="155404"/>
                </a:lnTo>
                <a:cubicBezTo>
                  <a:pt x="270696" y="155404"/>
                  <a:pt x="286550" y="163688"/>
                  <a:pt x="296136" y="177678"/>
                </a:cubicBezTo>
                <a:lnTo>
                  <a:pt x="336138" y="235850"/>
                </a:lnTo>
                <a:lnTo>
                  <a:pt x="369413" y="217257"/>
                </a:lnTo>
                <a:cubicBezTo>
                  <a:pt x="384160" y="209065"/>
                  <a:pt x="402687" y="214312"/>
                  <a:pt x="410890" y="228947"/>
                </a:cubicBezTo>
                <a:cubicBezTo>
                  <a:pt x="419186" y="243674"/>
                  <a:pt x="413840" y="262175"/>
                  <a:pt x="399184" y="270367"/>
                </a:cubicBezTo>
                <a:lnTo>
                  <a:pt x="341577" y="302491"/>
                </a:lnTo>
                <a:cubicBezTo>
                  <a:pt x="336876" y="305160"/>
                  <a:pt x="331806" y="306356"/>
                  <a:pt x="326737" y="306356"/>
                </a:cubicBezTo>
                <a:cubicBezTo>
                  <a:pt x="316967" y="306356"/>
                  <a:pt x="307473" y="301754"/>
                  <a:pt x="301574" y="293194"/>
                </a:cubicBezTo>
                <a:lnTo>
                  <a:pt x="283416" y="266777"/>
                </a:lnTo>
                <a:lnTo>
                  <a:pt x="283416" y="576875"/>
                </a:lnTo>
                <a:cubicBezTo>
                  <a:pt x="283416" y="593903"/>
                  <a:pt x="269590" y="607710"/>
                  <a:pt x="252630" y="607710"/>
                </a:cubicBezTo>
                <a:cubicBezTo>
                  <a:pt x="235578" y="607710"/>
                  <a:pt x="221752" y="593903"/>
                  <a:pt x="221752" y="576875"/>
                </a:cubicBezTo>
                <a:lnTo>
                  <a:pt x="221752" y="392786"/>
                </a:lnTo>
                <a:lnTo>
                  <a:pt x="197419" y="392786"/>
                </a:lnTo>
                <a:lnTo>
                  <a:pt x="197419" y="576875"/>
                </a:lnTo>
                <a:cubicBezTo>
                  <a:pt x="197419" y="593903"/>
                  <a:pt x="183593" y="607710"/>
                  <a:pt x="166541" y="607710"/>
                </a:cubicBezTo>
                <a:cubicBezTo>
                  <a:pt x="149489" y="607710"/>
                  <a:pt x="135663" y="593903"/>
                  <a:pt x="135663" y="576875"/>
                </a:cubicBezTo>
                <a:lnTo>
                  <a:pt x="135663" y="210722"/>
                </a:lnTo>
                <a:lnTo>
                  <a:pt x="53998" y="173352"/>
                </a:lnTo>
                <a:cubicBezTo>
                  <a:pt x="48099" y="170683"/>
                  <a:pt x="43122" y="166081"/>
                  <a:pt x="39988" y="160374"/>
                </a:cubicBezTo>
                <a:lnTo>
                  <a:pt x="3764" y="94378"/>
                </a:lnTo>
                <a:cubicBezTo>
                  <a:pt x="-4347" y="79651"/>
                  <a:pt x="1091" y="61150"/>
                  <a:pt x="15839" y="53050"/>
                </a:cubicBezTo>
                <a:cubicBezTo>
                  <a:pt x="23213" y="49000"/>
                  <a:pt x="31531" y="48310"/>
                  <a:pt x="39020" y="50484"/>
                </a:cubicBezTo>
                <a:close/>
                <a:moveTo>
                  <a:pt x="209572" y="0"/>
                </a:moveTo>
                <a:cubicBezTo>
                  <a:pt x="246654" y="0"/>
                  <a:pt x="276715" y="30030"/>
                  <a:pt x="276715" y="67073"/>
                </a:cubicBezTo>
                <a:cubicBezTo>
                  <a:pt x="276715" y="104116"/>
                  <a:pt x="246654" y="134146"/>
                  <a:pt x="209572" y="134146"/>
                </a:cubicBezTo>
                <a:cubicBezTo>
                  <a:pt x="172490" y="134146"/>
                  <a:pt x="142429" y="104116"/>
                  <a:pt x="142429" y="67073"/>
                </a:cubicBezTo>
                <a:cubicBezTo>
                  <a:pt x="142429" y="30030"/>
                  <a:pt x="172490" y="0"/>
                  <a:pt x="209572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/>
          </a:p>
        </p:txBody>
      </p:sp>
      <p:pic>
        <p:nvPicPr>
          <p:cNvPr id="6" name="图片 5" descr="a88d6fee4b986935a44bcffa55547230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710305" y="1854200"/>
            <a:ext cx="4791075" cy="4829175"/>
          </a:xfrm>
          <a:prstGeom prst="rect">
            <a:avLst/>
          </a:prstGeom>
        </p:spPr>
      </p:pic>
      <p:sp>
        <p:nvSpPr>
          <p:cNvPr id="257" name="Freeform 131"/>
          <p:cNvSpPr>
            <a:spLocks noEditPoints="1"/>
          </p:cNvSpPr>
          <p:nvPr/>
        </p:nvSpPr>
        <p:spPr bwMode="auto">
          <a:xfrm>
            <a:off x="520700" y="1099820"/>
            <a:ext cx="417830" cy="415290"/>
          </a:xfrm>
          <a:custGeom>
            <a:avLst/>
            <a:gdLst>
              <a:gd name="T0" fmla="*/ 20 w 106"/>
              <a:gd name="T1" fmla="*/ 53 h 105"/>
              <a:gd name="T2" fmla="*/ 20 w 106"/>
              <a:gd name="T3" fmla="*/ 49 h 105"/>
              <a:gd name="T4" fmla="*/ 1 w 106"/>
              <a:gd name="T5" fmla="*/ 43 h 105"/>
              <a:gd name="T6" fmla="*/ 0 w 106"/>
              <a:gd name="T7" fmla="*/ 53 h 105"/>
              <a:gd name="T8" fmla="*/ 17 w 106"/>
              <a:gd name="T9" fmla="*/ 91 h 105"/>
              <a:gd name="T10" fmla="*/ 29 w 106"/>
              <a:gd name="T11" fmla="*/ 75 h 105"/>
              <a:gd name="T12" fmla="*/ 20 w 106"/>
              <a:gd name="T13" fmla="*/ 53 h 105"/>
              <a:gd name="T14" fmla="*/ 86 w 106"/>
              <a:gd name="T15" fmla="*/ 53 h 105"/>
              <a:gd name="T16" fmla="*/ 77 w 106"/>
              <a:gd name="T17" fmla="*/ 75 h 105"/>
              <a:gd name="T18" fmla="*/ 89 w 106"/>
              <a:gd name="T19" fmla="*/ 91 h 105"/>
              <a:gd name="T20" fmla="*/ 106 w 106"/>
              <a:gd name="T21" fmla="*/ 53 h 105"/>
              <a:gd name="T22" fmla="*/ 105 w 106"/>
              <a:gd name="T23" fmla="*/ 43 h 105"/>
              <a:gd name="T24" fmla="*/ 86 w 106"/>
              <a:gd name="T25" fmla="*/ 49 h 105"/>
              <a:gd name="T26" fmla="*/ 86 w 106"/>
              <a:gd name="T27" fmla="*/ 53 h 105"/>
              <a:gd name="T28" fmla="*/ 59 w 106"/>
              <a:gd name="T29" fmla="*/ 20 h 105"/>
              <a:gd name="T30" fmla="*/ 82 w 106"/>
              <a:gd name="T31" fmla="*/ 36 h 105"/>
              <a:gd name="T32" fmla="*/ 101 w 106"/>
              <a:gd name="T33" fmla="*/ 30 h 105"/>
              <a:gd name="T34" fmla="*/ 59 w 106"/>
              <a:gd name="T35" fmla="*/ 0 h 105"/>
              <a:gd name="T36" fmla="*/ 59 w 106"/>
              <a:gd name="T37" fmla="*/ 20 h 105"/>
              <a:gd name="T38" fmla="*/ 24 w 106"/>
              <a:gd name="T39" fmla="*/ 36 h 105"/>
              <a:gd name="T40" fmla="*/ 46 w 106"/>
              <a:gd name="T41" fmla="*/ 20 h 105"/>
              <a:gd name="T42" fmla="*/ 46 w 106"/>
              <a:gd name="T43" fmla="*/ 0 h 105"/>
              <a:gd name="T44" fmla="*/ 5 w 106"/>
              <a:gd name="T45" fmla="*/ 30 h 105"/>
              <a:gd name="T46" fmla="*/ 24 w 106"/>
              <a:gd name="T47" fmla="*/ 36 h 105"/>
              <a:gd name="T48" fmla="*/ 67 w 106"/>
              <a:gd name="T49" fmla="*/ 83 h 105"/>
              <a:gd name="T50" fmla="*/ 53 w 106"/>
              <a:gd name="T51" fmla="*/ 85 h 105"/>
              <a:gd name="T52" fmla="*/ 39 w 106"/>
              <a:gd name="T53" fmla="*/ 83 h 105"/>
              <a:gd name="T54" fmla="*/ 28 w 106"/>
              <a:gd name="T55" fmla="*/ 99 h 105"/>
              <a:gd name="T56" fmla="*/ 53 w 106"/>
              <a:gd name="T57" fmla="*/ 105 h 105"/>
              <a:gd name="T58" fmla="*/ 78 w 106"/>
              <a:gd name="T59" fmla="*/ 99 h 105"/>
              <a:gd name="T60" fmla="*/ 67 w 106"/>
              <a:gd name="T61" fmla="*/ 83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06" h="105">
                <a:moveTo>
                  <a:pt x="20" y="53"/>
                </a:moveTo>
                <a:cubicBezTo>
                  <a:pt x="20" y="51"/>
                  <a:pt x="20" y="50"/>
                  <a:pt x="20" y="49"/>
                </a:cubicBezTo>
                <a:cubicBezTo>
                  <a:pt x="1" y="43"/>
                  <a:pt x="1" y="43"/>
                  <a:pt x="1" y="43"/>
                </a:cubicBezTo>
                <a:cubicBezTo>
                  <a:pt x="1" y="46"/>
                  <a:pt x="0" y="49"/>
                  <a:pt x="0" y="53"/>
                </a:cubicBezTo>
                <a:cubicBezTo>
                  <a:pt x="0" y="68"/>
                  <a:pt x="7" y="81"/>
                  <a:pt x="17" y="91"/>
                </a:cubicBezTo>
                <a:cubicBezTo>
                  <a:pt x="29" y="75"/>
                  <a:pt x="29" y="75"/>
                  <a:pt x="29" y="75"/>
                </a:cubicBezTo>
                <a:cubicBezTo>
                  <a:pt x="23" y="69"/>
                  <a:pt x="20" y="61"/>
                  <a:pt x="20" y="53"/>
                </a:cubicBezTo>
                <a:close/>
                <a:moveTo>
                  <a:pt x="86" y="53"/>
                </a:moveTo>
                <a:cubicBezTo>
                  <a:pt x="86" y="61"/>
                  <a:pt x="83" y="69"/>
                  <a:pt x="77" y="75"/>
                </a:cubicBezTo>
                <a:cubicBezTo>
                  <a:pt x="89" y="91"/>
                  <a:pt x="89" y="91"/>
                  <a:pt x="89" y="91"/>
                </a:cubicBezTo>
                <a:cubicBezTo>
                  <a:pt x="99" y="81"/>
                  <a:pt x="106" y="68"/>
                  <a:pt x="106" y="53"/>
                </a:cubicBezTo>
                <a:cubicBezTo>
                  <a:pt x="106" y="49"/>
                  <a:pt x="105" y="46"/>
                  <a:pt x="105" y="43"/>
                </a:cubicBezTo>
                <a:cubicBezTo>
                  <a:pt x="86" y="49"/>
                  <a:pt x="86" y="49"/>
                  <a:pt x="86" y="49"/>
                </a:cubicBezTo>
                <a:cubicBezTo>
                  <a:pt x="86" y="50"/>
                  <a:pt x="86" y="51"/>
                  <a:pt x="86" y="53"/>
                </a:cubicBezTo>
                <a:close/>
                <a:moveTo>
                  <a:pt x="59" y="20"/>
                </a:moveTo>
                <a:cubicBezTo>
                  <a:pt x="69" y="22"/>
                  <a:pt x="77" y="28"/>
                  <a:pt x="82" y="36"/>
                </a:cubicBezTo>
                <a:cubicBezTo>
                  <a:pt x="101" y="30"/>
                  <a:pt x="101" y="30"/>
                  <a:pt x="101" y="30"/>
                </a:cubicBezTo>
                <a:cubicBezTo>
                  <a:pt x="93" y="14"/>
                  <a:pt x="78" y="3"/>
                  <a:pt x="59" y="0"/>
                </a:cubicBezTo>
                <a:lnTo>
                  <a:pt x="59" y="20"/>
                </a:lnTo>
                <a:close/>
                <a:moveTo>
                  <a:pt x="24" y="36"/>
                </a:moveTo>
                <a:cubicBezTo>
                  <a:pt x="29" y="28"/>
                  <a:pt x="37" y="22"/>
                  <a:pt x="46" y="20"/>
                </a:cubicBezTo>
                <a:cubicBezTo>
                  <a:pt x="46" y="0"/>
                  <a:pt x="46" y="0"/>
                  <a:pt x="46" y="0"/>
                </a:cubicBezTo>
                <a:cubicBezTo>
                  <a:pt x="28" y="3"/>
                  <a:pt x="13" y="14"/>
                  <a:pt x="5" y="30"/>
                </a:cubicBezTo>
                <a:lnTo>
                  <a:pt x="24" y="36"/>
                </a:lnTo>
                <a:close/>
                <a:moveTo>
                  <a:pt x="67" y="83"/>
                </a:moveTo>
                <a:cubicBezTo>
                  <a:pt x="62" y="84"/>
                  <a:pt x="58" y="85"/>
                  <a:pt x="53" y="85"/>
                </a:cubicBezTo>
                <a:cubicBezTo>
                  <a:pt x="48" y="85"/>
                  <a:pt x="43" y="84"/>
                  <a:pt x="39" y="83"/>
                </a:cubicBezTo>
                <a:cubicBezTo>
                  <a:pt x="28" y="99"/>
                  <a:pt x="28" y="99"/>
                  <a:pt x="28" y="99"/>
                </a:cubicBezTo>
                <a:cubicBezTo>
                  <a:pt x="35" y="103"/>
                  <a:pt x="44" y="105"/>
                  <a:pt x="53" y="105"/>
                </a:cubicBezTo>
                <a:cubicBezTo>
                  <a:pt x="62" y="105"/>
                  <a:pt x="71" y="103"/>
                  <a:pt x="78" y="99"/>
                </a:cubicBezTo>
                <a:lnTo>
                  <a:pt x="67" y="8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p>
            <a:endParaRPr lang="id-ID" dirty="0"/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小样本解决之招式三：融合模型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-</a:t>
            </a:r>
            <a:r>
              <a:rPr lang="zh-CN" altLang="en-US" sz="2800" b="1" smtClean="0">
                <a:solidFill>
                  <a:srgbClr val="F05A23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比赛王道之选</a:t>
            </a:r>
            <a:endParaRPr lang="zh-CN" altLang="en-US" sz="2800" b="1" smtClean="0">
              <a:solidFill>
                <a:srgbClr val="F05A23"/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938530" y="112522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sz="1800" dirty="0" smtClean="0"/>
              <a:t>模型融合</a:t>
            </a:r>
            <a:r>
              <a:rPr lang="en-US" altLang="zh-CN" sz="1800" dirty="0" smtClean="0"/>
              <a:t>trick</a:t>
            </a:r>
            <a:endParaRPr lang="en-US" altLang="zh-CN" sz="1800" dirty="0" smtClean="0"/>
          </a:p>
        </p:txBody>
      </p:sp>
      <p:grpSp>
        <p:nvGrpSpPr>
          <p:cNvPr id="27" name="组合 26"/>
          <p:cNvGrpSpPr/>
          <p:nvPr/>
        </p:nvGrpSpPr>
        <p:grpSpPr>
          <a:xfrm>
            <a:off x="1873250" y="2770505"/>
            <a:ext cx="8245566" cy="3296376"/>
            <a:chOff x="5771" y="4287"/>
            <a:chExt cx="11364" cy="4543"/>
          </a:xfrm>
        </p:grpSpPr>
        <p:sp>
          <p:nvSpPr>
            <p:cNvPr id="11" name="任意多边形: 形状 7"/>
            <p:cNvSpPr/>
            <p:nvPr/>
          </p:nvSpPr>
          <p:spPr>
            <a:xfrm>
              <a:off x="5771" y="4287"/>
              <a:ext cx="3953" cy="4543"/>
            </a:xfrm>
            <a:custGeom>
              <a:avLst/>
              <a:gdLst>
                <a:gd name="connsiteX0" fmla="*/ 3603308 w 3603307"/>
                <a:gd name="connsiteY0" fmla="*/ 1062038 h 4062412"/>
                <a:gd name="connsiteX1" fmla="*/ 3603308 w 3603307"/>
                <a:gd name="connsiteY1" fmla="*/ 3000375 h 4062412"/>
                <a:gd name="connsiteX2" fmla="*/ 3424238 w 3603307"/>
                <a:gd name="connsiteY2" fmla="*/ 3289935 h 4062412"/>
                <a:gd name="connsiteX3" fmla="*/ 1946910 w 3603307"/>
                <a:gd name="connsiteY3" fmla="*/ 4028123 h 4062412"/>
                <a:gd name="connsiteX4" fmla="*/ 1657350 w 3603307"/>
                <a:gd name="connsiteY4" fmla="*/ 4028123 h 4062412"/>
                <a:gd name="connsiteX5" fmla="*/ 179070 w 3603307"/>
                <a:gd name="connsiteY5" fmla="*/ 3289935 h 4062412"/>
                <a:gd name="connsiteX6" fmla="*/ 0 w 3603307"/>
                <a:gd name="connsiteY6" fmla="*/ 3000375 h 4062412"/>
                <a:gd name="connsiteX7" fmla="*/ 0 w 3603307"/>
                <a:gd name="connsiteY7" fmla="*/ 1062038 h 4062412"/>
                <a:gd name="connsiteX8" fmla="*/ 179070 w 3603307"/>
                <a:gd name="connsiteY8" fmla="*/ 772478 h 4062412"/>
                <a:gd name="connsiteX9" fmla="*/ 1656398 w 3603307"/>
                <a:gd name="connsiteY9" fmla="*/ 34290 h 4062412"/>
                <a:gd name="connsiteX10" fmla="*/ 1945958 w 3603307"/>
                <a:gd name="connsiteY10" fmla="*/ 34290 h 4062412"/>
                <a:gd name="connsiteX11" fmla="*/ 3423285 w 3603307"/>
                <a:gd name="connsiteY11" fmla="*/ 772478 h 4062412"/>
                <a:gd name="connsiteX12" fmla="*/ 3603308 w 3603307"/>
                <a:gd name="connsiteY12" fmla="*/ 1062038 h 4062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603307" h="4062412">
                  <a:moveTo>
                    <a:pt x="3603308" y="1062038"/>
                  </a:moveTo>
                  <a:lnTo>
                    <a:pt x="3603308" y="3000375"/>
                  </a:lnTo>
                  <a:cubicBezTo>
                    <a:pt x="3603308" y="3123248"/>
                    <a:pt x="3533775" y="3235643"/>
                    <a:pt x="3424238" y="3289935"/>
                  </a:cubicBezTo>
                  <a:lnTo>
                    <a:pt x="1946910" y="4028123"/>
                  </a:lnTo>
                  <a:cubicBezTo>
                    <a:pt x="1855470" y="4073843"/>
                    <a:pt x="1748790" y="4073843"/>
                    <a:pt x="1657350" y="4028123"/>
                  </a:cubicBezTo>
                  <a:lnTo>
                    <a:pt x="179070" y="3289935"/>
                  </a:lnTo>
                  <a:cubicBezTo>
                    <a:pt x="69533" y="3235643"/>
                    <a:pt x="0" y="3123248"/>
                    <a:pt x="0" y="3000375"/>
                  </a:cubicBezTo>
                  <a:lnTo>
                    <a:pt x="0" y="1062038"/>
                  </a:lnTo>
                  <a:cubicBezTo>
                    <a:pt x="0" y="939165"/>
                    <a:pt x="69533" y="826770"/>
                    <a:pt x="179070" y="772478"/>
                  </a:cubicBezTo>
                  <a:lnTo>
                    <a:pt x="1656398" y="34290"/>
                  </a:lnTo>
                  <a:cubicBezTo>
                    <a:pt x="1747838" y="-11430"/>
                    <a:pt x="1854518" y="-11430"/>
                    <a:pt x="1945958" y="34290"/>
                  </a:cubicBezTo>
                  <a:lnTo>
                    <a:pt x="3423285" y="772478"/>
                  </a:lnTo>
                  <a:cubicBezTo>
                    <a:pt x="3533775" y="827723"/>
                    <a:pt x="3603308" y="939165"/>
                    <a:pt x="3603308" y="1062038"/>
                  </a:cubicBezTo>
                  <a:close/>
                </a:path>
              </a:pathLst>
            </a:custGeom>
            <a:solidFill>
              <a:schemeClr val="accent6">
                <a:alpha val="10000"/>
              </a:schemeClr>
            </a:solidFill>
            <a:ln w="5715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0" tIns="0" rIns="0" bIns="0" numCol="1" spcCol="0" rtlCol="0" fromWordArt="0" anchor="ctr" anchorCtr="0" forceAA="0" compatLnSpc="1">
              <a:normAutofit/>
            </a:bodyPr>
            <a:lstStyle/>
            <a:p>
              <a:pPr algn="ctr" defTabSz="913765"/>
              <a:r>
                <a:rPr lang="en-US" altLang="zh-CN" sz="1600" b="1" dirty="0">
                  <a:noFill/>
                  <a:latin typeface="Arial" panose="020B0604020202090204" pitchFamily="34" charset="0"/>
                  <a:ea typeface="华文楷体" panose="02010600040101010101" pitchFamily="2" charset="-122"/>
                </a:rPr>
                <a:t>02</a:t>
              </a:r>
              <a:endParaRPr lang="zh-CN" altLang="en-US" sz="1600" b="1" dirty="0">
                <a:noFill/>
                <a:latin typeface="Arial" panose="020B0604020202090204" pitchFamily="34" charset="0"/>
                <a:ea typeface="华文楷体" panose="02010600040101010101" pitchFamily="2" charset="-122"/>
              </a:endParaRPr>
            </a:p>
          </p:txBody>
        </p:sp>
        <p:grpSp>
          <p:nvGrpSpPr>
            <p:cNvPr id="15" name="组合 14"/>
            <p:cNvGrpSpPr>
              <a:grpSpLocks noChangeAspect="1"/>
            </p:cNvGrpSpPr>
            <p:nvPr/>
          </p:nvGrpSpPr>
          <p:grpSpPr>
            <a:xfrm rot="0">
              <a:off x="7290" y="5235"/>
              <a:ext cx="860" cy="850"/>
              <a:chOff x="9072988" y="4530811"/>
              <a:chExt cx="885971" cy="876459"/>
            </a:xfrm>
          </p:grpSpPr>
          <p:sp>
            <p:nvSpPr>
              <p:cNvPr id="22" name="矩形: 圆角 21"/>
              <p:cNvSpPr/>
              <p:nvPr/>
            </p:nvSpPr>
            <p:spPr>
              <a:xfrm>
                <a:off x="9072988" y="4530811"/>
                <a:ext cx="885971" cy="876459"/>
              </a:xfrm>
              <a:prstGeom prst="roundRect">
                <a:avLst/>
              </a:prstGeom>
              <a:gradFill>
                <a:gsLst>
                  <a:gs pos="0">
                    <a:schemeClr val="accent6">
                      <a:lumMod val="60000"/>
                      <a:lumOff val="40000"/>
                    </a:schemeClr>
                  </a:gs>
                  <a:gs pos="60000">
                    <a:schemeClr val="accent6"/>
                  </a:gs>
                </a:gsLst>
                <a:lin ang="2700000" scaled="0"/>
              </a:gradFill>
              <a:ln w="57150" cap="rnd">
                <a:noFill/>
                <a:prstDash val="solid"/>
                <a:round/>
              </a:ln>
              <a:effectLst>
                <a:outerShdw blurRad="76200" dist="50800" dir="5400000" algn="ctr" rotWithShape="0">
                  <a:schemeClr val="accent6">
                    <a:alpha val="20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3765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3" name="任意多边形: 形状 22"/>
              <p:cNvSpPr/>
              <p:nvPr/>
            </p:nvSpPr>
            <p:spPr>
              <a:xfrm>
                <a:off x="9321055" y="4789069"/>
                <a:ext cx="380330" cy="346372"/>
              </a:xfrm>
              <a:custGeom>
                <a:avLst/>
                <a:gdLst>
                  <a:gd name="connsiteX0" fmla="*/ 125329 w 533400"/>
                  <a:gd name="connsiteY0" fmla="*/ 229221 h 485775"/>
                  <a:gd name="connsiteX1" fmla="*/ 125329 w 533400"/>
                  <a:gd name="connsiteY1" fmla="*/ 276846 h 485775"/>
                  <a:gd name="connsiteX2" fmla="*/ 144379 w 533400"/>
                  <a:gd name="connsiteY2" fmla="*/ 276846 h 485775"/>
                  <a:gd name="connsiteX3" fmla="*/ 144379 w 533400"/>
                  <a:gd name="connsiteY3" fmla="*/ 229221 h 485775"/>
                  <a:gd name="connsiteX4" fmla="*/ 392029 w 533400"/>
                  <a:gd name="connsiteY4" fmla="*/ 229221 h 485775"/>
                  <a:gd name="connsiteX5" fmla="*/ 392029 w 533400"/>
                  <a:gd name="connsiteY5" fmla="*/ 276846 h 485775"/>
                  <a:gd name="connsiteX6" fmla="*/ 411079 w 533400"/>
                  <a:gd name="connsiteY6" fmla="*/ 276846 h 485775"/>
                  <a:gd name="connsiteX7" fmla="*/ 411079 w 533400"/>
                  <a:gd name="connsiteY7" fmla="*/ 229221 h 485775"/>
                  <a:gd name="connsiteX8" fmla="*/ 534904 w 533400"/>
                  <a:gd name="connsiteY8" fmla="*/ 229221 h 485775"/>
                  <a:gd name="connsiteX9" fmla="*/ 534904 w 533400"/>
                  <a:gd name="connsiteY9" fmla="*/ 457821 h 485775"/>
                  <a:gd name="connsiteX10" fmla="*/ 506329 w 533400"/>
                  <a:gd name="connsiteY10" fmla="*/ 486396 h 485775"/>
                  <a:gd name="connsiteX11" fmla="*/ 30079 w 533400"/>
                  <a:gd name="connsiteY11" fmla="*/ 486396 h 485775"/>
                  <a:gd name="connsiteX12" fmla="*/ 1504 w 533400"/>
                  <a:gd name="connsiteY12" fmla="*/ 457821 h 485775"/>
                  <a:gd name="connsiteX13" fmla="*/ 1504 w 533400"/>
                  <a:gd name="connsiteY13" fmla="*/ 229221 h 485775"/>
                  <a:gd name="connsiteX14" fmla="*/ 125329 w 533400"/>
                  <a:gd name="connsiteY14" fmla="*/ 229221 h 485775"/>
                  <a:gd name="connsiteX15" fmla="*/ 372979 w 533400"/>
                  <a:gd name="connsiteY15" fmla="*/ 621 h 485775"/>
                  <a:gd name="connsiteX16" fmla="*/ 411079 w 533400"/>
                  <a:gd name="connsiteY16" fmla="*/ 36816 h 485775"/>
                  <a:gd name="connsiteX17" fmla="*/ 411079 w 533400"/>
                  <a:gd name="connsiteY17" fmla="*/ 38721 h 485775"/>
                  <a:gd name="connsiteX18" fmla="*/ 411079 w 533400"/>
                  <a:gd name="connsiteY18" fmla="*/ 114921 h 485775"/>
                  <a:gd name="connsiteX19" fmla="*/ 506329 w 533400"/>
                  <a:gd name="connsiteY19" fmla="*/ 114921 h 485775"/>
                  <a:gd name="connsiteX20" fmla="*/ 534904 w 533400"/>
                  <a:gd name="connsiteY20" fmla="*/ 143496 h 485775"/>
                  <a:gd name="connsiteX21" fmla="*/ 534904 w 533400"/>
                  <a:gd name="connsiteY21" fmla="*/ 210171 h 485775"/>
                  <a:gd name="connsiteX22" fmla="*/ 1504 w 533400"/>
                  <a:gd name="connsiteY22" fmla="*/ 210171 h 485775"/>
                  <a:gd name="connsiteX23" fmla="*/ 1504 w 533400"/>
                  <a:gd name="connsiteY23" fmla="*/ 143496 h 485775"/>
                  <a:gd name="connsiteX24" fmla="*/ 30079 w 533400"/>
                  <a:gd name="connsiteY24" fmla="*/ 114921 h 485775"/>
                  <a:gd name="connsiteX25" fmla="*/ 125329 w 533400"/>
                  <a:gd name="connsiteY25" fmla="*/ 114921 h 485775"/>
                  <a:gd name="connsiteX26" fmla="*/ 125329 w 533400"/>
                  <a:gd name="connsiteY26" fmla="*/ 38721 h 485775"/>
                  <a:gd name="connsiteX27" fmla="*/ 161524 w 533400"/>
                  <a:gd name="connsiteY27" fmla="*/ 621 h 485775"/>
                  <a:gd name="connsiteX28" fmla="*/ 163429 w 533400"/>
                  <a:gd name="connsiteY28" fmla="*/ 621 h 485775"/>
                  <a:gd name="connsiteX29" fmla="*/ 372979 w 533400"/>
                  <a:gd name="connsiteY29" fmla="*/ 621 h 485775"/>
                  <a:gd name="connsiteX30" fmla="*/ 372979 w 533400"/>
                  <a:gd name="connsiteY30" fmla="*/ 19671 h 485775"/>
                  <a:gd name="connsiteX31" fmla="*/ 163429 w 533400"/>
                  <a:gd name="connsiteY31" fmla="*/ 19671 h 485775"/>
                  <a:gd name="connsiteX32" fmla="*/ 144474 w 533400"/>
                  <a:gd name="connsiteY32" fmla="*/ 37292 h 485775"/>
                  <a:gd name="connsiteX33" fmla="*/ 144379 w 533400"/>
                  <a:gd name="connsiteY33" fmla="*/ 38721 h 485775"/>
                  <a:gd name="connsiteX34" fmla="*/ 144379 w 533400"/>
                  <a:gd name="connsiteY34" fmla="*/ 114921 h 485775"/>
                  <a:gd name="connsiteX35" fmla="*/ 392029 w 533400"/>
                  <a:gd name="connsiteY35" fmla="*/ 114921 h 485775"/>
                  <a:gd name="connsiteX36" fmla="*/ 392029 w 533400"/>
                  <a:gd name="connsiteY36" fmla="*/ 38721 h 485775"/>
                  <a:gd name="connsiteX37" fmla="*/ 375836 w 533400"/>
                  <a:gd name="connsiteY37" fmla="*/ 19862 h 485775"/>
                  <a:gd name="connsiteX38" fmla="*/ 374408 w 533400"/>
                  <a:gd name="connsiteY38" fmla="*/ 19671 h 485775"/>
                  <a:gd name="connsiteX39" fmla="*/ 372979 w 533400"/>
                  <a:gd name="connsiteY39" fmla="*/ 19671 h 485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</a:cxnLst>
                <a:rect l="l" t="t" r="r" b="b"/>
                <a:pathLst>
                  <a:path w="533400" h="485775">
                    <a:moveTo>
                      <a:pt x="125329" y="229221"/>
                    </a:moveTo>
                    <a:lnTo>
                      <a:pt x="125329" y="276846"/>
                    </a:lnTo>
                    <a:lnTo>
                      <a:pt x="144379" y="276846"/>
                    </a:lnTo>
                    <a:lnTo>
                      <a:pt x="144379" y="229221"/>
                    </a:lnTo>
                    <a:lnTo>
                      <a:pt x="392029" y="229221"/>
                    </a:lnTo>
                    <a:lnTo>
                      <a:pt x="392029" y="276846"/>
                    </a:lnTo>
                    <a:lnTo>
                      <a:pt x="411079" y="276846"/>
                    </a:lnTo>
                    <a:lnTo>
                      <a:pt x="411079" y="229221"/>
                    </a:lnTo>
                    <a:lnTo>
                      <a:pt x="534904" y="229221"/>
                    </a:lnTo>
                    <a:lnTo>
                      <a:pt x="534904" y="457821"/>
                    </a:lnTo>
                    <a:cubicBezTo>
                      <a:pt x="534904" y="473632"/>
                      <a:pt x="522141" y="486396"/>
                      <a:pt x="506329" y="486396"/>
                    </a:cubicBezTo>
                    <a:lnTo>
                      <a:pt x="30079" y="486396"/>
                    </a:lnTo>
                    <a:cubicBezTo>
                      <a:pt x="14267" y="486396"/>
                      <a:pt x="1504" y="473632"/>
                      <a:pt x="1504" y="457821"/>
                    </a:cubicBezTo>
                    <a:lnTo>
                      <a:pt x="1504" y="229221"/>
                    </a:lnTo>
                    <a:lnTo>
                      <a:pt x="125329" y="229221"/>
                    </a:lnTo>
                    <a:close/>
                    <a:moveTo>
                      <a:pt x="372979" y="621"/>
                    </a:moveTo>
                    <a:cubicBezTo>
                      <a:pt x="393363" y="621"/>
                      <a:pt x="410031" y="16623"/>
                      <a:pt x="411079" y="36816"/>
                    </a:cubicBezTo>
                    <a:lnTo>
                      <a:pt x="411079" y="38721"/>
                    </a:lnTo>
                    <a:lnTo>
                      <a:pt x="411079" y="114921"/>
                    </a:lnTo>
                    <a:lnTo>
                      <a:pt x="506329" y="114921"/>
                    </a:lnTo>
                    <a:cubicBezTo>
                      <a:pt x="522141" y="114921"/>
                      <a:pt x="534904" y="127685"/>
                      <a:pt x="534904" y="143496"/>
                    </a:cubicBezTo>
                    <a:lnTo>
                      <a:pt x="534904" y="210171"/>
                    </a:lnTo>
                    <a:lnTo>
                      <a:pt x="1504" y="210171"/>
                    </a:lnTo>
                    <a:lnTo>
                      <a:pt x="1504" y="143496"/>
                    </a:lnTo>
                    <a:cubicBezTo>
                      <a:pt x="1504" y="127685"/>
                      <a:pt x="14267" y="114921"/>
                      <a:pt x="30079" y="114921"/>
                    </a:cubicBezTo>
                    <a:lnTo>
                      <a:pt x="125329" y="114921"/>
                    </a:lnTo>
                    <a:lnTo>
                      <a:pt x="125329" y="38721"/>
                    </a:lnTo>
                    <a:cubicBezTo>
                      <a:pt x="125329" y="18337"/>
                      <a:pt x="141331" y="1669"/>
                      <a:pt x="161524" y="621"/>
                    </a:cubicBezTo>
                    <a:lnTo>
                      <a:pt x="163429" y="621"/>
                    </a:lnTo>
                    <a:lnTo>
                      <a:pt x="372979" y="621"/>
                    </a:lnTo>
                    <a:close/>
                    <a:moveTo>
                      <a:pt x="372979" y="19671"/>
                    </a:moveTo>
                    <a:lnTo>
                      <a:pt x="163429" y="19671"/>
                    </a:lnTo>
                    <a:cubicBezTo>
                      <a:pt x="153428" y="19671"/>
                      <a:pt x="145141" y="27482"/>
                      <a:pt x="144474" y="37292"/>
                    </a:cubicBezTo>
                    <a:lnTo>
                      <a:pt x="144379" y="38721"/>
                    </a:lnTo>
                    <a:lnTo>
                      <a:pt x="144379" y="114921"/>
                    </a:lnTo>
                    <a:lnTo>
                      <a:pt x="392029" y="114921"/>
                    </a:lnTo>
                    <a:lnTo>
                      <a:pt x="392029" y="38721"/>
                    </a:lnTo>
                    <a:cubicBezTo>
                      <a:pt x="392029" y="29196"/>
                      <a:pt x="384981" y="21290"/>
                      <a:pt x="375836" y="19862"/>
                    </a:cubicBezTo>
                    <a:lnTo>
                      <a:pt x="374408" y="19671"/>
                    </a:lnTo>
                    <a:lnTo>
                      <a:pt x="372979" y="19671"/>
                    </a:lnTo>
                    <a:close/>
                  </a:path>
                </a:pathLst>
              </a:custGeom>
              <a:solidFill>
                <a:srgbClr val="FFFFFF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47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2" name="任意多边形: 形状 9"/>
            <p:cNvSpPr/>
            <p:nvPr/>
          </p:nvSpPr>
          <p:spPr>
            <a:xfrm>
              <a:off x="9477" y="4287"/>
              <a:ext cx="3953" cy="4543"/>
            </a:xfrm>
            <a:custGeom>
              <a:avLst/>
              <a:gdLst>
                <a:gd name="connsiteX0" fmla="*/ 3603308 w 3603307"/>
                <a:gd name="connsiteY0" fmla="*/ 1062038 h 4062412"/>
                <a:gd name="connsiteX1" fmla="*/ 3603308 w 3603307"/>
                <a:gd name="connsiteY1" fmla="*/ 3000375 h 4062412"/>
                <a:gd name="connsiteX2" fmla="*/ 3424238 w 3603307"/>
                <a:gd name="connsiteY2" fmla="*/ 3289935 h 4062412"/>
                <a:gd name="connsiteX3" fmla="*/ 1946910 w 3603307"/>
                <a:gd name="connsiteY3" fmla="*/ 4028123 h 4062412"/>
                <a:gd name="connsiteX4" fmla="*/ 1657350 w 3603307"/>
                <a:gd name="connsiteY4" fmla="*/ 4028123 h 4062412"/>
                <a:gd name="connsiteX5" fmla="*/ 179070 w 3603307"/>
                <a:gd name="connsiteY5" fmla="*/ 3289935 h 4062412"/>
                <a:gd name="connsiteX6" fmla="*/ 0 w 3603307"/>
                <a:gd name="connsiteY6" fmla="*/ 3000375 h 4062412"/>
                <a:gd name="connsiteX7" fmla="*/ 0 w 3603307"/>
                <a:gd name="connsiteY7" fmla="*/ 1062038 h 4062412"/>
                <a:gd name="connsiteX8" fmla="*/ 179070 w 3603307"/>
                <a:gd name="connsiteY8" fmla="*/ 772478 h 4062412"/>
                <a:gd name="connsiteX9" fmla="*/ 1656398 w 3603307"/>
                <a:gd name="connsiteY9" fmla="*/ 34290 h 4062412"/>
                <a:gd name="connsiteX10" fmla="*/ 1945958 w 3603307"/>
                <a:gd name="connsiteY10" fmla="*/ 34290 h 4062412"/>
                <a:gd name="connsiteX11" fmla="*/ 3423285 w 3603307"/>
                <a:gd name="connsiteY11" fmla="*/ 772478 h 4062412"/>
                <a:gd name="connsiteX12" fmla="*/ 3603308 w 3603307"/>
                <a:gd name="connsiteY12" fmla="*/ 1062038 h 4062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603307" h="4062412">
                  <a:moveTo>
                    <a:pt x="3603308" y="1062038"/>
                  </a:moveTo>
                  <a:lnTo>
                    <a:pt x="3603308" y="3000375"/>
                  </a:lnTo>
                  <a:cubicBezTo>
                    <a:pt x="3603308" y="3123248"/>
                    <a:pt x="3533775" y="3235643"/>
                    <a:pt x="3424238" y="3289935"/>
                  </a:cubicBezTo>
                  <a:lnTo>
                    <a:pt x="1946910" y="4028123"/>
                  </a:lnTo>
                  <a:cubicBezTo>
                    <a:pt x="1855470" y="4073843"/>
                    <a:pt x="1748790" y="4073843"/>
                    <a:pt x="1657350" y="4028123"/>
                  </a:cubicBezTo>
                  <a:lnTo>
                    <a:pt x="179070" y="3289935"/>
                  </a:lnTo>
                  <a:cubicBezTo>
                    <a:pt x="69533" y="3235643"/>
                    <a:pt x="0" y="3123248"/>
                    <a:pt x="0" y="3000375"/>
                  </a:cubicBezTo>
                  <a:lnTo>
                    <a:pt x="0" y="1062038"/>
                  </a:lnTo>
                  <a:cubicBezTo>
                    <a:pt x="0" y="939165"/>
                    <a:pt x="69533" y="826770"/>
                    <a:pt x="179070" y="772478"/>
                  </a:cubicBezTo>
                  <a:lnTo>
                    <a:pt x="1656398" y="34290"/>
                  </a:lnTo>
                  <a:cubicBezTo>
                    <a:pt x="1747838" y="-11430"/>
                    <a:pt x="1854518" y="-11430"/>
                    <a:pt x="1945958" y="34290"/>
                  </a:cubicBezTo>
                  <a:lnTo>
                    <a:pt x="3423285" y="772478"/>
                  </a:lnTo>
                  <a:cubicBezTo>
                    <a:pt x="3533775" y="827723"/>
                    <a:pt x="3603308" y="939165"/>
                    <a:pt x="3603308" y="1062038"/>
                  </a:cubicBezTo>
                  <a:close/>
                </a:path>
              </a:pathLst>
            </a:custGeom>
            <a:solidFill>
              <a:schemeClr val="accent4">
                <a:alpha val="10000"/>
              </a:schemeClr>
            </a:solidFill>
            <a:ln w="5715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0" tIns="0" rIns="0" bIns="0" numCol="1" spcCol="0" rtlCol="0" fromWordArt="0" anchor="ctr" anchorCtr="0" forceAA="0" compatLnSpc="1">
              <a:normAutofit/>
            </a:bodyPr>
            <a:lstStyle/>
            <a:p>
              <a:pPr algn="ctr" defTabSz="913765"/>
              <a:r>
                <a:rPr lang="en-US" altLang="zh-CN" sz="1600" b="1" dirty="0">
                  <a:noFill/>
                  <a:latin typeface="Arial" panose="020B0604020202090204" pitchFamily="34" charset="0"/>
                  <a:ea typeface="华文楷体" panose="02010600040101010101" pitchFamily="2" charset="-122"/>
                </a:rPr>
                <a:t>01</a:t>
              </a:r>
              <a:endParaRPr lang="zh-CN" altLang="en-US" sz="1600" b="1" dirty="0">
                <a:noFill/>
                <a:latin typeface="Arial" panose="020B0604020202090204" pitchFamily="34" charset="0"/>
                <a:ea typeface="华文楷体" panose="02010600040101010101" pitchFamily="2" charset="-122"/>
              </a:endParaRPr>
            </a:p>
          </p:txBody>
        </p:sp>
        <p:grpSp>
          <p:nvGrpSpPr>
            <p:cNvPr id="17" name="组合 16"/>
            <p:cNvGrpSpPr>
              <a:grpSpLocks noChangeAspect="1"/>
            </p:cNvGrpSpPr>
            <p:nvPr/>
          </p:nvGrpSpPr>
          <p:grpSpPr>
            <a:xfrm rot="0">
              <a:off x="10974" y="5235"/>
              <a:ext cx="850" cy="850"/>
              <a:chOff x="5033834" y="4530811"/>
              <a:chExt cx="876463" cy="876459"/>
            </a:xfrm>
          </p:grpSpPr>
          <p:sp>
            <p:nvSpPr>
              <p:cNvPr id="18" name="矩形: 圆角 17"/>
              <p:cNvSpPr/>
              <p:nvPr/>
            </p:nvSpPr>
            <p:spPr>
              <a:xfrm>
                <a:off x="5033834" y="4530811"/>
                <a:ext cx="876463" cy="876459"/>
              </a:xfrm>
              <a:prstGeom prst="roundRect">
                <a:avLst/>
              </a:prstGeom>
              <a:gradFill>
                <a:gsLst>
                  <a:gs pos="0">
                    <a:schemeClr val="accent4">
                      <a:lumMod val="60000"/>
                      <a:lumOff val="40000"/>
                    </a:schemeClr>
                  </a:gs>
                  <a:gs pos="60000">
                    <a:schemeClr val="accent4"/>
                  </a:gs>
                </a:gsLst>
                <a:lin ang="2700000" scaled="0"/>
              </a:gradFill>
              <a:ln w="57150" cap="rnd">
                <a:noFill/>
                <a:prstDash val="solid"/>
                <a:round/>
              </a:ln>
              <a:effectLst>
                <a:outerShdw blurRad="76200" dist="50800" dir="5400000" algn="ctr" rotWithShape="0">
                  <a:schemeClr val="accent4">
                    <a:alpha val="20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3765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9" name="任意多边形: 形状 18"/>
              <p:cNvSpPr/>
              <p:nvPr/>
            </p:nvSpPr>
            <p:spPr>
              <a:xfrm>
                <a:off x="5281901" y="4831180"/>
                <a:ext cx="380330" cy="302854"/>
              </a:xfrm>
              <a:custGeom>
                <a:avLst/>
                <a:gdLst>
                  <a:gd name="connsiteX0" fmla="*/ 486767 w 514350"/>
                  <a:gd name="connsiteY0" fmla="*/ 621 h 409575"/>
                  <a:gd name="connsiteX1" fmla="*/ 515342 w 514350"/>
                  <a:gd name="connsiteY1" fmla="*/ 29196 h 409575"/>
                  <a:gd name="connsiteX2" fmla="*/ 515342 w 514350"/>
                  <a:gd name="connsiteY2" fmla="*/ 324471 h 409575"/>
                  <a:gd name="connsiteX3" fmla="*/ 486767 w 514350"/>
                  <a:gd name="connsiteY3" fmla="*/ 353046 h 409575"/>
                  <a:gd name="connsiteX4" fmla="*/ 192159 w 514350"/>
                  <a:gd name="connsiteY4" fmla="*/ 353046 h 409575"/>
                  <a:gd name="connsiteX5" fmla="*/ 115387 w 514350"/>
                  <a:gd name="connsiteY5" fmla="*/ 410196 h 409575"/>
                  <a:gd name="connsiteX6" fmla="*/ 115387 w 514350"/>
                  <a:gd name="connsiteY6" fmla="*/ 353046 h 409575"/>
                  <a:gd name="connsiteX7" fmla="*/ 29567 w 514350"/>
                  <a:gd name="connsiteY7" fmla="*/ 353046 h 409575"/>
                  <a:gd name="connsiteX8" fmla="*/ 992 w 514350"/>
                  <a:gd name="connsiteY8" fmla="*/ 324471 h 409575"/>
                  <a:gd name="connsiteX9" fmla="*/ 992 w 514350"/>
                  <a:gd name="connsiteY9" fmla="*/ 29196 h 409575"/>
                  <a:gd name="connsiteX10" fmla="*/ 29567 w 514350"/>
                  <a:gd name="connsiteY10" fmla="*/ 621 h 409575"/>
                  <a:gd name="connsiteX11" fmla="*/ 486767 w 514350"/>
                  <a:gd name="connsiteY11" fmla="*/ 621 h 409575"/>
                  <a:gd name="connsiteX12" fmla="*/ 124817 w 514350"/>
                  <a:gd name="connsiteY12" fmla="*/ 143496 h 409575"/>
                  <a:gd name="connsiteX13" fmla="*/ 91480 w 514350"/>
                  <a:gd name="connsiteY13" fmla="*/ 176834 h 409575"/>
                  <a:gd name="connsiteX14" fmla="*/ 124817 w 514350"/>
                  <a:gd name="connsiteY14" fmla="*/ 210171 h 409575"/>
                  <a:gd name="connsiteX15" fmla="*/ 158155 w 514350"/>
                  <a:gd name="connsiteY15" fmla="*/ 176834 h 409575"/>
                  <a:gd name="connsiteX16" fmla="*/ 124817 w 514350"/>
                  <a:gd name="connsiteY16" fmla="*/ 143496 h 409575"/>
                  <a:gd name="connsiteX17" fmla="*/ 258167 w 514350"/>
                  <a:gd name="connsiteY17" fmla="*/ 143496 h 409575"/>
                  <a:gd name="connsiteX18" fmla="*/ 224830 w 514350"/>
                  <a:gd name="connsiteY18" fmla="*/ 176834 h 409575"/>
                  <a:gd name="connsiteX19" fmla="*/ 258167 w 514350"/>
                  <a:gd name="connsiteY19" fmla="*/ 210171 h 409575"/>
                  <a:gd name="connsiteX20" fmla="*/ 291505 w 514350"/>
                  <a:gd name="connsiteY20" fmla="*/ 176834 h 409575"/>
                  <a:gd name="connsiteX21" fmla="*/ 258167 w 514350"/>
                  <a:gd name="connsiteY21" fmla="*/ 143496 h 409575"/>
                  <a:gd name="connsiteX22" fmla="*/ 391517 w 514350"/>
                  <a:gd name="connsiteY22" fmla="*/ 143496 h 409575"/>
                  <a:gd name="connsiteX23" fmla="*/ 358180 w 514350"/>
                  <a:gd name="connsiteY23" fmla="*/ 176834 h 409575"/>
                  <a:gd name="connsiteX24" fmla="*/ 391517 w 514350"/>
                  <a:gd name="connsiteY24" fmla="*/ 210171 h 409575"/>
                  <a:gd name="connsiteX25" fmla="*/ 424855 w 514350"/>
                  <a:gd name="connsiteY25" fmla="*/ 176834 h 409575"/>
                  <a:gd name="connsiteX26" fmla="*/ 391517 w 514350"/>
                  <a:gd name="connsiteY26" fmla="*/ 143496 h 409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14350" h="409575">
                    <a:moveTo>
                      <a:pt x="486767" y="621"/>
                    </a:moveTo>
                    <a:cubicBezTo>
                      <a:pt x="502579" y="621"/>
                      <a:pt x="515342" y="13385"/>
                      <a:pt x="515342" y="29196"/>
                    </a:cubicBezTo>
                    <a:lnTo>
                      <a:pt x="515342" y="324471"/>
                    </a:lnTo>
                    <a:cubicBezTo>
                      <a:pt x="515342" y="340282"/>
                      <a:pt x="502579" y="353046"/>
                      <a:pt x="486767" y="353046"/>
                    </a:cubicBezTo>
                    <a:lnTo>
                      <a:pt x="192159" y="353046"/>
                    </a:lnTo>
                    <a:lnTo>
                      <a:pt x="115387" y="410196"/>
                    </a:lnTo>
                    <a:lnTo>
                      <a:pt x="115387" y="353046"/>
                    </a:lnTo>
                    <a:lnTo>
                      <a:pt x="29567" y="353046"/>
                    </a:lnTo>
                    <a:cubicBezTo>
                      <a:pt x="13755" y="353046"/>
                      <a:pt x="992" y="340282"/>
                      <a:pt x="992" y="324471"/>
                    </a:cubicBezTo>
                    <a:lnTo>
                      <a:pt x="992" y="29196"/>
                    </a:lnTo>
                    <a:cubicBezTo>
                      <a:pt x="992" y="13385"/>
                      <a:pt x="13755" y="621"/>
                      <a:pt x="29567" y="621"/>
                    </a:cubicBezTo>
                    <a:lnTo>
                      <a:pt x="486767" y="621"/>
                    </a:lnTo>
                    <a:close/>
                    <a:moveTo>
                      <a:pt x="124817" y="143496"/>
                    </a:moveTo>
                    <a:cubicBezTo>
                      <a:pt x="106434" y="143496"/>
                      <a:pt x="91480" y="158450"/>
                      <a:pt x="91480" y="176834"/>
                    </a:cubicBezTo>
                    <a:cubicBezTo>
                      <a:pt x="91480" y="195217"/>
                      <a:pt x="106434" y="210171"/>
                      <a:pt x="124817" y="210171"/>
                    </a:cubicBezTo>
                    <a:cubicBezTo>
                      <a:pt x="143200" y="210171"/>
                      <a:pt x="158155" y="195217"/>
                      <a:pt x="158155" y="176834"/>
                    </a:cubicBezTo>
                    <a:cubicBezTo>
                      <a:pt x="158155" y="158450"/>
                      <a:pt x="143200" y="143496"/>
                      <a:pt x="124817" y="143496"/>
                    </a:cubicBezTo>
                    <a:close/>
                    <a:moveTo>
                      <a:pt x="258167" y="143496"/>
                    </a:moveTo>
                    <a:cubicBezTo>
                      <a:pt x="239784" y="143496"/>
                      <a:pt x="224830" y="158450"/>
                      <a:pt x="224830" y="176834"/>
                    </a:cubicBezTo>
                    <a:cubicBezTo>
                      <a:pt x="224830" y="195217"/>
                      <a:pt x="239784" y="210171"/>
                      <a:pt x="258167" y="210171"/>
                    </a:cubicBezTo>
                    <a:cubicBezTo>
                      <a:pt x="276550" y="210171"/>
                      <a:pt x="291505" y="195217"/>
                      <a:pt x="291505" y="176834"/>
                    </a:cubicBezTo>
                    <a:cubicBezTo>
                      <a:pt x="291505" y="158450"/>
                      <a:pt x="276550" y="143496"/>
                      <a:pt x="258167" y="143496"/>
                    </a:cubicBezTo>
                    <a:close/>
                    <a:moveTo>
                      <a:pt x="391517" y="143496"/>
                    </a:moveTo>
                    <a:cubicBezTo>
                      <a:pt x="373134" y="143496"/>
                      <a:pt x="358180" y="158450"/>
                      <a:pt x="358180" y="176834"/>
                    </a:cubicBezTo>
                    <a:cubicBezTo>
                      <a:pt x="358180" y="195217"/>
                      <a:pt x="373134" y="210171"/>
                      <a:pt x="391517" y="210171"/>
                    </a:cubicBezTo>
                    <a:cubicBezTo>
                      <a:pt x="409900" y="210171"/>
                      <a:pt x="424855" y="195217"/>
                      <a:pt x="424855" y="176834"/>
                    </a:cubicBezTo>
                    <a:cubicBezTo>
                      <a:pt x="424855" y="158450"/>
                      <a:pt x="409900" y="143496"/>
                      <a:pt x="391517" y="143496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3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36" name="任意多边形: 形状 35"/>
            <p:cNvSpPr/>
            <p:nvPr/>
          </p:nvSpPr>
          <p:spPr>
            <a:xfrm>
              <a:off x="13182" y="4287"/>
              <a:ext cx="3953" cy="4543"/>
            </a:xfrm>
            <a:custGeom>
              <a:avLst/>
              <a:gdLst>
                <a:gd name="connsiteX0" fmla="*/ 3603308 w 3603307"/>
                <a:gd name="connsiteY0" fmla="*/ 1062038 h 4062412"/>
                <a:gd name="connsiteX1" fmla="*/ 3603308 w 3603307"/>
                <a:gd name="connsiteY1" fmla="*/ 3000375 h 4062412"/>
                <a:gd name="connsiteX2" fmla="*/ 3424238 w 3603307"/>
                <a:gd name="connsiteY2" fmla="*/ 3289935 h 4062412"/>
                <a:gd name="connsiteX3" fmla="*/ 1946910 w 3603307"/>
                <a:gd name="connsiteY3" fmla="*/ 4028123 h 4062412"/>
                <a:gd name="connsiteX4" fmla="*/ 1657350 w 3603307"/>
                <a:gd name="connsiteY4" fmla="*/ 4028123 h 4062412"/>
                <a:gd name="connsiteX5" fmla="*/ 179070 w 3603307"/>
                <a:gd name="connsiteY5" fmla="*/ 3289935 h 4062412"/>
                <a:gd name="connsiteX6" fmla="*/ 0 w 3603307"/>
                <a:gd name="connsiteY6" fmla="*/ 3000375 h 4062412"/>
                <a:gd name="connsiteX7" fmla="*/ 0 w 3603307"/>
                <a:gd name="connsiteY7" fmla="*/ 1062038 h 4062412"/>
                <a:gd name="connsiteX8" fmla="*/ 179070 w 3603307"/>
                <a:gd name="connsiteY8" fmla="*/ 772478 h 4062412"/>
                <a:gd name="connsiteX9" fmla="*/ 1656398 w 3603307"/>
                <a:gd name="connsiteY9" fmla="*/ 34290 h 4062412"/>
                <a:gd name="connsiteX10" fmla="*/ 1945958 w 3603307"/>
                <a:gd name="connsiteY10" fmla="*/ 34290 h 4062412"/>
                <a:gd name="connsiteX11" fmla="*/ 3423285 w 3603307"/>
                <a:gd name="connsiteY11" fmla="*/ 772478 h 4062412"/>
                <a:gd name="connsiteX12" fmla="*/ 3603308 w 3603307"/>
                <a:gd name="connsiteY12" fmla="*/ 1062038 h 4062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603307" h="4062412">
                  <a:moveTo>
                    <a:pt x="3603308" y="1062038"/>
                  </a:moveTo>
                  <a:lnTo>
                    <a:pt x="3603308" y="3000375"/>
                  </a:lnTo>
                  <a:cubicBezTo>
                    <a:pt x="3603308" y="3123248"/>
                    <a:pt x="3533775" y="3235643"/>
                    <a:pt x="3424238" y="3289935"/>
                  </a:cubicBezTo>
                  <a:lnTo>
                    <a:pt x="1946910" y="4028123"/>
                  </a:lnTo>
                  <a:cubicBezTo>
                    <a:pt x="1855470" y="4073843"/>
                    <a:pt x="1748790" y="4073843"/>
                    <a:pt x="1657350" y="4028123"/>
                  </a:cubicBezTo>
                  <a:lnTo>
                    <a:pt x="179070" y="3289935"/>
                  </a:lnTo>
                  <a:cubicBezTo>
                    <a:pt x="69533" y="3235643"/>
                    <a:pt x="0" y="3123248"/>
                    <a:pt x="0" y="3000375"/>
                  </a:cubicBezTo>
                  <a:lnTo>
                    <a:pt x="0" y="1062038"/>
                  </a:lnTo>
                  <a:cubicBezTo>
                    <a:pt x="0" y="939165"/>
                    <a:pt x="69533" y="826770"/>
                    <a:pt x="179070" y="772478"/>
                  </a:cubicBezTo>
                  <a:lnTo>
                    <a:pt x="1656398" y="34290"/>
                  </a:lnTo>
                  <a:cubicBezTo>
                    <a:pt x="1747838" y="-11430"/>
                    <a:pt x="1854518" y="-11430"/>
                    <a:pt x="1945958" y="34290"/>
                  </a:cubicBezTo>
                  <a:lnTo>
                    <a:pt x="3423285" y="772478"/>
                  </a:lnTo>
                  <a:cubicBezTo>
                    <a:pt x="3533775" y="827723"/>
                    <a:pt x="3603308" y="939165"/>
                    <a:pt x="3603308" y="1062038"/>
                  </a:cubicBezTo>
                  <a:close/>
                </a:path>
              </a:pathLst>
            </a:custGeom>
            <a:solidFill>
              <a:schemeClr val="accent2">
                <a:alpha val="10000"/>
              </a:schemeClr>
            </a:solidFill>
            <a:ln w="5715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0" tIns="0" rIns="0" bIns="0" numCol="1" spcCol="0" rtlCol="0" fromWordArt="0" anchor="ctr" anchorCtr="0" forceAA="0" compatLnSpc="1">
              <a:normAutofit/>
            </a:bodyPr>
            <a:lstStyle/>
            <a:p>
              <a:pPr algn="ctr" defTabSz="913765"/>
              <a:r>
                <a:rPr lang="en-US" altLang="zh-CN" sz="1600" b="1" dirty="0">
                  <a:noFill/>
                  <a:latin typeface="Arial" panose="020B0604020202090204" pitchFamily="34" charset="0"/>
                  <a:ea typeface="华文楷体" panose="02010600040101010101" pitchFamily="2" charset="-122"/>
                </a:rPr>
                <a:t>02</a:t>
              </a:r>
              <a:endParaRPr lang="zh-CN" altLang="en-US" sz="1600" b="1" dirty="0">
                <a:noFill/>
                <a:latin typeface="Arial" panose="020B0604020202090204" pitchFamily="34" charset="0"/>
                <a:ea typeface="华文楷体" panose="02010600040101010101" pitchFamily="2" charset="-122"/>
              </a:endParaRPr>
            </a:p>
          </p:txBody>
        </p:sp>
        <p:grpSp>
          <p:nvGrpSpPr>
            <p:cNvPr id="13" name="组合 12"/>
            <p:cNvGrpSpPr>
              <a:grpSpLocks noChangeAspect="1"/>
            </p:cNvGrpSpPr>
            <p:nvPr/>
          </p:nvGrpSpPr>
          <p:grpSpPr>
            <a:xfrm rot="0">
              <a:off x="14733" y="5235"/>
              <a:ext cx="850" cy="850"/>
              <a:chOff x="7036727" y="1930888"/>
              <a:chExt cx="876463" cy="876459"/>
            </a:xfrm>
          </p:grpSpPr>
          <p:sp>
            <p:nvSpPr>
              <p:cNvPr id="28" name="矩形: 圆角 27"/>
              <p:cNvSpPr/>
              <p:nvPr/>
            </p:nvSpPr>
            <p:spPr>
              <a:xfrm>
                <a:off x="7036727" y="1930888"/>
                <a:ext cx="876463" cy="876459"/>
              </a:xfrm>
              <a:prstGeom prst="roundRect">
                <a:avLst/>
              </a:prstGeom>
              <a:gradFill>
                <a:gsLst>
                  <a:gs pos="0">
                    <a:schemeClr val="accent2">
                      <a:lumMod val="60000"/>
                      <a:lumOff val="40000"/>
                    </a:schemeClr>
                  </a:gs>
                  <a:gs pos="60000">
                    <a:schemeClr val="accent2"/>
                  </a:gs>
                </a:gsLst>
                <a:lin ang="2700000" scaled="0"/>
              </a:gradFill>
              <a:ln w="57150" cap="rnd">
                <a:noFill/>
                <a:prstDash val="solid"/>
                <a:round/>
              </a:ln>
              <a:effectLst>
                <a:outerShdw blurRad="76200" dist="50800" dir="5400000" algn="ctr" rotWithShape="0">
                  <a:schemeClr val="accent2">
                    <a:alpha val="20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3765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9" name="任意多边形: 形状 28"/>
              <p:cNvSpPr/>
              <p:nvPr/>
            </p:nvSpPr>
            <p:spPr>
              <a:xfrm>
                <a:off x="7301476" y="2192519"/>
                <a:ext cx="346966" cy="380330"/>
              </a:xfrm>
              <a:custGeom>
                <a:avLst/>
                <a:gdLst>
                  <a:gd name="connsiteX0" fmla="*/ 248770 w 495300"/>
                  <a:gd name="connsiteY0" fmla="*/ 621 h 542925"/>
                  <a:gd name="connsiteX1" fmla="*/ 496420 w 495300"/>
                  <a:gd name="connsiteY1" fmla="*/ 248271 h 542925"/>
                  <a:gd name="connsiteX2" fmla="*/ 323827 w 495300"/>
                  <a:gd name="connsiteY2" fmla="*/ 484396 h 542925"/>
                  <a:gd name="connsiteX3" fmla="*/ 346973 w 495300"/>
                  <a:gd name="connsiteY3" fmla="*/ 524496 h 542925"/>
                  <a:gd name="connsiteX4" fmla="*/ 420220 w 495300"/>
                  <a:gd name="connsiteY4" fmla="*/ 524496 h 542925"/>
                  <a:gd name="connsiteX5" fmla="*/ 420220 w 495300"/>
                  <a:gd name="connsiteY5" fmla="*/ 543546 h 542925"/>
                  <a:gd name="connsiteX6" fmla="*/ 77320 w 495300"/>
                  <a:gd name="connsiteY6" fmla="*/ 543546 h 542925"/>
                  <a:gd name="connsiteX7" fmla="*/ 77320 w 495300"/>
                  <a:gd name="connsiteY7" fmla="*/ 524496 h 542925"/>
                  <a:gd name="connsiteX8" fmla="*/ 150567 w 495300"/>
                  <a:gd name="connsiteY8" fmla="*/ 524496 h 542925"/>
                  <a:gd name="connsiteX9" fmla="*/ 173713 w 495300"/>
                  <a:gd name="connsiteY9" fmla="*/ 484396 h 542925"/>
                  <a:gd name="connsiteX10" fmla="*/ 1120 w 495300"/>
                  <a:gd name="connsiteY10" fmla="*/ 248271 h 542925"/>
                  <a:gd name="connsiteX11" fmla="*/ 248770 w 495300"/>
                  <a:gd name="connsiteY11" fmla="*/ 621 h 542925"/>
                  <a:gd name="connsiteX12" fmla="*/ 192763 w 495300"/>
                  <a:gd name="connsiteY12" fmla="*/ 489539 h 542925"/>
                  <a:gd name="connsiteX13" fmla="*/ 172570 w 495300"/>
                  <a:gd name="connsiteY13" fmla="*/ 524496 h 542925"/>
                  <a:gd name="connsiteX14" fmla="*/ 324970 w 495300"/>
                  <a:gd name="connsiteY14" fmla="*/ 524496 h 542925"/>
                  <a:gd name="connsiteX15" fmla="*/ 304777 w 495300"/>
                  <a:gd name="connsiteY15" fmla="*/ 489539 h 542925"/>
                  <a:gd name="connsiteX16" fmla="*/ 248770 w 495300"/>
                  <a:gd name="connsiteY16" fmla="*/ 495921 h 542925"/>
                  <a:gd name="connsiteX17" fmla="*/ 192763 w 495300"/>
                  <a:gd name="connsiteY17" fmla="*/ 489539 h 542925"/>
                  <a:gd name="connsiteX18" fmla="*/ 248770 w 495300"/>
                  <a:gd name="connsiteY18" fmla="*/ 143496 h 542925"/>
                  <a:gd name="connsiteX19" fmla="*/ 143995 w 495300"/>
                  <a:gd name="connsiteY19" fmla="*/ 248271 h 542925"/>
                  <a:gd name="connsiteX20" fmla="*/ 248770 w 495300"/>
                  <a:gd name="connsiteY20" fmla="*/ 353046 h 542925"/>
                  <a:gd name="connsiteX21" fmla="*/ 353545 w 495300"/>
                  <a:gd name="connsiteY21" fmla="*/ 248271 h 542925"/>
                  <a:gd name="connsiteX22" fmla="*/ 248770 w 495300"/>
                  <a:gd name="connsiteY22" fmla="*/ 143496 h 542925"/>
                  <a:gd name="connsiteX23" fmla="*/ 367833 w 495300"/>
                  <a:gd name="connsiteY23" fmla="*/ 114921 h 542925"/>
                  <a:gd name="connsiteX24" fmla="*/ 353545 w 495300"/>
                  <a:gd name="connsiteY24" fmla="*/ 129209 h 542925"/>
                  <a:gd name="connsiteX25" fmla="*/ 367833 w 495300"/>
                  <a:gd name="connsiteY25" fmla="*/ 143496 h 542925"/>
                  <a:gd name="connsiteX26" fmla="*/ 382120 w 495300"/>
                  <a:gd name="connsiteY26" fmla="*/ 129209 h 542925"/>
                  <a:gd name="connsiteX27" fmla="*/ 367833 w 495300"/>
                  <a:gd name="connsiteY27" fmla="*/ 114921 h 542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495300" h="542925">
                    <a:moveTo>
                      <a:pt x="248770" y="621"/>
                    </a:moveTo>
                    <a:cubicBezTo>
                      <a:pt x="385549" y="621"/>
                      <a:pt x="496420" y="111492"/>
                      <a:pt x="496420" y="248271"/>
                    </a:cubicBezTo>
                    <a:cubicBezTo>
                      <a:pt x="496420" y="358856"/>
                      <a:pt x="423935" y="452582"/>
                      <a:pt x="323827" y="484396"/>
                    </a:cubicBezTo>
                    <a:lnTo>
                      <a:pt x="346973" y="524496"/>
                    </a:lnTo>
                    <a:lnTo>
                      <a:pt x="420220" y="524496"/>
                    </a:lnTo>
                    <a:lnTo>
                      <a:pt x="420220" y="543546"/>
                    </a:lnTo>
                    <a:lnTo>
                      <a:pt x="77320" y="543546"/>
                    </a:lnTo>
                    <a:lnTo>
                      <a:pt x="77320" y="524496"/>
                    </a:lnTo>
                    <a:lnTo>
                      <a:pt x="150567" y="524496"/>
                    </a:lnTo>
                    <a:lnTo>
                      <a:pt x="173713" y="484396"/>
                    </a:lnTo>
                    <a:cubicBezTo>
                      <a:pt x="73605" y="452582"/>
                      <a:pt x="1120" y="358856"/>
                      <a:pt x="1120" y="248271"/>
                    </a:cubicBezTo>
                    <a:cubicBezTo>
                      <a:pt x="1120" y="111492"/>
                      <a:pt x="111991" y="621"/>
                      <a:pt x="248770" y="621"/>
                    </a:cubicBezTo>
                    <a:close/>
                    <a:moveTo>
                      <a:pt x="192763" y="489539"/>
                    </a:moveTo>
                    <a:lnTo>
                      <a:pt x="172570" y="524496"/>
                    </a:lnTo>
                    <a:lnTo>
                      <a:pt x="324970" y="524496"/>
                    </a:lnTo>
                    <a:lnTo>
                      <a:pt x="304777" y="489539"/>
                    </a:lnTo>
                    <a:cubicBezTo>
                      <a:pt x="286775" y="493730"/>
                      <a:pt x="268010" y="495921"/>
                      <a:pt x="248770" y="495921"/>
                    </a:cubicBezTo>
                    <a:cubicBezTo>
                      <a:pt x="229530" y="495921"/>
                      <a:pt x="210765" y="493730"/>
                      <a:pt x="192763" y="489539"/>
                    </a:cubicBezTo>
                    <a:close/>
                    <a:moveTo>
                      <a:pt x="248770" y="143496"/>
                    </a:moveTo>
                    <a:cubicBezTo>
                      <a:pt x="190858" y="143496"/>
                      <a:pt x="143995" y="190359"/>
                      <a:pt x="143995" y="248271"/>
                    </a:cubicBezTo>
                    <a:cubicBezTo>
                      <a:pt x="143995" y="306183"/>
                      <a:pt x="190858" y="353046"/>
                      <a:pt x="248770" y="353046"/>
                    </a:cubicBezTo>
                    <a:cubicBezTo>
                      <a:pt x="306682" y="353046"/>
                      <a:pt x="353545" y="306183"/>
                      <a:pt x="353545" y="248271"/>
                    </a:cubicBezTo>
                    <a:cubicBezTo>
                      <a:pt x="353545" y="190359"/>
                      <a:pt x="306682" y="143496"/>
                      <a:pt x="248770" y="143496"/>
                    </a:cubicBezTo>
                    <a:close/>
                    <a:moveTo>
                      <a:pt x="367833" y="114921"/>
                    </a:moveTo>
                    <a:cubicBezTo>
                      <a:pt x="359927" y="114921"/>
                      <a:pt x="353545" y="121303"/>
                      <a:pt x="353545" y="129209"/>
                    </a:cubicBezTo>
                    <a:cubicBezTo>
                      <a:pt x="353545" y="137114"/>
                      <a:pt x="359927" y="143496"/>
                      <a:pt x="367833" y="143496"/>
                    </a:cubicBezTo>
                    <a:cubicBezTo>
                      <a:pt x="375738" y="143496"/>
                      <a:pt x="382120" y="137114"/>
                      <a:pt x="382120" y="129209"/>
                    </a:cubicBezTo>
                    <a:cubicBezTo>
                      <a:pt x="382120" y="121303"/>
                      <a:pt x="375738" y="114921"/>
                      <a:pt x="367833" y="114921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39" name="组合 38"/>
            <p:cNvGrpSpPr/>
            <p:nvPr/>
          </p:nvGrpSpPr>
          <p:grpSpPr>
            <a:xfrm rot="0">
              <a:off x="6249" y="6571"/>
              <a:ext cx="2942" cy="1370"/>
              <a:chOff x="1672888" y="3842602"/>
              <a:chExt cx="1868016" cy="870037"/>
            </a:xfrm>
          </p:grpSpPr>
          <p:sp>
            <p:nvSpPr>
              <p:cNvPr id="40" name="文本框 39"/>
              <p:cNvSpPr txBox="1"/>
              <p:nvPr/>
            </p:nvSpPr>
            <p:spPr>
              <a:xfrm>
                <a:off x="1672888" y="3842602"/>
                <a:ext cx="1868016" cy="295022"/>
              </a:xfrm>
              <a:prstGeom prst="rect">
                <a:avLst/>
              </a:prstGeom>
              <a:noFill/>
            </p:spPr>
            <p:txBody>
              <a:bodyPr wrap="square" rtlCol="0" anchor="b" anchorCtr="0">
                <a:spAutoFit/>
              </a:bodyPr>
              <a:lstStyle/>
              <a:p>
                <a:pPr algn="ctr"/>
                <a:r>
                  <a:rPr lang="zh-CN" altLang="en-US" sz="1600" b="1" dirty="0">
                    <a:latin typeface="Arial" panose="020B0604020202090204" pitchFamily="34" charset="0"/>
                    <a:ea typeface="华文楷体" panose="02010600040101010101" pitchFamily="2" charset="-122"/>
                  </a:rPr>
                  <a:t>输入数据</a:t>
                </a:r>
                <a:endParaRPr lang="zh-CN" altLang="en-US" sz="1600" b="1" dirty="0">
                  <a:latin typeface="Arial" panose="020B0604020202090204" pitchFamily="34" charset="0"/>
                  <a:ea typeface="华文楷体" panose="02010600040101010101" pitchFamily="2" charset="-122"/>
                </a:endParaRPr>
              </a:p>
            </p:txBody>
          </p:sp>
          <p:sp>
            <p:nvSpPr>
              <p:cNvPr id="41" name="矩形 40"/>
              <p:cNvSpPr/>
              <p:nvPr/>
            </p:nvSpPr>
            <p:spPr>
              <a:xfrm>
                <a:off x="1672888" y="4145941"/>
                <a:ext cx="1868016" cy="566698"/>
              </a:xfrm>
              <a:prstGeom prst="rect">
                <a:avLst/>
              </a:prstGeom>
              <a:noFill/>
              <a:ln w="5715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0000" tIns="90000" rIns="90000" bIns="90000" numCol="1" spcCol="0" rtlCol="0" fromWordArt="0" anchor="t" anchorCtr="0" forceAA="0" compatLnSpc="1">
                <a:noAutofit/>
              </a:bodyPr>
              <a:lstStyle/>
              <a:p>
                <a:pPr algn="ctr">
                  <a:lnSpc>
                    <a:spcPct val="130000"/>
                  </a:lnSpc>
                </a:pPr>
                <a:r>
                  <a:rPr lang="zh-CN" altLang="en-US" sz="1200" dirty="0">
                    <a:solidFill>
                      <a:schemeClr val="tx1"/>
                    </a:solidFill>
                    <a:latin typeface="Arial" panose="020B0604020202090204" pitchFamily="34" charset="0"/>
                    <a:ea typeface="华文楷体" panose="02010600040101010101" pitchFamily="2" charset="-122"/>
                  </a:rPr>
                  <a:t>使用采样方法，使得模型输入样本不完全相同</a:t>
                </a:r>
                <a:endParaRPr lang="zh-CN" altLang="en-US" sz="1200" dirty="0">
                  <a:solidFill>
                    <a:schemeClr val="tx1"/>
                  </a:solidFill>
                  <a:latin typeface="Arial" panose="020B0604020202090204" pitchFamily="34" charset="0"/>
                  <a:ea typeface="华文楷体" panose="02010600040101010101" pitchFamily="2" charset="-122"/>
                </a:endParaRPr>
              </a:p>
            </p:txBody>
          </p:sp>
        </p:grpSp>
        <p:grpSp>
          <p:nvGrpSpPr>
            <p:cNvPr id="42" name="组合 41"/>
            <p:cNvGrpSpPr/>
            <p:nvPr/>
          </p:nvGrpSpPr>
          <p:grpSpPr>
            <a:xfrm rot="0">
              <a:off x="9928" y="6571"/>
              <a:ext cx="2942" cy="1370"/>
              <a:chOff x="1672888" y="3842602"/>
              <a:chExt cx="1868016" cy="870037"/>
            </a:xfrm>
          </p:grpSpPr>
          <p:sp>
            <p:nvSpPr>
              <p:cNvPr id="43" name="文本框 42"/>
              <p:cNvSpPr txBox="1"/>
              <p:nvPr/>
            </p:nvSpPr>
            <p:spPr>
              <a:xfrm>
                <a:off x="1672888" y="3842602"/>
                <a:ext cx="1868016" cy="295022"/>
              </a:xfrm>
              <a:prstGeom prst="rect">
                <a:avLst/>
              </a:prstGeom>
              <a:noFill/>
            </p:spPr>
            <p:txBody>
              <a:bodyPr wrap="square" rtlCol="0" anchor="b" anchorCtr="0">
                <a:spAutoFit/>
              </a:bodyPr>
              <a:lstStyle/>
              <a:p>
                <a:pPr algn="ctr"/>
                <a:r>
                  <a:rPr lang="zh-CN" altLang="en-US" sz="1600" b="1" dirty="0">
                    <a:latin typeface="Arial" panose="020B0604020202090204" pitchFamily="34" charset="0"/>
                    <a:ea typeface="华文楷体" panose="02010600040101010101" pitchFamily="2" charset="-122"/>
                  </a:rPr>
                  <a:t>输入特征</a:t>
                </a:r>
                <a:endParaRPr lang="zh-CN" altLang="en-US" sz="1600" b="1" dirty="0">
                  <a:latin typeface="Arial" panose="020B0604020202090204" pitchFamily="34" charset="0"/>
                  <a:ea typeface="华文楷体" panose="02010600040101010101" pitchFamily="2" charset="-122"/>
                </a:endParaRPr>
              </a:p>
            </p:txBody>
          </p:sp>
          <p:sp>
            <p:nvSpPr>
              <p:cNvPr id="44" name="矩形 43"/>
              <p:cNvSpPr/>
              <p:nvPr/>
            </p:nvSpPr>
            <p:spPr>
              <a:xfrm>
                <a:off x="1672888" y="4145941"/>
                <a:ext cx="1868016" cy="566698"/>
              </a:xfrm>
              <a:prstGeom prst="rect">
                <a:avLst/>
              </a:prstGeom>
              <a:noFill/>
              <a:ln w="5715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0000" tIns="90000" rIns="90000" bIns="90000" numCol="1" spcCol="0" rtlCol="0" fromWordArt="0" anchor="t" anchorCtr="0" forceAA="0" compatLnSpc="1">
                <a:noAutofit/>
              </a:bodyPr>
              <a:lstStyle/>
              <a:p>
                <a:pPr algn="ctr">
                  <a:lnSpc>
                    <a:spcPct val="130000"/>
                  </a:lnSpc>
                </a:pPr>
                <a:r>
                  <a:rPr lang="zh-CN" altLang="en-US" sz="1200" dirty="0">
                    <a:solidFill>
                      <a:schemeClr val="tx1"/>
                    </a:solidFill>
                    <a:latin typeface="Arial" panose="020B0604020202090204" pitchFamily="34" charset="0"/>
                    <a:ea typeface="华文楷体" panose="02010600040101010101" pitchFamily="2" charset="-122"/>
                  </a:rPr>
                  <a:t>对特征进行抽样，特征不完全相同</a:t>
                </a:r>
                <a:endParaRPr lang="zh-CN" altLang="en-US" sz="1200" dirty="0">
                  <a:solidFill>
                    <a:schemeClr val="tx1"/>
                  </a:solidFill>
                  <a:latin typeface="Arial" panose="020B0604020202090204" pitchFamily="34" charset="0"/>
                  <a:ea typeface="华文楷体" panose="02010600040101010101" pitchFamily="2" charset="-122"/>
                </a:endParaRPr>
              </a:p>
            </p:txBody>
          </p:sp>
        </p:grpSp>
        <p:grpSp>
          <p:nvGrpSpPr>
            <p:cNvPr id="45" name="组合 44"/>
            <p:cNvGrpSpPr/>
            <p:nvPr/>
          </p:nvGrpSpPr>
          <p:grpSpPr>
            <a:xfrm rot="0">
              <a:off x="13688" y="6571"/>
              <a:ext cx="2942" cy="1370"/>
              <a:chOff x="1672888" y="3842602"/>
              <a:chExt cx="1868016" cy="870037"/>
            </a:xfrm>
          </p:grpSpPr>
          <p:sp>
            <p:nvSpPr>
              <p:cNvPr id="46" name="文本框 45"/>
              <p:cNvSpPr txBox="1"/>
              <p:nvPr/>
            </p:nvSpPr>
            <p:spPr>
              <a:xfrm>
                <a:off x="1672888" y="3842602"/>
                <a:ext cx="1868016" cy="295022"/>
              </a:xfrm>
              <a:prstGeom prst="rect">
                <a:avLst/>
              </a:prstGeom>
              <a:noFill/>
            </p:spPr>
            <p:txBody>
              <a:bodyPr wrap="square" rtlCol="0" anchor="b" anchorCtr="0">
                <a:spAutoFit/>
              </a:bodyPr>
              <a:lstStyle/>
              <a:p>
                <a:pPr algn="ctr"/>
                <a:r>
                  <a:rPr lang="zh-CN" altLang="en-US" sz="1600" b="1" dirty="0">
                    <a:latin typeface="Arial" panose="020B0604020202090204" pitchFamily="34" charset="0"/>
                    <a:ea typeface="华文楷体" panose="02010600040101010101" pitchFamily="2" charset="-122"/>
                  </a:rPr>
                  <a:t>算法本身</a:t>
                </a:r>
                <a:endParaRPr lang="zh-CN" altLang="en-US" sz="1600" b="1" dirty="0">
                  <a:latin typeface="Arial" panose="020B0604020202090204" pitchFamily="34" charset="0"/>
                  <a:ea typeface="华文楷体" panose="02010600040101010101" pitchFamily="2" charset="-122"/>
                </a:endParaRPr>
              </a:p>
            </p:txBody>
          </p:sp>
          <p:sp>
            <p:nvSpPr>
              <p:cNvPr id="47" name="矩形 46"/>
              <p:cNvSpPr/>
              <p:nvPr/>
            </p:nvSpPr>
            <p:spPr>
              <a:xfrm>
                <a:off x="1672888" y="4145941"/>
                <a:ext cx="1868016" cy="566698"/>
              </a:xfrm>
              <a:prstGeom prst="rect">
                <a:avLst/>
              </a:prstGeom>
              <a:noFill/>
              <a:ln w="5715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0000" tIns="90000" rIns="90000" bIns="90000" numCol="1" spcCol="0" rtlCol="0" fromWordArt="0" anchor="t" anchorCtr="0" forceAA="0" compatLnSpc="1">
                <a:noAutofit/>
              </a:bodyPr>
              <a:lstStyle/>
              <a:p>
                <a:pPr marL="171450" indent="-171450" algn="l">
                  <a:lnSpc>
                    <a:spcPct val="130000"/>
                  </a:lnSpc>
                  <a:buFont typeface="Arial" panose="020B0604020202090204" pitchFamily="34" charset="0"/>
                  <a:buChar char="•"/>
                </a:pPr>
                <a:r>
                  <a:rPr lang="zh-CN" altLang="en-US" sz="1200" dirty="0">
                    <a:solidFill>
                      <a:schemeClr val="tx1"/>
                    </a:solidFill>
                    <a:latin typeface="Arial" panose="020B0604020202090204" pitchFamily="34" charset="0"/>
                    <a:ea typeface="华文楷体" panose="02010600040101010101" pitchFamily="2" charset="-122"/>
                  </a:rPr>
                  <a:t>算法尽可能不一样</a:t>
                </a:r>
                <a:endParaRPr lang="zh-CN" altLang="en-US" sz="1200" dirty="0">
                  <a:solidFill>
                    <a:schemeClr val="tx1"/>
                  </a:solidFill>
                  <a:latin typeface="Arial" panose="020B0604020202090204" pitchFamily="34" charset="0"/>
                  <a:ea typeface="华文楷体" panose="02010600040101010101" pitchFamily="2" charset="-122"/>
                </a:endParaRPr>
              </a:p>
              <a:p>
                <a:pPr marL="171450" indent="-171450" algn="l">
                  <a:lnSpc>
                    <a:spcPct val="130000"/>
                  </a:lnSpc>
                  <a:buFont typeface="Arial" panose="020B0604020202090204" pitchFamily="34" charset="0"/>
                  <a:buChar char="•"/>
                </a:pPr>
                <a:r>
                  <a:rPr lang="zh-CN" altLang="en-US" sz="1200" dirty="0">
                    <a:solidFill>
                      <a:schemeClr val="tx1"/>
                    </a:solidFill>
                    <a:latin typeface="Arial" panose="020B0604020202090204" pitchFamily="34" charset="0"/>
                    <a:ea typeface="华文楷体" panose="02010600040101010101" pitchFamily="2" charset="-122"/>
                  </a:rPr>
                  <a:t>相同的算法，参数尽可能不一样</a:t>
                </a:r>
                <a:endParaRPr lang="zh-CN" altLang="en-US" sz="1200" dirty="0">
                  <a:solidFill>
                    <a:schemeClr val="tx1"/>
                  </a:solidFill>
                  <a:latin typeface="Arial" panose="020B0604020202090204" pitchFamily="34" charset="0"/>
                  <a:ea typeface="华文楷体" panose="02010600040101010101" pitchFamily="2" charset="-122"/>
                </a:endParaRPr>
              </a:p>
            </p:txBody>
          </p:sp>
        </p:grpSp>
      </p:grpSp>
      <p:sp>
        <p:nvSpPr>
          <p:cNvPr id="20" name="文本框 19"/>
          <p:cNvSpPr txBox="1"/>
          <p:nvPr/>
        </p:nvSpPr>
        <p:spPr>
          <a:xfrm>
            <a:off x="1042035" y="1539875"/>
            <a:ext cx="7360920" cy="268605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 indent="0">
              <a:buFont typeface="Arial" panose="020B0604020202090204" pitchFamily="34" charset="0"/>
              <a:buNone/>
            </a:pPr>
            <a:r>
              <a:rPr lang="zh-CN" altLang="en-US" sz="1600" dirty="0" smtClean="0"/>
              <a:t>融合的各个模型之间尽可能好而不同</a:t>
            </a:r>
            <a:endParaRPr lang="zh-CN" altLang="en-US" sz="1600" dirty="0" smtClean="0"/>
          </a:p>
        </p:txBody>
      </p:sp>
      <p:sp>
        <p:nvSpPr>
          <p:cNvPr id="21" name="文本框 20"/>
          <p:cNvSpPr txBox="1"/>
          <p:nvPr/>
        </p:nvSpPr>
        <p:spPr>
          <a:xfrm>
            <a:off x="1166495" y="1869440"/>
            <a:ext cx="7360920" cy="268605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391795" indent="-285750">
              <a:buFont typeface="Arial" panose="020B0604020202090204" pitchFamily="34" charset="0"/>
              <a:buChar char="•"/>
            </a:pPr>
            <a:r>
              <a:rPr lang="en-US" altLang="zh-CN" sz="1600" dirty="0" smtClean="0"/>
              <a:t>“</a:t>
            </a:r>
            <a:r>
              <a:rPr lang="zh-CN" altLang="en-US" sz="1600" b="1" dirty="0" smtClean="0">
                <a:solidFill>
                  <a:srgbClr val="F05A23"/>
                </a:solidFill>
              </a:rPr>
              <a:t>好</a:t>
            </a:r>
            <a:r>
              <a:rPr lang="en-US" altLang="zh-CN" sz="1600" dirty="0" smtClean="0"/>
              <a:t>”</a:t>
            </a:r>
            <a:r>
              <a:rPr lang="zh-CN" altLang="en-US" sz="1600" dirty="0" smtClean="0"/>
              <a:t>：当个模型效果尽可能好</a:t>
            </a:r>
            <a:endParaRPr lang="zh-CN" altLang="en-US" sz="1600" dirty="0" smtClean="0"/>
          </a:p>
        </p:txBody>
      </p:sp>
      <p:sp>
        <p:nvSpPr>
          <p:cNvPr id="26" name="文本框 25"/>
          <p:cNvSpPr txBox="1"/>
          <p:nvPr/>
        </p:nvSpPr>
        <p:spPr>
          <a:xfrm>
            <a:off x="1166495" y="2204720"/>
            <a:ext cx="7360920" cy="268605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391795" indent="-285750">
              <a:buFont typeface="Arial" panose="020B0604020202090204" pitchFamily="34" charset="0"/>
              <a:buChar char="•"/>
            </a:pPr>
            <a:r>
              <a:rPr lang="en-US" altLang="zh-CN" sz="1600" dirty="0" smtClean="0"/>
              <a:t>“</a:t>
            </a:r>
            <a:r>
              <a:rPr lang="zh-CN" altLang="en-US" sz="1600" b="1" dirty="0" smtClean="0">
                <a:solidFill>
                  <a:srgbClr val="F05A23"/>
                </a:solidFill>
              </a:rPr>
              <a:t>不同</a:t>
            </a:r>
            <a:r>
              <a:rPr lang="en-US" altLang="zh-CN" sz="1600" dirty="0" smtClean="0"/>
              <a:t>”</a:t>
            </a:r>
            <a:r>
              <a:rPr lang="zh-CN" altLang="en-US" sz="1600" dirty="0" smtClean="0"/>
              <a:t>：主要体现在以下</a:t>
            </a:r>
            <a:r>
              <a:rPr lang="en-US" altLang="zh-CN" sz="1600" b="1" dirty="0" smtClean="0">
                <a:solidFill>
                  <a:srgbClr val="F05A23"/>
                </a:solidFill>
              </a:rPr>
              <a:t>3</a:t>
            </a:r>
            <a:r>
              <a:rPr lang="zh-CN" altLang="en-US" sz="1600" dirty="0" smtClean="0"/>
              <a:t>点：</a:t>
            </a:r>
            <a:endParaRPr lang="zh-CN" altLang="en-US" sz="1600" dirty="0" smtClean="0"/>
          </a:p>
        </p:txBody>
      </p:sp>
      <p:sp>
        <p:nvSpPr>
          <p:cNvPr id="257" name="Freeform 131"/>
          <p:cNvSpPr>
            <a:spLocks noEditPoints="1"/>
          </p:cNvSpPr>
          <p:nvPr/>
        </p:nvSpPr>
        <p:spPr bwMode="auto">
          <a:xfrm>
            <a:off x="520700" y="1099820"/>
            <a:ext cx="417830" cy="415290"/>
          </a:xfrm>
          <a:custGeom>
            <a:avLst/>
            <a:gdLst>
              <a:gd name="T0" fmla="*/ 20 w 106"/>
              <a:gd name="T1" fmla="*/ 53 h 105"/>
              <a:gd name="T2" fmla="*/ 20 w 106"/>
              <a:gd name="T3" fmla="*/ 49 h 105"/>
              <a:gd name="T4" fmla="*/ 1 w 106"/>
              <a:gd name="T5" fmla="*/ 43 h 105"/>
              <a:gd name="T6" fmla="*/ 0 w 106"/>
              <a:gd name="T7" fmla="*/ 53 h 105"/>
              <a:gd name="T8" fmla="*/ 17 w 106"/>
              <a:gd name="T9" fmla="*/ 91 h 105"/>
              <a:gd name="T10" fmla="*/ 29 w 106"/>
              <a:gd name="T11" fmla="*/ 75 h 105"/>
              <a:gd name="T12" fmla="*/ 20 w 106"/>
              <a:gd name="T13" fmla="*/ 53 h 105"/>
              <a:gd name="T14" fmla="*/ 86 w 106"/>
              <a:gd name="T15" fmla="*/ 53 h 105"/>
              <a:gd name="T16" fmla="*/ 77 w 106"/>
              <a:gd name="T17" fmla="*/ 75 h 105"/>
              <a:gd name="T18" fmla="*/ 89 w 106"/>
              <a:gd name="T19" fmla="*/ 91 h 105"/>
              <a:gd name="T20" fmla="*/ 106 w 106"/>
              <a:gd name="T21" fmla="*/ 53 h 105"/>
              <a:gd name="T22" fmla="*/ 105 w 106"/>
              <a:gd name="T23" fmla="*/ 43 h 105"/>
              <a:gd name="T24" fmla="*/ 86 w 106"/>
              <a:gd name="T25" fmla="*/ 49 h 105"/>
              <a:gd name="T26" fmla="*/ 86 w 106"/>
              <a:gd name="T27" fmla="*/ 53 h 105"/>
              <a:gd name="T28" fmla="*/ 59 w 106"/>
              <a:gd name="T29" fmla="*/ 20 h 105"/>
              <a:gd name="T30" fmla="*/ 82 w 106"/>
              <a:gd name="T31" fmla="*/ 36 h 105"/>
              <a:gd name="T32" fmla="*/ 101 w 106"/>
              <a:gd name="T33" fmla="*/ 30 h 105"/>
              <a:gd name="T34" fmla="*/ 59 w 106"/>
              <a:gd name="T35" fmla="*/ 0 h 105"/>
              <a:gd name="T36" fmla="*/ 59 w 106"/>
              <a:gd name="T37" fmla="*/ 20 h 105"/>
              <a:gd name="T38" fmla="*/ 24 w 106"/>
              <a:gd name="T39" fmla="*/ 36 h 105"/>
              <a:gd name="T40" fmla="*/ 46 w 106"/>
              <a:gd name="T41" fmla="*/ 20 h 105"/>
              <a:gd name="T42" fmla="*/ 46 w 106"/>
              <a:gd name="T43" fmla="*/ 0 h 105"/>
              <a:gd name="T44" fmla="*/ 5 w 106"/>
              <a:gd name="T45" fmla="*/ 30 h 105"/>
              <a:gd name="T46" fmla="*/ 24 w 106"/>
              <a:gd name="T47" fmla="*/ 36 h 105"/>
              <a:gd name="T48" fmla="*/ 67 w 106"/>
              <a:gd name="T49" fmla="*/ 83 h 105"/>
              <a:gd name="T50" fmla="*/ 53 w 106"/>
              <a:gd name="T51" fmla="*/ 85 h 105"/>
              <a:gd name="T52" fmla="*/ 39 w 106"/>
              <a:gd name="T53" fmla="*/ 83 h 105"/>
              <a:gd name="T54" fmla="*/ 28 w 106"/>
              <a:gd name="T55" fmla="*/ 99 h 105"/>
              <a:gd name="T56" fmla="*/ 53 w 106"/>
              <a:gd name="T57" fmla="*/ 105 h 105"/>
              <a:gd name="T58" fmla="*/ 78 w 106"/>
              <a:gd name="T59" fmla="*/ 99 h 105"/>
              <a:gd name="T60" fmla="*/ 67 w 106"/>
              <a:gd name="T61" fmla="*/ 83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06" h="105">
                <a:moveTo>
                  <a:pt x="20" y="53"/>
                </a:moveTo>
                <a:cubicBezTo>
                  <a:pt x="20" y="51"/>
                  <a:pt x="20" y="50"/>
                  <a:pt x="20" y="49"/>
                </a:cubicBezTo>
                <a:cubicBezTo>
                  <a:pt x="1" y="43"/>
                  <a:pt x="1" y="43"/>
                  <a:pt x="1" y="43"/>
                </a:cubicBezTo>
                <a:cubicBezTo>
                  <a:pt x="1" y="46"/>
                  <a:pt x="0" y="49"/>
                  <a:pt x="0" y="53"/>
                </a:cubicBezTo>
                <a:cubicBezTo>
                  <a:pt x="0" y="68"/>
                  <a:pt x="7" y="81"/>
                  <a:pt x="17" y="91"/>
                </a:cubicBezTo>
                <a:cubicBezTo>
                  <a:pt x="29" y="75"/>
                  <a:pt x="29" y="75"/>
                  <a:pt x="29" y="75"/>
                </a:cubicBezTo>
                <a:cubicBezTo>
                  <a:pt x="23" y="69"/>
                  <a:pt x="20" y="61"/>
                  <a:pt x="20" y="53"/>
                </a:cubicBezTo>
                <a:close/>
                <a:moveTo>
                  <a:pt x="86" y="53"/>
                </a:moveTo>
                <a:cubicBezTo>
                  <a:pt x="86" y="61"/>
                  <a:pt x="83" y="69"/>
                  <a:pt x="77" y="75"/>
                </a:cubicBezTo>
                <a:cubicBezTo>
                  <a:pt x="89" y="91"/>
                  <a:pt x="89" y="91"/>
                  <a:pt x="89" y="91"/>
                </a:cubicBezTo>
                <a:cubicBezTo>
                  <a:pt x="99" y="81"/>
                  <a:pt x="106" y="68"/>
                  <a:pt x="106" y="53"/>
                </a:cubicBezTo>
                <a:cubicBezTo>
                  <a:pt x="106" y="49"/>
                  <a:pt x="105" y="46"/>
                  <a:pt x="105" y="43"/>
                </a:cubicBezTo>
                <a:cubicBezTo>
                  <a:pt x="86" y="49"/>
                  <a:pt x="86" y="49"/>
                  <a:pt x="86" y="49"/>
                </a:cubicBezTo>
                <a:cubicBezTo>
                  <a:pt x="86" y="50"/>
                  <a:pt x="86" y="51"/>
                  <a:pt x="86" y="53"/>
                </a:cubicBezTo>
                <a:close/>
                <a:moveTo>
                  <a:pt x="59" y="20"/>
                </a:moveTo>
                <a:cubicBezTo>
                  <a:pt x="69" y="22"/>
                  <a:pt x="77" y="28"/>
                  <a:pt x="82" y="36"/>
                </a:cubicBezTo>
                <a:cubicBezTo>
                  <a:pt x="101" y="30"/>
                  <a:pt x="101" y="30"/>
                  <a:pt x="101" y="30"/>
                </a:cubicBezTo>
                <a:cubicBezTo>
                  <a:pt x="93" y="14"/>
                  <a:pt x="78" y="3"/>
                  <a:pt x="59" y="0"/>
                </a:cubicBezTo>
                <a:lnTo>
                  <a:pt x="59" y="20"/>
                </a:lnTo>
                <a:close/>
                <a:moveTo>
                  <a:pt x="24" y="36"/>
                </a:moveTo>
                <a:cubicBezTo>
                  <a:pt x="29" y="28"/>
                  <a:pt x="37" y="22"/>
                  <a:pt x="46" y="20"/>
                </a:cubicBezTo>
                <a:cubicBezTo>
                  <a:pt x="46" y="0"/>
                  <a:pt x="46" y="0"/>
                  <a:pt x="46" y="0"/>
                </a:cubicBezTo>
                <a:cubicBezTo>
                  <a:pt x="28" y="3"/>
                  <a:pt x="13" y="14"/>
                  <a:pt x="5" y="30"/>
                </a:cubicBezTo>
                <a:lnTo>
                  <a:pt x="24" y="36"/>
                </a:lnTo>
                <a:close/>
                <a:moveTo>
                  <a:pt x="67" y="83"/>
                </a:moveTo>
                <a:cubicBezTo>
                  <a:pt x="62" y="84"/>
                  <a:pt x="58" y="85"/>
                  <a:pt x="53" y="85"/>
                </a:cubicBezTo>
                <a:cubicBezTo>
                  <a:pt x="48" y="85"/>
                  <a:pt x="43" y="84"/>
                  <a:pt x="39" y="83"/>
                </a:cubicBezTo>
                <a:cubicBezTo>
                  <a:pt x="28" y="99"/>
                  <a:pt x="28" y="99"/>
                  <a:pt x="28" y="99"/>
                </a:cubicBezTo>
                <a:cubicBezTo>
                  <a:pt x="35" y="103"/>
                  <a:pt x="44" y="105"/>
                  <a:pt x="53" y="105"/>
                </a:cubicBezTo>
                <a:cubicBezTo>
                  <a:pt x="62" y="105"/>
                  <a:pt x="71" y="103"/>
                  <a:pt x="78" y="99"/>
                </a:cubicBezTo>
                <a:lnTo>
                  <a:pt x="67" y="8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p>
            <a:endParaRPr lang="id-ID" dirty="0"/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小样本解决之招式三：</a:t>
            </a: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融合模型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-</a:t>
            </a: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比赛王道之选</a:t>
            </a:r>
            <a:endParaRPr lang="en-US" altLang="zh-CN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938530" y="112522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sz="1800" dirty="0" smtClean="0"/>
              <a:t>模型融合的问题</a:t>
            </a:r>
            <a:endParaRPr lang="zh-CN" altLang="en-US" sz="1800" dirty="0" smtClean="0"/>
          </a:p>
        </p:txBody>
      </p:sp>
      <p:sp>
        <p:nvSpPr>
          <p:cNvPr id="6" name="文本框 5"/>
          <p:cNvSpPr txBox="1"/>
          <p:nvPr/>
        </p:nvSpPr>
        <p:spPr>
          <a:xfrm>
            <a:off x="1216660" y="1664970"/>
            <a:ext cx="6220460" cy="440055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391795" indent="-285750">
              <a:buFont typeface="Arial" panose="020B0604020202090204" pitchFamily="34" charset="0"/>
              <a:buChar char="•"/>
            </a:pPr>
            <a:r>
              <a:rPr lang="zh-CN" altLang="en-US" sz="1600" dirty="0" smtClean="0"/>
              <a:t>适合在</a:t>
            </a:r>
            <a:r>
              <a:rPr lang="zh-CN" altLang="en-US" sz="1600" b="1" dirty="0" smtClean="0">
                <a:solidFill>
                  <a:srgbClr val="F05A23"/>
                </a:solidFill>
              </a:rPr>
              <a:t>比赛</a:t>
            </a:r>
            <a:r>
              <a:rPr lang="zh-CN" altLang="en-US" sz="1600" dirty="0" smtClean="0"/>
              <a:t>中，能有效提升成绩（</a:t>
            </a:r>
            <a:r>
              <a:rPr lang="en-US" altLang="zh-CN" sz="1600" dirty="0" smtClean="0"/>
              <a:t>kaggle</a:t>
            </a:r>
            <a:r>
              <a:rPr lang="zh-CN" altLang="en-US" sz="1600" dirty="0" smtClean="0"/>
              <a:t>有多个成功案例）</a:t>
            </a:r>
            <a:endParaRPr lang="zh-CN" altLang="en-US" sz="1600" dirty="0" smtClean="0"/>
          </a:p>
        </p:txBody>
      </p:sp>
      <p:sp>
        <p:nvSpPr>
          <p:cNvPr id="7" name="文本框 6"/>
          <p:cNvSpPr txBox="1"/>
          <p:nvPr/>
        </p:nvSpPr>
        <p:spPr>
          <a:xfrm>
            <a:off x="1216660" y="2270125"/>
            <a:ext cx="9353550" cy="747395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391795" indent="-285750" fontAlgn="auto">
              <a:lnSpc>
                <a:spcPts val="2300"/>
              </a:lnSpc>
              <a:buFont typeface="Arial" panose="020B0604020202090204" pitchFamily="34" charset="0"/>
              <a:buChar char="•"/>
            </a:pPr>
            <a:r>
              <a:rPr lang="zh-CN" altLang="en-US" sz="1600" dirty="0" smtClean="0"/>
              <a:t>但在实际企业生产应用中，复杂融合因其复杂性对效率和性能都会有影响，一般会相对选择轻量级融合，比如：投票</a:t>
            </a:r>
            <a:endParaRPr lang="zh-CN" altLang="en-US" sz="1600" dirty="0" smtClean="0"/>
          </a:p>
        </p:txBody>
      </p:sp>
      <p:sp>
        <p:nvSpPr>
          <p:cNvPr id="257" name="Freeform 131"/>
          <p:cNvSpPr>
            <a:spLocks noEditPoints="1"/>
          </p:cNvSpPr>
          <p:nvPr/>
        </p:nvSpPr>
        <p:spPr bwMode="auto">
          <a:xfrm>
            <a:off x="520700" y="1099820"/>
            <a:ext cx="417830" cy="415290"/>
          </a:xfrm>
          <a:custGeom>
            <a:avLst/>
            <a:gdLst>
              <a:gd name="T0" fmla="*/ 20 w 106"/>
              <a:gd name="T1" fmla="*/ 53 h 105"/>
              <a:gd name="T2" fmla="*/ 20 w 106"/>
              <a:gd name="T3" fmla="*/ 49 h 105"/>
              <a:gd name="T4" fmla="*/ 1 w 106"/>
              <a:gd name="T5" fmla="*/ 43 h 105"/>
              <a:gd name="T6" fmla="*/ 0 w 106"/>
              <a:gd name="T7" fmla="*/ 53 h 105"/>
              <a:gd name="T8" fmla="*/ 17 w 106"/>
              <a:gd name="T9" fmla="*/ 91 h 105"/>
              <a:gd name="T10" fmla="*/ 29 w 106"/>
              <a:gd name="T11" fmla="*/ 75 h 105"/>
              <a:gd name="T12" fmla="*/ 20 w 106"/>
              <a:gd name="T13" fmla="*/ 53 h 105"/>
              <a:gd name="T14" fmla="*/ 86 w 106"/>
              <a:gd name="T15" fmla="*/ 53 h 105"/>
              <a:gd name="T16" fmla="*/ 77 w 106"/>
              <a:gd name="T17" fmla="*/ 75 h 105"/>
              <a:gd name="T18" fmla="*/ 89 w 106"/>
              <a:gd name="T19" fmla="*/ 91 h 105"/>
              <a:gd name="T20" fmla="*/ 106 w 106"/>
              <a:gd name="T21" fmla="*/ 53 h 105"/>
              <a:gd name="T22" fmla="*/ 105 w 106"/>
              <a:gd name="T23" fmla="*/ 43 h 105"/>
              <a:gd name="T24" fmla="*/ 86 w 106"/>
              <a:gd name="T25" fmla="*/ 49 h 105"/>
              <a:gd name="T26" fmla="*/ 86 w 106"/>
              <a:gd name="T27" fmla="*/ 53 h 105"/>
              <a:gd name="T28" fmla="*/ 59 w 106"/>
              <a:gd name="T29" fmla="*/ 20 h 105"/>
              <a:gd name="T30" fmla="*/ 82 w 106"/>
              <a:gd name="T31" fmla="*/ 36 h 105"/>
              <a:gd name="T32" fmla="*/ 101 w 106"/>
              <a:gd name="T33" fmla="*/ 30 h 105"/>
              <a:gd name="T34" fmla="*/ 59 w 106"/>
              <a:gd name="T35" fmla="*/ 0 h 105"/>
              <a:gd name="T36" fmla="*/ 59 w 106"/>
              <a:gd name="T37" fmla="*/ 20 h 105"/>
              <a:gd name="T38" fmla="*/ 24 w 106"/>
              <a:gd name="T39" fmla="*/ 36 h 105"/>
              <a:gd name="T40" fmla="*/ 46 w 106"/>
              <a:gd name="T41" fmla="*/ 20 h 105"/>
              <a:gd name="T42" fmla="*/ 46 w 106"/>
              <a:gd name="T43" fmla="*/ 0 h 105"/>
              <a:gd name="T44" fmla="*/ 5 w 106"/>
              <a:gd name="T45" fmla="*/ 30 h 105"/>
              <a:gd name="T46" fmla="*/ 24 w 106"/>
              <a:gd name="T47" fmla="*/ 36 h 105"/>
              <a:gd name="T48" fmla="*/ 67 w 106"/>
              <a:gd name="T49" fmla="*/ 83 h 105"/>
              <a:gd name="T50" fmla="*/ 53 w 106"/>
              <a:gd name="T51" fmla="*/ 85 h 105"/>
              <a:gd name="T52" fmla="*/ 39 w 106"/>
              <a:gd name="T53" fmla="*/ 83 h 105"/>
              <a:gd name="T54" fmla="*/ 28 w 106"/>
              <a:gd name="T55" fmla="*/ 99 h 105"/>
              <a:gd name="T56" fmla="*/ 53 w 106"/>
              <a:gd name="T57" fmla="*/ 105 h 105"/>
              <a:gd name="T58" fmla="*/ 78 w 106"/>
              <a:gd name="T59" fmla="*/ 99 h 105"/>
              <a:gd name="T60" fmla="*/ 67 w 106"/>
              <a:gd name="T61" fmla="*/ 83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06" h="105">
                <a:moveTo>
                  <a:pt x="20" y="53"/>
                </a:moveTo>
                <a:cubicBezTo>
                  <a:pt x="20" y="51"/>
                  <a:pt x="20" y="50"/>
                  <a:pt x="20" y="49"/>
                </a:cubicBezTo>
                <a:cubicBezTo>
                  <a:pt x="1" y="43"/>
                  <a:pt x="1" y="43"/>
                  <a:pt x="1" y="43"/>
                </a:cubicBezTo>
                <a:cubicBezTo>
                  <a:pt x="1" y="46"/>
                  <a:pt x="0" y="49"/>
                  <a:pt x="0" y="53"/>
                </a:cubicBezTo>
                <a:cubicBezTo>
                  <a:pt x="0" y="68"/>
                  <a:pt x="7" y="81"/>
                  <a:pt x="17" y="91"/>
                </a:cubicBezTo>
                <a:cubicBezTo>
                  <a:pt x="29" y="75"/>
                  <a:pt x="29" y="75"/>
                  <a:pt x="29" y="75"/>
                </a:cubicBezTo>
                <a:cubicBezTo>
                  <a:pt x="23" y="69"/>
                  <a:pt x="20" y="61"/>
                  <a:pt x="20" y="53"/>
                </a:cubicBezTo>
                <a:close/>
                <a:moveTo>
                  <a:pt x="86" y="53"/>
                </a:moveTo>
                <a:cubicBezTo>
                  <a:pt x="86" y="61"/>
                  <a:pt x="83" y="69"/>
                  <a:pt x="77" y="75"/>
                </a:cubicBezTo>
                <a:cubicBezTo>
                  <a:pt x="89" y="91"/>
                  <a:pt x="89" y="91"/>
                  <a:pt x="89" y="91"/>
                </a:cubicBezTo>
                <a:cubicBezTo>
                  <a:pt x="99" y="81"/>
                  <a:pt x="106" y="68"/>
                  <a:pt x="106" y="53"/>
                </a:cubicBezTo>
                <a:cubicBezTo>
                  <a:pt x="106" y="49"/>
                  <a:pt x="105" y="46"/>
                  <a:pt x="105" y="43"/>
                </a:cubicBezTo>
                <a:cubicBezTo>
                  <a:pt x="86" y="49"/>
                  <a:pt x="86" y="49"/>
                  <a:pt x="86" y="49"/>
                </a:cubicBezTo>
                <a:cubicBezTo>
                  <a:pt x="86" y="50"/>
                  <a:pt x="86" y="51"/>
                  <a:pt x="86" y="53"/>
                </a:cubicBezTo>
                <a:close/>
                <a:moveTo>
                  <a:pt x="59" y="20"/>
                </a:moveTo>
                <a:cubicBezTo>
                  <a:pt x="69" y="22"/>
                  <a:pt x="77" y="28"/>
                  <a:pt x="82" y="36"/>
                </a:cubicBezTo>
                <a:cubicBezTo>
                  <a:pt x="101" y="30"/>
                  <a:pt x="101" y="30"/>
                  <a:pt x="101" y="30"/>
                </a:cubicBezTo>
                <a:cubicBezTo>
                  <a:pt x="93" y="14"/>
                  <a:pt x="78" y="3"/>
                  <a:pt x="59" y="0"/>
                </a:cubicBezTo>
                <a:lnTo>
                  <a:pt x="59" y="20"/>
                </a:lnTo>
                <a:close/>
                <a:moveTo>
                  <a:pt x="24" y="36"/>
                </a:moveTo>
                <a:cubicBezTo>
                  <a:pt x="29" y="28"/>
                  <a:pt x="37" y="22"/>
                  <a:pt x="46" y="20"/>
                </a:cubicBezTo>
                <a:cubicBezTo>
                  <a:pt x="46" y="0"/>
                  <a:pt x="46" y="0"/>
                  <a:pt x="46" y="0"/>
                </a:cubicBezTo>
                <a:cubicBezTo>
                  <a:pt x="28" y="3"/>
                  <a:pt x="13" y="14"/>
                  <a:pt x="5" y="30"/>
                </a:cubicBezTo>
                <a:lnTo>
                  <a:pt x="24" y="36"/>
                </a:lnTo>
                <a:close/>
                <a:moveTo>
                  <a:pt x="67" y="83"/>
                </a:moveTo>
                <a:cubicBezTo>
                  <a:pt x="62" y="84"/>
                  <a:pt x="58" y="85"/>
                  <a:pt x="53" y="85"/>
                </a:cubicBezTo>
                <a:cubicBezTo>
                  <a:pt x="48" y="85"/>
                  <a:pt x="43" y="84"/>
                  <a:pt x="39" y="83"/>
                </a:cubicBezTo>
                <a:cubicBezTo>
                  <a:pt x="28" y="99"/>
                  <a:pt x="28" y="99"/>
                  <a:pt x="28" y="99"/>
                </a:cubicBezTo>
                <a:cubicBezTo>
                  <a:pt x="35" y="103"/>
                  <a:pt x="44" y="105"/>
                  <a:pt x="53" y="105"/>
                </a:cubicBezTo>
                <a:cubicBezTo>
                  <a:pt x="62" y="105"/>
                  <a:pt x="71" y="103"/>
                  <a:pt x="78" y="99"/>
                </a:cubicBezTo>
                <a:lnTo>
                  <a:pt x="67" y="8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p>
            <a:endParaRPr lang="id-ID" dirty="0"/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小样本解决之招式四：觅迹同源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-</a:t>
            </a: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相似样本寻觅</a:t>
            </a:r>
            <a:endParaRPr lang="zh-CN" altLang="en-US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938530" y="112522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sz="1800" dirty="0" smtClean="0"/>
              <a:t>怎么寻找相似样本</a:t>
            </a:r>
            <a:endParaRPr lang="zh-CN" altLang="en-US" sz="1800" dirty="0" smtClean="0"/>
          </a:p>
        </p:txBody>
      </p:sp>
      <p:grpSp>
        <p:nvGrpSpPr>
          <p:cNvPr id="3" name="组合 2"/>
          <p:cNvGrpSpPr/>
          <p:nvPr/>
        </p:nvGrpSpPr>
        <p:grpSpPr>
          <a:xfrm>
            <a:off x="450215" y="1061720"/>
            <a:ext cx="389255" cy="427990"/>
            <a:chOff x="450391" y="1977754"/>
            <a:chExt cx="465233" cy="511985"/>
          </a:xfrm>
        </p:grpSpPr>
        <p:sp>
          <p:nvSpPr>
            <p:cNvPr id="488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89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0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1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2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3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5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7" name="椭圆 6"/>
          <p:cNvSpPr/>
          <p:nvPr/>
        </p:nvSpPr>
        <p:spPr>
          <a:xfrm>
            <a:off x="1168400" y="2298065"/>
            <a:ext cx="3191510" cy="3191510"/>
          </a:xfrm>
          <a:prstGeom prst="ellipse">
            <a:avLst/>
          </a:prstGeom>
          <a:noFill/>
          <a:ln w="0">
            <a:solidFill>
              <a:srgbClr val="F05A23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05A23"/>
                </a:solidFill>
              </a14:hiddenFill>
            </a:ext>
          </a:extLst>
        </p:spPr>
        <p:txBody>
          <a:bodyPr vert="horz" wrap="square" lIns="91440" tIns="45720" rIns="91440" bIns="45720" numCol="1" rtlCol="0" anchor="ctr" anchorCtr="0" compatLnSpc="1"/>
          <a:p>
            <a:pPr algn="ctr"/>
            <a:r>
              <a:rPr lang="zh-CN" altLang="en-US" sz="8000">
                <a:solidFill>
                  <a:schemeClr val="tx1"/>
                </a:solidFill>
              </a:rPr>
              <a:t>同源</a:t>
            </a:r>
            <a:endParaRPr lang="zh-CN" altLang="en-US" sz="8000">
              <a:solidFill>
                <a:schemeClr val="tx1"/>
              </a:solidFill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5174615" y="2821305"/>
            <a:ext cx="4064000" cy="46228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p>
            <a:pPr marL="106045" indent="0">
              <a:buNone/>
            </a:pPr>
            <a:r>
              <a:rPr lang="zh-CN" altLang="en-US" dirty="0" smtClean="0">
                <a:sym typeface="+mn-ea"/>
              </a:rPr>
              <a:t>搜索、浏览、购买</a:t>
            </a:r>
            <a:endParaRPr lang="zh-CN" altLang="en-US" sz="1800" dirty="0" smtClean="0"/>
          </a:p>
        </p:txBody>
      </p:sp>
      <p:sp>
        <p:nvSpPr>
          <p:cNvPr id="9" name="文本框 8"/>
          <p:cNvSpPr txBox="1"/>
          <p:nvPr/>
        </p:nvSpPr>
        <p:spPr>
          <a:xfrm>
            <a:off x="5174615" y="2389505"/>
            <a:ext cx="4064000" cy="42926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p>
            <a:pPr marL="106045" indent="0">
              <a:buFont typeface="Arial" panose="020B0604020202090204" pitchFamily="34" charset="0"/>
              <a:buNone/>
            </a:pPr>
            <a:r>
              <a:rPr lang="zh-CN" altLang="en-US" sz="1800" dirty="0" smtClean="0"/>
              <a:t>流程</a:t>
            </a:r>
            <a:r>
              <a:rPr lang="zh-CN" altLang="en-US" sz="1800" b="1" dirty="0" smtClean="0"/>
              <a:t>上下游</a:t>
            </a:r>
            <a:r>
              <a:rPr lang="zh-CN" altLang="en-US" sz="1800" dirty="0" smtClean="0"/>
              <a:t>，</a:t>
            </a:r>
            <a:r>
              <a:rPr lang="zh-CN" altLang="en-US" dirty="0" smtClean="0">
                <a:sym typeface="+mn-ea"/>
              </a:rPr>
              <a:t>往上游延伸</a:t>
            </a:r>
            <a:r>
              <a:rPr lang="zh-CN" altLang="en-US" sz="1800" dirty="0" smtClean="0"/>
              <a:t>：</a:t>
            </a:r>
            <a:endParaRPr lang="zh-CN" altLang="en-US" sz="1800" dirty="0" smtClean="0"/>
          </a:p>
        </p:txBody>
      </p:sp>
      <p:sp>
        <p:nvSpPr>
          <p:cNvPr id="10" name="文本框 9"/>
          <p:cNvSpPr txBox="1"/>
          <p:nvPr/>
        </p:nvSpPr>
        <p:spPr>
          <a:xfrm>
            <a:off x="5174615" y="3444875"/>
            <a:ext cx="4064000" cy="42926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p>
            <a:pPr marL="106045" indent="0">
              <a:buFont typeface="Arial" panose="020B0604020202090204" pitchFamily="34" charset="0"/>
              <a:buNone/>
            </a:pPr>
            <a:r>
              <a:rPr lang="zh-CN" altLang="en-US" sz="1800" dirty="0" smtClean="0"/>
              <a:t>业务</a:t>
            </a:r>
            <a:r>
              <a:rPr lang="zh-CN" altLang="en-US" sz="1800" b="1" dirty="0" smtClean="0"/>
              <a:t>行为相似</a:t>
            </a:r>
            <a:r>
              <a:rPr lang="zh-CN" altLang="en-US" dirty="0" smtClean="0">
                <a:sym typeface="+mn-ea"/>
              </a:rPr>
              <a:t>延伸</a:t>
            </a:r>
            <a:r>
              <a:rPr lang="zh-CN" altLang="en-US" sz="1800" dirty="0" smtClean="0"/>
              <a:t>：</a:t>
            </a:r>
            <a:endParaRPr lang="zh-CN" altLang="en-US" sz="1800" dirty="0" smtClean="0"/>
          </a:p>
        </p:txBody>
      </p:sp>
      <p:sp>
        <p:nvSpPr>
          <p:cNvPr id="11" name="文本框 10"/>
          <p:cNvSpPr txBox="1"/>
          <p:nvPr/>
        </p:nvSpPr>
        <p:spPr>
          <a:xfrm>
            <a:off x="5174615" y="3874135"/>
            <a:ext cx="4064000" cy="46228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p>
            <a:pPr marL="106045" indent="0">
              <a:buNone/>
            </a:pPr>
            <a:r>
              <a:rPr lang="zh-CN" altLang="en-US" dirty="0" smtClean="0">
                <a:sym typeface="+mn-ea"/>
              </a:rPr>
              <a:t>保全场景的冒办、代理、盗号</a:t>
            </a:r>
            <a:endParaRPr lang="zh-CN" altLang="en-US" sz="1800" dirty="0" smtClean="0"/>
          </a:p>
        </p:txBody>
      </p:sp>
      <p:sp>
        <p:nvSpPr>
          <p:cNvPr id="12" name="文本框 11"/>
          <p:cNvSpPr txBox="1"/>
          <p:nvPr/>
        </p:nvSpPr>
        <p:spPr>
          <a:xfrm>
            <a:off x="5174615" y="4547235"/>
            <a:ext cx="4064000" cy="42926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p>
            <a:pPr marL="106045" indent="0">
              <a:buFont typeface="Arial" panose="020B0604020202090204" pitchFamily="34" charset="0"/>
              <a:buNone/>
            </a:pPr>
            <a:r>
              <a:rPr lang="zh-CN" altLang="en-US" sz="1800" dirty="0" smtClean="0"/>
              <a:t>上面两种方式的</a:t>
            </a:r>
            <a:r>
              <a:rPr lang="zh-CN" altLang="en-US" sz="1800" b="1" dirty="0" smtClean="0"/>
              <a:t>混合</a:t>
            </a:r>
            <a:r>
              <a:rPr lang="zh-CN" altLang="en-US" sz="1800" dirty="0" smtClean="0"/>
              <a:t>：</a:t>
            </a:r>
            <a:endParaRPr lang="zh-CN" altLang="en-US" sz="1800" dirty="0" smtClean="0"/>
          </a:p>
        </p:txBody>
      </p:sp>
      <p:sp>
        <p:nvSpPr>
          <p:cNvPr id="13" name="文本框 12"/>
          <p:cNvSpPr txBox="1"/>
          <p:nvPr/>
        </p:nvSpPr>
        <p:spPr>
          <a:xfrm>
            <a:off x="5174615" y="4976495"/>
            <a:ext cx="4676775" cy="46228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p>
            <a:pPr marL="106045" indent="0">
              <a:buNone/>
            </a:pPr>
            <a:r>
              <a:rPr lang="zh-CN" altLang="en-US" dirty="0" smtClean="0">
                <a:sym typeface="+mn-ea"/>
              </a:rPr>
              <a:t>投诉场景内部投诉、监管投诉、通报件</a:t>
            </a:r>
            <a:endParaRPr lang="zh-CN" altLang="en-US" dirty="0" smtClean="0"/>
          </a:p>
          <a:p>
            <a:pPr marL="106045" indent="0">
              <a:buNone/>
            </a:pPr>
            <a:endParaRPr lang="zh-CN" altLang="en-US" dirty="0" smtClean="0"/>
          </a:p>
          <a:p>
            <a:pPr marL="106045" indent="0">
              <a:buNone/>
            </a:pPr>
            <a:endParaRPr lang="zh-CN" altLang="en-US" sz="1800" dirty="0" smtClean="0"/>
          </a:p>
        </p:txBody>
      </p:sp>
      <p:grpSp>
        <p:nvGrpSpPr>
          <p:cNvPr id="476" name="组合 475"/>
          <p:cNvGrpSpPr/>
          <p:nvPr/>
        </p:nvGrpSpPr>
        <p:grpSpPr>
          <a:xfrm>
            <a:off x="4636306" y="2445451"/>
            <a:ext cx="440742" cy="316802"/>
            <a:chOff x="7147096" y="3786571"/>
            <a:chExt cx="440742" cy="316802"/>
          </a:xfrm>
        </p:grpSpPr>
        <p:sp>
          <p:nvSpPr>
            <p:cNvPr id="269" name="Freeform 64"/>
            <p:cNvSpPr/>
            <p:nvPr/>
          </p:nvSpPr>
          <p:spPr bwMode="auto">
            <a:xfrm>
              <a:off x="7251689" y="4019336"/>
              <a:ext cx="231556" cy="65295"/>
            </a:xfrm>
            <a:custGeom>
              <a:avLst/>
              <a:gdLst>
                <a:gd name="T0" fmla="*/ 237 w 1916"/>
                <a:gd name="T1" fmla="*/ 0 h 542"/>
                <a:gd name="T2" fmla="*/ 300 w 1916"/>
                <a:gd name="T3" fmla="*/ 46 h 542"/>
                <a:gd name="T4" fmla="*/ 365 w 1916"/>
                <a:gd name="T5" fmla="*/ 88 h 542"/>
                <a:gd name="T6" fmla="*/ 432 w 1916"/>
                <a:gd name="T7" fmla="*/ 124 h 542"/>
                <a:gd name="T8" fmla="*/ 502 w 1916"/>
                <a:gd name="T9" fmla="*/ 157 h 542"/>
                <a:gd name="T10" fmla="*/ 574 w 1916"/>
                <a:gd name="T11" fmla="*/ 184 h 542"/>
                <a:gd name="T12" fmla="*/ 647 w 1916"/>
                <a:gd name="T13" fmla="*/ 207 h 542"/>
                <a:gd name="T14" fmla="*/ 722 w 1916"/>
                <a:gd name="T15" fmla="*/ 225 h 542"/>
                <a:gd name="T16" fmla="*/ 798 w 1916"/>
                <a:gd name="T17" fmla="*/ 238 h 542"/>
                <a:gd name="T18" fmla="*/ 877 w 1916"/>
                <a:gd name="T19" fmla="*/ 246 h 542"/>
                <a:gd name="T20" fmla="*/ 955 w 1916"/>
                <a:gd name="T21" fmla="*/ 248 h 542"/>
                <a:gd name="T22" fmla="*/ 1034 w 1916"/>
                <a:gd name="T23" fmla="*/ 246 h 542"/>
                <a:gd name="T24" fmla="*/ 1111 w 1916"/>
                <a:gd name="T25" fmla="*/ 238 h 542"/>
                <a:gd name="T26" fmla="*/ 1188 w 1916"/>
                <a:gd name="T27" fmla="*/ 225 h 542"/>
                <a:gd name="T28" fmla="*/ 1263 w 1916"/>
                <a:gd name="T29" fmla="*/ 206 h 542"/>
                <a:gd name="T30" fmla="*/ 1337 w 1916"/>
                <a:gd name="T31" fmla="*/ 184 h 542"/>
                <a:gd name="T32" fmla="*/ 1409 w 1916"/>
                <a:gd name="T33" fmla="*/ 157 h 542"/>
                <a:gd name="T34" fmla="*/ 1480 w 1916"/>
                <a:gd name="T35" fmla="*/ 123 h 542"/>
                <a:gd name="T36" fmla="*/ 1547 w 1916"/>
                <a:gd name="T37" fmla="*/ 87 h 542"/>
                <a:gd name="T38" fmla="*/ 1584 w 1916"/>
                <a:gd name="T39" fmla="*/ 122 h 542"/>
                <a:gd name="T40" fmla="*/ 1635 w 1916"/>
                <a:gd name="T41" fmla="*/ 172 h 542"/>
                <a:gd name="T42" fmla="*/ 1916 w 1916"/>
                <a:gd name="T43" fmla="*/ 454 h 542"/>
                <a:gd name="T44" fmla="*/ 1916 w 1916"/>
                <a:gd name="T45" fmla="*/ 542 h 542"/>
                <a:gd name="T46" fmla="*/ 0 w 1916"/>
                <a:gd name="T47" fmla="*/ 542 h 542"/>
                <a:gd name="T48" fmla="*/ 0 w 1916"/>
                <a:gd name="T49" fmla="*/ 273 h 542"/>
                <a:gd name="T50" fmla="*/ 2 w 1916"/>
                <a:gd name="T51" fmla="*/ 245 h 542"/>
                <a:gd name="T52" fmla="*/ 9 w 1916"/>
                <a:gd name="T53" fmla="*/ 217 h 542"/>
                <a:gd name="T54" fmla="*/ 19 w 1916"/>
                <a:gd name="T55" fmla="*/ 192 h 542"/>
                <a:gd name="T56" fmla="*/ 32 w 1916"/>
                <a:gd name="T57" fmla="*/ 168 h 542"/>
                <a:gd name="T58" fmla="*/ 50 w 1916"/>
                <a:gd name="T59" fmla="*/ 145 h 542"/>
                <a:gd name="T60" fmla="*/ 70 w 1916"/>
                <a:gd name="T61" fmla="*/ 126 h 542"/>
                <a:gd name="T62" fmla="*/ 125 w 1916"/>
                <a:gd name="T63" fmla="*/ 81 h 542"/>
                <a:gd name="T64" fmla="*/ 181 w 1916"/>
                <a:gd name="T65" fmla="*/ 39 h 542"/>
                <a:gd name="T66" fmla="*/ 237 w 1916"/>
                <a:gd name="T67" fmla="*/ 0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916" h="542">
                  <a:moveTo>
                    <a:pt x="237" y="0"/>
                  </a:moveTo>
                  <a:lnTo>
                    <a:pt x="300" y="46"/>
                  </a:lnTo>
                  <a:lnTo>
                    <a:pt x="365" y="88"/>
                  </a:lnTo>
                  <a:lnTo>
                    <a:pt x="432" y="124"/>
                  </a:lnTo>
                  <a:lnTo>
                    <a:pt x="502" y="157"/>
                  </a:lnTo>
                  <a:lnTo>
                    <a:pt x="574" y="184"/>
                  </a:lnTo>
                  <a:lnTo>
                    <a:pt x="647" y="207"/>
                  </a:lnTo>
                  <a:lnTo>
                    <a:pt x="722" y="225"/>
                  </a:lnTo>
                  <a:lnTo>
                    <a:pt x="798" y="238"/>
                  </a:lnTo>
                  <a:lnTo>
                    <a:pt x="877" y="246"/>
                  </a:lnTo>
                  <a:lnTo>
                    <a:pt x="955" y="248"/>
                  </a:lnTo>
                  <a:lnTo>
                    <a:pt x="1034" y="246"/>
                  </a:lnTo>
                  <a:lnTo>
                    <a:pt x="1111" y="238"/>
                  </a:lnTo>
                  <a:lnTo>
                    <a:pt x="1188" y="225"/>
                  </a:lnTo>
                  <a:lnTo>
                    <a:pt x="1263" y="206"/>
                  </a:lnTo>
                  <a:lnTo>
                    <a:pt x="1337" y="184"/>
                  </a:lnTo>
                  <a:lnTo>
                    <a:pt x="1409" y="157"/>
                  </a:lnTo>
                  <a:lnTo>
                    <a:pt x="1480" y="123"/>
                  </a:lnTo>
                  <a:lnTo>
                    <a:pt x="1547" y="87"/>
                  </a:lnTo>
                  <a:lnTo>
                    <a:pt x="1584" y="122"/>
                  </a:lnTo>
                  <a:lnTo>
                    <a:pt x="1635" y="172"/>
                  </a:lnTo>
                  <a:lnTo>
                    <a:pt x="1916" y="454"/>
                  </a:lnTo>
                  <a:lnTo>
                    <a:pt x="1916" y="542"/>
                  </a:lnTo>
                  <a:lnTo>
                    <a:pt x="0" y="542"/>
                  </a:lnTo>
                  <a:lnTo>
                    <a:pt x="0" y="273"/>
                  </a:lnTo>
                  <a:lnTo>
                    <a:pt x="2" y="245"/>
                  </a:lnTo>
                  <a:lnTo>
                    <a:pt x="9" y="217"/>
                  </a:lnTo>
                  <a:lnTo>
                    <a:pt x="19" y="192"/>
                  </a:lnTo>
                  <a:lnTo>
                    <a:pt x="32" y="168"/>
                  </a:lnTo>
                  <a:lnTo>
                    <a:pt x="50" y="145"/>
                  </a:lnTo>
                  <a:lnTo>
                    <a:pt x="70" y="126"/>
                  </a:lnTo>
                  <a:lnTo>
                    <a:pt x="125" y="81"/>
                  </a:lnTo>
                  <a:lnTo>
                    <a:pt x="181" y="39"/>
                  </a:lnTo>
                  <a:lnTo>
                    <a:pt x="237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p>
              <a:endParaRPr lang="en-US" dirty="0"/>
            </a:p>
          </p:txBody>
        </p:sp>
        <p:sp>
          <p:nvSpPr>
            <p:cNvPr id="270" name="Freeform 65"/>
            <p:cNvSpPr/>
            <p:nvPr/>
          </p:nvSpPr>
          <p:spPr bwMode="auto">
            <a:xfrm>
              <a:off x="7319403" y="3834938"/>
              <a:ext cx="96129" cy="158401"/>
            </a:xfrm>
            <a:custGeom>
              <a:avLst/>
              <a:gdLst>
                <a:gd name="T0" fmla="*/ 355 w 794"/>
                <a:gd name="T1" fmla="*/ 0 h 1308"/>
                <a:gd name="T2" fmla="*/ 440 w 794"/>
                <a:gd name="T3" fmla="*/ 0 h 1308"/>
                <a:gd name="T4" fmla="*/ 487 w 794"/>
                <a:gd name="T5" fmla="*/ 3 h 1308"/>
                <a:gd name="T6" fmla="*/ 534 w 794"/>
                <a:gd name="T7" fmla="*/ 13 h 1308"/>
                <a:gd name="T8" fmla="*/ 578 w 794"/>
                <a:gd name="T9" fmla="*/ 28 h 1308"/>
                <a:gd name="T10" fmla="*/ 619 w 794"/>
                <a:gd name="T11" fmla="*/ 49 h 1308"/>
                <a:gd name="T12" fmla="*/ 657 w 794"/>
                <a:gd name="T13" fmla="*/ 74 h 1308"/>
                <a:gd name="T14" fmla="*/ 691 w 794"/>
                <a:gd name="T15" fmla="*/ 104 h 1308"/>
                <a:gd name="T16" fmla="*/ 721 w 794"/>
                <a:gd name="T17" fmla="*/ 138 h 1308"/>
                <a:gd name="T18" fmla="*/ 746 w 794"/>
                <a:gd name="T19" fmla="*/ 176 h 1308"/>
                <a:gd name="T20" fmla="*/ 766 w 794"/>
                <a:gd name="T21" fmla="*/ 217 h 1308"/>
                <a:gd name="T22" fmla="*/ 782 w 794"/>
                <a:gd name="T23" fmla="*/ 261 h 1308"/>
                <a:gd name="T24" fmla="*/ 790 w 794"/>
                <a:gd name="T25" fmla="*/ 307 h 1308"/>
                <a:gd name="T26" fmla="*/ 794 w 794"/>
                <a:gd name="T27" fmla="*/ 356 h 1308"/>
                <a:gd name="T28" fmla="*/ 794 w 794"/>
                <a:gd name="T29" fmla="*/ 749 h 1308"/>
                <a:gd name="T30" fmla="*/ 792 w 794"/>
                <a:gd name="T31" fmla="*/ 780 h 1308"/>
                <a:gd name="T32" fmla="*/ 784 w 794"/>
                <a:gd name="T33" fmla="*/ 807 h 1308"/>
                <a:gd name="T34" fmla="*/ 772 w 794"/>
                <a:gd name="T35" fmla="*/ 834 h 1308"/>
                <a:gd name="T36" fmla="*/ 756 w 794"/>
                <a:gd name="T37" fmla="*/ 858 h 1308"/>
                <a:gd name="T38" fmla="*/ 737 w 794"/>
                <a:gd name="T39" fmla="*/ 879 h 1308"/>
                <a:gd name="T40" fmla="*/ 714 w 794"/>
                <a:gd name="T41" fmla="*/ 897 h 1308"/>
                <a:gd name="T42" fmla="*/ 714 w 794"/>
                <a:gd name="T43" fmla="*/ 1231 h 1308"/>
                <a:gd name="T44" fmla="*/ 656 w 794"/>
                <a:gd name="T45" fmla="*/ 1258 h 1308"/>
                <a:gd name="T46" fmla="*/ 592 w 794"/>
                <a:gd name="T47" fmla="*/ 1279 h 1308"/>
                <a:gd name="T48" fmla="*/ 528 w 794"/>
                <a:gd name="T49" fmla="*/ 1296 h 1308"/>
                <a:gd name="T50" fmla="*/ 462 w 794"/>
                <a:gd name="T51" fmla="*/ 1305 h 1308"/>
                <a:gd name="T52" fmla="*/ 394 w 794"/>
                <a:gd name="T53" fmla="*/ 1308 h 1308"/>
                <a:gd name="T54" fmla="*/ 328 w 794"/>
                <a:gd name="T55" fmla="*/ 1305 h 1308"/>
                <a:gd name="T56" fmla="*/ 263 w 794"/>
                <a:gd name="T57" fmla="*/ 1296 h 1308"/>
                <a:gd name="T58" fmla="*/ 200 w 794"/>
                <a:gd name="T59" fmla="*/ 1280 h 1308"/>
                <a:gd name="T60" fmla="*/ 138 w 794"/>
                <a:gd name="T61" fmla="*/ 1258 h 1308"/>
                <a:gd name="T62" fmla="*/ 79 w 794"/>
                <a:gd name="T63" fmla="*/ 1232 h 1308"/>
                <a:gd name="T64" fmla="*/ 79 w 794"/>
                <a:gd name="T65" fmla="*/ 896 h 1308"/>
                <a:gd name="T66" fmla="*/ 57 w 794"/>
                <a:gd name="T67" fmla="*/ 878 h 1308"/>
                <a:gd name="T68" fmla="*/ 37 w 794"/>
                <a:gd name="T69" fmla="*/ 857 h 1308"/>
                <a:gd name="T70" fmla="*/ 22 w 794"/>
                <a:gd name="T71" fmla="*/ 834 h 1308"/>
                <a:gd name="T72" fmla="*/ 10 w 794"/>
                <a:gd name="T73" fmla="*/ 807 h 1308"/>
                <a:gd name="T74" fmla="*/ 3 w 794"/>
                <a:gd name="T75" fmla="*/ 778 h 1308"/>
                <a:gd name="T76" fmla="*/ 0 w 794"/>
                <a:gd name="T77" fmla="*/ 749 h 1308"/>
                <a:gd name="T78" fmla="*/ 0 w 794"/>
                <a:gd name="T79" fmla="*/ 355 h 1308"/>
                <a:gd name="T80" fmla="*/ 3 w 794"/>
                <a:gd name="T81" fmla="*/ 306 h 1308"/>
                <a:gd name="T82" fmla="*/ 13 w 794"/>
                <a:gd name="T83" fmla="*/ 261 h 1308"/>
                <a:gd name="T84" fmla="*/ 28 w 794"/>
                <a:gd name="T85" fmla="*/ 217 h 1308"/>
                <a:gd name="T86" fmla="*/ 48 w 794"/>
                <a:gd name="T87" fmla="*/ 176 h 1308"/>
                <a:gd name="T88" fmla="*/ 74 w 794"/>
                <a:gd name="T89" fmla="*/ 138 h 1308"/>
                <a:gd name="T90" fmla="*/ 104 w 794"/>
                <a:gd name="T91" fmla="*/ 104 h 1308"/>
                <a:gd name="T92" fmla="*/ 138 w 794"/>
                <a:gd name="T93" fmla="*/ 74 h 1308"/>
                <a:gd name="T94" fmla="*/ 175 w 794"/>
                <a:gd name="T95" fmla="*/ 49 h 1308"/>
                <a:gd name="T96" fmla="*/ 216 w 794"/>
                <a:gd name="T97" fmla="*/ 28 h 1308"/>
                <a:gd name="T98" fmla="*/ 261 w 794"/>
                <a:gd name="T99" fmla="*/ 13 h 1308"/>
                <a:gd name="T100" fmla="*/ 307 w 794"/>
                <a:gd name="T101" fmla="*/ 3 h 1308"/>
                <a:gd name="T102" fmla="*/ 355 w 794"/>
                <a:gd name="T103" fmla="*/ 0 h 1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94" h="1308">
                  <a:moveTo>
                    <a:pt x="355" y="0"/>
                  </a:moveTo>
                  <a:lnTo>
                    <a:pt x="440" y="0"/>
                  </a:lnTo>
                  <a:lnTo>
                    <a:pt x="487" y="3"/>
                  </a:lnTo>
                  <a:lnTo>
                    <a:pt x="534" y="13"/>
                  </a:lnTo>
                  <a:lnTo>
                    <a:pt x="578" y="28"/>
                  </a:lnTo>
                  <a:lnTo>
                    <a:pt x="619" y="49"/>
                  </a:lnTo>
                  <a:lnTo>
                    <a:pt x="657" y="74"/>
                  </a:lnTo>
                  <a:lnTo>
                    <a:pt x="691" y="104"/>
                  </a:lnTo>
                  <a:lnTo>
                    <a:pt x="721" y="138"/>
                  </a:lnTo>
                  <a:lnTo>
                    <a:pt x="746" y="176"/>
                  </a:lnTo>
                  <a:lnTo>
                    <a:pt x="766" y="217"/>
                  </a:lnTo>
                  <a:lnTo>
                    <a:pt x="782" y="261"/>
                  </a:lnTo>
                  <a:lnTo>
                    <a:pt x="790" y="307"/>
                  </a:lnTo>
                  <a:lnTo>
                    <a:pt x="794" y="356"/>
                  </a:lnTo>
                  <a:lnTo>
                    <a:pt x="794" y="749"/>
                  </a:lnTo>
                  <a:lnTo>
                    <a:pt x="792" y="780"/>
                  </a:lnTo>
                  <a:lnTo>
                    <a:pt x="784" y="807"/>
                  </a:lnTo>
                  <a:lnTo>
                    <a:pt x="772" y="834"/>
                  </a:lnTo>
                  <a:lnTo>
                    <a:pt x="756" y="858"/>
                  </a:lnTo>
                  <a:lnTo>
                    <a:pt x="737" y="879"/>
                  </a:lnTo>
                  <a:lnTo>
                    <a:pt x="714" y="897"/>
                  </a:lnTo>
                  <a:lnTo>
                    <a:pt x="714" y="1231"/>
                  </a:lnTo>
                  <a:lnTo>
                    <a:pt x="656" y="1258"/>
                  </a:lnTo>
                  <a:lnTo>
                    <a:pt x="592" y="1279"/>
                  </a:lnTo>
                  <a:lnTo>
                    <a:pt x="528" y="1296"/>
                  </a:lnTo>
                  <a:lnTo>
                    <a:pt x="462" y="1305"/>
                  </a:lnTo>
                  <a:lnTo>
                    <a:pt x="394" y="1308"/>
                  </a:lnTo>
                  <a:lnTo>
                    <a:pt x="328" y="1305"/>
                  </a:lnTo>
                  <a:lnTo>
                    <a:pt x="263" y="1296"/>
                  </a:lnTo>
                  <a:lnTo>
                    <a:pt x="200" y="1280"/>
                  </a:lnTo>
                  <a:lnTo>
                    <a:pt x="138" y="1258"/>
                  </a:lnTo>
                  <a:lnTo>
                    <a:pt x="79" y="1232"/>
                  </a:lnTo>
                  <a:lnTo>
                    <a:pt x="79" y="896"/>
                  </a:lnTo>
                  <a:lnTo>
                    <a:pt x="57" y="878"/>
                  </a:lnTo>
                  <a:lnTo>
                    <a:pt x="37" y="857"/>
                  </a:lnTo>
                  <a:lnTo>
                    <a:pt x="22" y="834"/>
                  </a:lnTo>
                  <a:lnTo>
                    <a:pt x="10" y="807"/>
                  </a:lnTo>
                  <a:lnTo>
                    <a:pt x="3" y="778"/>
                  </a:lnTo>
                  <a:lnTo>
                    <a:pt x="0" y="749"/>
                  </a:lnTo>
                  <a:lnTo>
                    <a:pt x="0" y="355"/>
                  </a:lnTo>
                  <a:lnTo>
                    <a:pt x="3" y="306"/>
                  </a:lnTo>
                  <a:lnTo>
                    <a:pt x="13" y="261"/>
                  </a:lnTo>
                  <a:lnTo>
                    <a:pt x="28" y="217"/>
                  </a:lnTo>
                  <a:lnTo>
                    <a:pt x="48" y="176"/>
                  </a:lnTo>
                  <a:lnTo>
                    <a:pt x="74" y="138"/>
                  </a:lnTo>
                  <a:lnTo>
                    <a:pt x="104" y="104"/>
                  </a:lnTo>
                  <a:lnTo>
                    <a:pt x="138" y="74"/>
                  </a:lnTo>
                  <a:lnTo>
                    <a:pt x="175" y="49"/>
                  </a:lnTo>
                  <a:lnTo>
                    <a:pt x="216" y="28"/>
                  </a:lnTo>
                  <a:lnTo>
                    <a:pt x="261" y="13"/>
                  </a:lnTo>
                  <a:lnTo>
                    <a:pt x="307" y="3"/>
                  </a:lnTo>
                  <a:lnTo>
                    <a:pt x="355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p>
              <a:endParaRPr lang="en-US" dirty="0"/>
            </a:p>
          </p:txBody>
        </p:sp>
        <p:sp>
          <p:nvSpPr>
            <p:cNvPr id="271" name="Freeform 66"/>
            <p:cNvSpPr/>
            <p:nvPr/>
          </p:nvSpPr>
          <p:spPr bwMode="auto">
            <a:xfrm>
              <a:off x="7486872" y="3834938"/>
              <a:ext cx="100966" cy="209791"/>
            </a:xfrm>
            <a:custGeom>
              <a:avLst/>
              <a:gdLst>
                <a:gd name="T0" fmla="*/ 0 w 837"/>
                <a:gd name="T1" fmla="*/ 0 h 1735"/>
                <a:gd name="T2" fmla="*/ 69 w 837"/>
                <a:gd name="T3" fmla="*/ 0 h 1735"/>
                <a:gd name="T4" fmla="*/ 113 w 837"/>
                <a:gd name="T5" fmla="*/ 3 h 1735"/>
                <a:gd name="T6" fmla="*/ 155 w 837"/>
                <a:gd name="T7" fmla="*/ 12 h 1735"/>
                <a:gd name="T8" fmla="*/ 195 w 837"/>
                <a:gd name="T9" fmla="*/ 28 h 1735"/>
                <a:gd name="T10" fmla="*/ 232 w 837"/>
                <a:gd name="T11" fmla="*/ 48 h 1735"/>
                <a:gd name="T12" fmla="*/ 265 w 837"/>
                <a:gd name="T13" fmla="*/ 73 h 1735"/>
                <a:gd name="T14" fmla="*/ 294 w 837"/>
                <a:gd name="T15" fmla="*/ 102 h 1735"/>
                <a:gd name="T16" fmla="*/ 319 w 837"/>
                <a:gd name="T17" fmla="*/ 135 h 1735"/>
                <a:gd name="T18" fmla="*/ 339 w 837"/>
                <a:gd name="T19" fmla="*/ 172 h 1735"/>
                <a:gd name="T20" fmla="*/ 354 w 837"/>
                <a:gd name="T21" fmla="*/ 211 h 1735"/>
                <a:gd name="T22" fmla="*/ 363 w 837"/>
                <a:gd name="T23" fmla="*/ 253 h 1735"/>
                <a:gd name="T24" fmla="*/ 367 w 837"/>
                <a:gd name="T25" fmla="*/ 298 h 1735"/>
                <a:gd name="T26" fmla="*/ 367 w 837"/>
                <a:gd name="T27" fmla="*/ 627 h 1735"/>
                <a:gd name="T28" fmla="*/ 363 w 837"/>
                <a:gd name="T29" fmla="*/ 657 h 1735"/>
                <a:gd name="T30" fmla="*/ 354 w 837"/>
                <a:gd name="T31" fmla="*/ 686 h 1735"/>
                <a:gd name="T32" fmla="*/ 341 w 837"/>
                <a:gd name="T33" fmla="*/ 711 h 1735"/>
                <a:gd name="T34" fmla="*/ 322 w 837"/>
                <a:gd name="T35" fmla="*/ 733 h 1735"/>
                <a:gd name="T36" fmla="*/ 300 w 837"/>
                <a:gd name="T37" fmla="*/ 751 h 1735"/>
                <a:gd name="T38" fmla="*/ 300 w 837"/>
                <a:gd name="T39" fmla="*/ 1069 h 1735"/>
                <a:gd name="T40" fmla="*/ 300 w 837"/>
                <a:gd name="T41" fmla="*/ 1074 h 1735"/>
                <a:gd name="T42" fmla="*/ 302 w 837"/>
                <a:gd name="T43" fmla="*/ 1077 h 1735"/>
                <a:gd name="T44" fmla="*/ 305 w 837"/>
                <a:gd name="T45" fmla="*/ 1080 h 1735"/>
                <a:gd name="T46" fmla="*/ 308 w 837"/>
                <a:gd name="T47" fmla="*/ 1082 h 1735"/>
                <a:gd name="T48" fmla="*/ 320 w 837"/>
                <a:gd name="T49" fmla="*/ 1089 h 1735"/>
                <a:gd name="T50" fmla="*/ 338 w 837"/>
                <a:gd name="T51" fmla="*/ 1098 h 1735"/>
                <a:gd name="T52" fmla="*/ 359 w 837"/>
                <a:gd name="T53" fmla="*/ 1109 h 1735"/>
                <a:gd name="T54" fmla="*/ 385 w 837"/>
                <a:gd name="T55" fmla="*/ 1123 h 1735"/>
                <a:gd name="T56" fmla="*/ 414 w 837"/>
                <a:gd name="T57" fmla="*/ 1139 h 1735"/>
                <a:gd name="T58" fmla="*/ 447 w 837"/>
                <a:gd name="T59" fmla="*/ 1158 h 1735"/>
                <a:gd name="T60" fmla="*/ 483 w 837"/>
                <a:gd name="T61" fmla="*/ 1179 h 1735"/>
                <a:gd name="T62" fmla="*/ 521 w 837"/>
                <a:gd name="T63" fmla="*/ 1202 h 1735"/>
                <a:gd name="T64" fmla="*/ 561 w 837"/>
                <a:gd name="T65" fmla="*/ 1227 h 1735"/>
                <a:gd name="T66" fmla="*/ 603 w 837"/>
                <a:gd name="T67" fmla="*/ 1255 h 1735"/>
                <a:gd name="T68" fmla="*/ 646 w 837"/>
                <a:gd name="T69" fmla="*/ 1285 h 1735"/>
                <a:gd name="T70" fmla="*/ 689 w 837"/>
                <a:gd name="T71" fmla="*/ 1316 h 1735"/>
                <a:gd name="T72" fmla="*/ 734 w 837"/>
                <a:gd name="T73" fmla="*/ 1349 h 1735"/>
                <a:gd name="T74" fmla="*/ 778 w 837"/>
                <a:gd name="T75" fmla="*/ 1384 h 1735"/>
                <a:gd name="T76" fmla="*/ 798 w 837"/>
                <a:gd name="T77" fmla="*/ 1404 h 1735"/>
                <a:gd name="T78" fmla="*/ 814 w 837"/>
                <a:gd name="T79" fmla="*/ 1427 h 1735"/>
                <a:gd name="T80" fmla="*/ 827 w 837"/>
                <a:gd name="T81" fmla="*/ 1453 h 1735"/>
                <a:gd name="T82" fmla="*/ 833 w 837"/>
                <a:gd name="T83" fmla="*/ 1480 h 1735"/>
                <a:gd name="T84" fmla="*/ 837 w 837"/>
                <a:gd name="T85" fmla="*/ 1509 h 1735"/>
                <a:gd name="T86" fmla="*/ 837 w 837"/>
                <a:gd name="T87" fmla="*/ 1735 h 1735"/>
                <a:gd name="T88" fmla="*/ 543 w 837"/>
                <a:gd name="T89" fmla="*/ 1735 h 1735"/>
                <a:gd name="T90" fmla="*/ 11 w 837"/>
                <a:gd name="T91" fmla="*/ 1204 h 1735"/>
                <a:gd name="T92" fmla="*/ 51 w 837"/>
                <a:gd name="T93" fmla="*/ 1130 h 1735"/>
                <a:gd name="T94" fmla="*/ 86 w 837"/>
                <a:gd name="T95" fmla="*/ 1055 h 1735"/>
                <a:gd name="T96" fmla="*/ 115 w 837"/>
                <a:gd name="T97" fmla="*/ 977 h 1735"/>
                <a:gd name="T98" fmla="*/ 139 w 837"/>
                <a:gd name="T99" fmla="*/ 898 h 1735"/>
                <a:gd name="T100" fmla="*/ 156 w 837"/>
                <a:gd name="T101" fmla="*/ 816 h 1735"/>
                <a:gd name="T102" fmla="*/ 167 w 837"/>
                <a:gd name="T103" fmla="*/ 734 h 1735"/>
                <a:gd name="T104" fmla="*/ 173 w 837"/>
                <a:gd name="T105" fmla="*/ 650 h 1735"/>
                <a:gd name="T106" fmla="*/ 173 w 837"/>
                <a:gd name="T107" fmla="*/ 566 h 1735"/>
                <a:gd name="T108" fmla="*/ 166 w 837"/>
                <a:gd name="T109" fmla="*/ 480 h 1735"/>
                <a:gd name="T110" fmla="*/ 154 w 837"/>
                <a:gd name="T111" fmla="*/ 395 h 1735"/>
                <a:gd name="T112" fmla="*/ 135 w 837"/>
                <a:gd name="T113" fmla="*/ 312 h 1735"/>
                <a:gd name="T114" fmla="*/ 110 w 837"/>
                <a:gd name="T115" fmla="*/ 230 h 1735"/>
                <a:gd name="T116" fmla="*/ 79 w 837"/>
                <a:gd name="T117" fmla="*/ 152 h 1735"/>
                <a:gd name="T118" fmla="*/ 42 w 837"/>
                <a:gd name="T119" fmla="*/ 74 h 1735"/>
                <a:gd name="T120" fmla="*/ 0 w 837"/>
                <a:gd name="T121" fmla="*/ 0 h 17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37" h="1735">
                  <a:moveTo>
                    <a:pt x="0" y="0"/>
                  </a:moveTo>
                  <a:lnTo>
                    <a:pt x="69" y="0"/>
                  </a:lnTo>
                  <a:lnTo>
                    <a:pt x="113" y="3"/>
                  </a:lnTo>
                  <a:lnTo>
                    <a:pt x="155" y="12"/>
                  </a:lnTo>
                  <a:lnTo>
                    <a:pt x="195" y="28"/>
                  </a:lnTo>
                  <a:lnTo>
                    <a:pt x="232" y="48"/>
                  </a:lnTo>
                  <a:lnTo>
                    <a:pt x="265" y="73"/>
                  </a:lnTo>
                  <a:lnTo>
                    <a:pt x="294" y="102"/>
                  </a:lnTo>
                  <a:lnTo>
                    <a:pt x="319" y="135"/>
                  </a:lnTo>
                  <a:lnTo>
                    <a:pt x="339" y="172"/>
                  </a:lnTo>
                  <a:lnTo>
                    <a:pt x="354" y="211"/>
                  </a:lnTo>
                  <a:lnTo>
                    <a:pt x="363" y="253"/>
                  </a:lnTo>
                  <a:lnTo>
                    <a:pt x="367" y="298"/>
                  </a:lnTo>
                  <a:lnTo>
                    <a:pt x="367" y="627"/>
                  </a:lnTo>
                  <a:lnTo>
                    <a:pt x="363" y="657"/>
                  </a:lnTo>
                  <a:lnTo>
                    <a:pt x="354" y="686"/>
                  </a:lnTo>
                  <a:lnTo>
                    <a:pt x="341" y="711"/>
                  </a:lnTo>
                  <a:lnTo>
                    <a:pt x="322" y="733"/>
                  </a:lnTo>
                  <a:lnTo>
                    <a:pt x="300" y="751"/>
                  </a:lnTo>
                  <a:lnTo>
                    <a:pt x="300" y="1069"/>
                  </a:lnTo>
                  <a:lnTo>
                    <a:pt x="300" y="1074"/>
                  </a:lnTo>
                  <a:lnTo>
                    <a:pt x="302" y="1077"/>
                  </a:lnTo>
                  <a:lnTo>
                    <a:pt x="305" y="1080"/>
                  </a:lnTo>
                  <a:lnTo>
                    <a:pt x="308" y="1082"/>
                  </a:lnTo>
                  <a:lnTo>
                    <a:pt x="320" y="1089"/>
                  </a:lnTo>
                  <a:lnTo>
                    <a:pt x="338" y="1098"/>
                  </a:lnTo>
                  <a:lnTo>
                    <a:pt x="359" y="1109"/>
                  </a:lnTo>
                  <a:lnTo>
                    <a:pt x="385" y="1123"/>
                  </a:lnTo>
                  <a:lnTo>
                    <a:pt x="414" y="1139"/>
                  </a:lnTo>
                  <a:lnTo>
                    <a:pt x="447" y="1158"/>
                  </a:lnTo>
                  <a:lnTo>
                    <a:pt x="483" y="1179"/>
                  </a:lnTo>
                  <a:lnTo>
                    <a:pt x="521" y="1202"/>
                  </a:lnTo>
                  <a:lnTo>
                    <a:pt x="561" y="1227"/>
                  </a:lnTo>
                  <a:lnTo>
                    <a:pt x="603" y="1255"/>
                  </a:lnTo>
                  <a:lnTo>
                    <a:pt x="646" y="1285"/>
                  </a:lnTo>
                  <a:lnTo>
                    <a:pt x="689" y="1316"/>
                  </a:lnTo>
                  <a:lnTo>
                    <a:pt x="734" y="1349"/>
                  </a:lnTo>
                  <a:lnTo>
                    <a:pt x="778" y="1384"/>
                  </a:lnTo>
                  <a:lnTo>
                    <a:pt x="798" y="1404"/>
                  </a:lnTo>
                  <a:lnTo>
                    <a:pt x="814" y="1427"/>
                  </a:lnTo>
                  <a:lnTo>
                    <a:pt x="827" y="1453"/>
                  </a:lnTo>
                  <a:lnTo>
                    <a:pt x="833" y="1480"/>
                  </a:lnTo>
                  <a:lnTo>
                    <a:pt x="837" y="1509"/>
                  </a:lnTo>
                  <a:lnTo>
                    <a:pt x="837" y="1735"/>
                  </a:lnTo>
                  <a:lnTo>
                    <a:pt x="543" y="1735"/>
                  </a:lnTo>
                  <a:lnTo>
                    <a:pt x="11" y="1204"/>
                  </a:lnTo>
                  <a:lnTo>
                    <a:pt x="51" y="1130"/>
                  </a:lnTo>
                  <a:lnTo>
                    <a:pt x="86" y="1055"/>
                  </a:lnTo>
                  <a:lnTo>
                    <a:pt x="115" y="977"/>
                  </a:lnTo>
                  <a:lnTo>
                    <a:pt x="139" y="898"/>
                  </a:lnTo>
                  <a:lnTo>
                    <a:pt x="156" y="816"/>
                  </a:lnTo>
                  <a:lnTo>
                    <a:pt x="167" y="734"/>
                  </a:lnTo>
                  <a:lnTo>
                    <a:pt x="173" y="650"/>
                  </a:lnTo>
                  <a:lnTo>
                    <a:pt x="173" y="566"/>
                  </a:lnTo>
                  <a:lnTo>
                    <a:pt x="166" y="480"/>
                  </a:lnTo>
                  <a:lnTo>
                    <a:pt x="154" y="395"/>
                  </a:lnTo>
                  <a:lnTo>
                    <a:pt x="135" y="312"/>
                  </a:lnTo>
                  <a:lnTo>
                    <a:pt x="110" y="230"/>
                  </a:lnTo>
                  <a:lnTo>
                    <a:pt x="79" y="152"/>
                  </a:lnTo>
                  <a:lnTo>
                    <a:pt x="42" y="7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p>
              <a:endParaRPr lang="en-US" dirty="0"/>
            </a:p>
          </p:txBody>
        </p:sp>
        <p:sp>
          <p:nvSpPr>
            <p:cNvPr id="272" name="Freeform 67"/>
            <p:cNvSpPr>
              <a:spLocks noEditPoints="1"/>
            </p:cNvSpPr>
            <p:nvPr/>
          </p:nvSpPr>
          <p:spPr bwMode="auto">
            <a:xfrm>
              <a:off x="7244434" y="3786571"/>
              <a:ext cx="317407" cy="316802"/>
            </a:xfrm>
            <a:custGeom>
              <a:avLst/>
              <a:gdLst>
                <a:gd name="T0" fmla="*/ 821 w 2625"/>
                <a:gd name="T1" fmla="*/ 192 h 2623"/>
                <a:gd name="T2" fmla="*/ 578 w 2625"/>
                <a:gd name="T3" fmla="*/ 290 h 2623"/>
                <a:gd name="T4" fmla="*/ 370 w 2625"/>
                <a:gd name="T5" fmla="*/ 467 h 2623"/>
                <a:gd name="T6" fmla="*/ 230 w 2625"/>
                <a:gd name="T7" fmla="*/ 696 h 2623"/>
                <a:gd name="T8" fmla="*/ 172 w 2625"/>
                <a:gd name="T9" fmla="*/ 948 h 2623"/>
                <a:gd name="T10" fmla="*/ 192 w 2625"/>
                <a:gd name="T11" fmla="*/ 1207 h 2623"/>
                <a:gd name="T12" fmla="*/ 290 w 2625"/>
                <a:gd name="T13" fmla="*/ 1450 h 2623"/>
                <a:gd name="T14" fmla="*/ 467 w 2625"/>
                <a:gd name="T15" fmla="*/ 1658 h 2623"/>
                <a:gd name="T16" fmla="*/ 696 w 2625"/>
                <a:gd name="T17" fmla="*/ 1796 h 2623"/>
                <a:gd name="T18" fmla="*/ 949 w 2625"/>
                <a:gd name="T19" fmla="*/ 1855 h 2623"/>
                <a:gd name="T20" fmla="*/ 1207 w 2625"/>
                <a:gd name="T21" fmla="*/ 1836 h 2623"/>
                <a:gd name="T22" fmla="*/ 1450 w 2625"/>
                <a:gd name="T23" fmla="*/ 1737 h 2623"/>
                <a:gd name="T24" fmla="*/ 1658 w 2625"/>
                <a:gd name="T25" fmla="*/ 1560 h 2623"/>
                <a:gd name="T26" fmla="*/ 1797 w 2625"/>
                <a:gd name="T27" fmla="*/ 1331 h 2623"/>
                <a:gd name="T28" fmla="*/ 1856 w 2625"/>
                <a:gd name="T29" fmla="*/ 1078 h 2623"/>
                <a:gd name="T30" fmla="*/ 1836 w 2625"/>
                <a:gd name="T31" fmla="*/ 820 h 2623"/>
                <a:gd name="T32" fmla="*/ 1738 w 2625"/>
                <a:gd name="T33" fmla="*/ 577 h 2623"/>
                <a:gd name="T34" fmla="*/ 1561 w 2625"/>
                <a:gd name="T35" fmla="*/ 369 h 2623"/>
                <a:gd name="T36" fmla="*/ 1332 w 2625"/>
                <a:gd name="T37" fmla="*/ 231 h 2623"/>
                <a:gd name="T38" fmla="*/ 1079 w 2625"/>
                <a:gd name="T39" fmla="*/ 172 h 2623"/>
                <a:gd name="T40" fmla="*/ 1155 w 2625"/>
                <a:gd name="T41" fmla="*/ 9 h 2623"/>
                <a:gd name="T42" fmla="*/ 1428 w 2625"/>
                <a:gd name="T43" fmla="*/ 88 h 2623"/>
                <a:gd name="T44" fmla="*/ 1675 w 2625"/>
                <a:gd name="T45" fmla="*/ 245 h 2623"/>
                <a:gd name="T46" fmla="*/ 1876 w 2625"/>
                <a:gd name="T47" fmla="*/ 480 h 2623"/>
                <a:gd name="T48" fmla="*/ 1995 w 2625"/>
                <a:gd name="T49" fmla="*/ 755 h 2623"/>
                <a:gd name="T50" fmla="*/ 2028 w 2625"/>
                <a:gd name="T51" fmla="*/ 1048 h 2623"/>
                <a:gd name="T52" fmla="*/ 1975 w 2625"/>
                <a:gd name="T53" fmla="*/ 1339 h 2623"/>
                <a:gd name="T54" fmla="*/ 1836 w 2625"/>
                <a:gd name="T55" fmla="*/ 1606 h 2623"/>
                <a:gd name="T56" fmla="*/ 1928 w 2625"/>
                <a:gd name="T57" fmla="*/ 1728 h 2623"/>
                <a:gd name="T58" fmla="*/ 2602 w 2625"/>
                <a:gd name="T59" fmla="*/ 2405 h 2623"/>
                <a:gd name="T60" fmla="*/ 2622 w 2625"/>
                <a:gd name="T61" fmla="*/ 2509 h 2623"/>
                <a:gd name="T62" fmla="*/ 2562 w 2625"/>
                <a:gd name="T63" fmla="*/ 2600 h 2623"/>
                <a:gd name="T64" fmla="*/ 2458 w 2625"/>
                <a:gd name="T65" fmla="*/ 2621 h 2623"/>
                <a:gd name="T66" fmla="*/ 1798 w 2625"/>
                <a:gd name="T67" fmla="*/ 1994 h 2623"/>
                <a:gd name="T68" fmla="*/ 1669 w 2625"/>
                <a:gd name="T69" fmla="*/ 1787 h 2623"/>
                <a:gd name="T70" fmla="*/ 1424 w 2625"/>
                <a:gd name="T71" fmla="*/ 1940 h 2623"/>
                <a:gd name="T72" fmla="*/ 1154 w 2625"/>
                <a:gd name="T73" fmla="*/ 2017 h 2623"/>
                <a:gd name="T74" fmla="*/ 873 w 2625"/>
                <a:gd name="T75" fmla="*/ 2016 h 2623"/>
                <a:gd name="T76" fmla="*/ 600 w 2625"/>
                <a:gd name="T77" fmla="*/ 1938 h 2623"/>
                <a:gd name="T78" fmla="*/ 352 w 2625"/>
                <a:gd name="T79" fmla="*/ 1781 h 2623"/>
                <a:gd name="T80" fmla="*/ 152 w 2625"/>
                <a:gd name="T81" fmla="*/ 1546 h 2623"/>
                <a:gd name="T82" fmla="*/ 34 w 2625"/>
                <a:gd name="T83" fmla="*/ 1270 h 2623"/>
                <a:gd name="T84" fmla="*/ 0 w 2625"/>
                <a:gd name="T85" fmla="*/ 976 h 2623"/>
                <a:gd name="T86" fmla="*/ 55 w 2625"/>
                <a:gd name="T87" fmla="*/ 684 h 2623"/>
                <a:gd name="T88" fmla="*/ 195 w 2625"/>
                <a:gd name="T89" fmla="*/ 415 h 2623"/>
                <a:gd name="T90" fmla="*/ 411 w 2625"/>
                <a:gd name="T91" fmla="*/ 198 h 2623"/>
                <a:gd name="T92" fmla="*/ 666 w 2625"/>
                <a:gd name="T93" fmla="*/ 61 h 2623"/>
                <a:gd name="T94" fmla="*/ 944 w 2625"/>
                <a:gd name="T95" fmla="*/ 2 h 2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625" h="2623">
                  <a:moveTo>
                    <a:pt x="1013" y="169"/>
                  </a:moveTo>
                  <a:lnTo>
                    <a:pt x="949" y="172"/>
                  </a:lnTo>
                  <a:lnTo>
                    <a:pt x="885" y="179"/>
                  </a:lnTo>
                  <a:lnTo>
                    <a:pt x="821" y="192"/>
                  </a:lnTo>
                  <a:lnTo>
                    <a:pt x="758" y="209"/>
                  </a:lnTo>
                  <a:lnTo>
                    <a:pt x="696" y="231"/>
                  </a:lnTo>
                  <a:lnTo>
                    <a:pt x="636" y="258"/>
                  </a:lnTo>
                  <a:lnTo>
                    <a:pt x="578" y="290"/>
                  </a:lnTo>
                  <a:lnTo>
                    <a:pt x="521" y="327"/>
                  </a:lnTo>
                  <a:lnTo>
                    <a:pt x="467" y="369"/>
                  </a:lnTo>
                  <a:lnTo>
                    <a:pt x="416" y="417"/>
                  </a:lnTo>
                  <a:lnTo>
                    <a:pt x="370" y="467"/>
                  </a:lnTo>
                  <a:lnTo>
                    <a:pt x="328" y="522"/>
                  </a:lnTo>
                  <a:lnTo>
                    <a:pt x="290" y="577"/>
                  </a:lnTo>
                  <a:lnTo>
                    <a:pt x="258" y="635"/>
                  </a:lnTo>
                  <a:lnTo>
                    <a:pt x="230" y="696"/>
                  </a:lnTo>
                  <a:lnTo>
                    <a:pt x="208" y="757"/>
                  </a:lnTo>
                  <a:lnTo>
                    <a:pt x="192" y="820"/>
                  </a:lnTo>
                  <a:lnTo>
                    <a:pt x="178" y="884"/>
                  </a:lnTo>
                  <a:lnTo>
                    <a:pt x="172" y="948"/>
                  </a:lnTo>
                  <a:lnTo>
                    <a:pt x="168" y="1014"/>
                  </a:lnTo>
                  <a:lnTo>
                    <a:pt x="172" y="1079"/>
                  </a:lnTo>
                  <a:lnTo>
                    <a:pt x="178" y="1143"/>
                  </a:lnTo>
                  <a:lnTo>
                    <a:pt x="192" y="1207"/>
                  </a:lnTo>
                  <a:lnTo>
                    <a:pt x="208" y="1270"/>
                  </a:lnTo>
                  <a:lnTo>
                    <a:pt x="230" y="1332"/>
                  </a:lnTo>
                  <a:lnTo>
                    <a:pt x="258" y="1392"/>
                  </a:lnTo>
                  <a:lnTo>
                    <a:pt x="290" y="1450"/>
                  </a:lnTo>
                  <a:lnTo>
                    <a:pt x="328" y="1507"/>
                  </a:lnTo>
                  <a:lnTo>
                    <a:pt x="370" y="1560"/>
                  </a:lnTo>
                  <a:lnTo>
                    <a:pt x="416" y="1610"/>
                  </a:lnTo>
                  <a:lnTo>
                    <a:pt x="467" y="1658"/>
                  </a:lnTo>
                  <a:lnTo>
                    <a:pt x="521" y="1700"/>
                  </a:lnTo>
                  <a:lnTo>
                    <a:pt x="578" y="1737"/>
                  </a:lnTo>
                  <a:lnTo>
                    <a:pt x="636" y="1769"/>
                  </a:lnTo>
                  <a:lnTo>
                    <a:pt x="696" y="1796"/>
                  </a:lnTo>
                  <a:lnTo>
                    <a:pt x="758" y="1818"/>
                  </a:lnTo>
                  <a:lnTo>
                    <a:pt x="821" y="1836"/>
                  </a:lnTo>
                  <a:lnTo>
                    <a:pt x="884" y="1848"/>
                  </a:lnTo>
                  <a:lnTo>
                    <a:pt x="949" y="1855"/>
                  </a:lnTo>
                  <a:lnTo>
                    <a:pt x="1013" y="1858"/>
                  </a:lnTo>
                  <a:lnTo>
                    <a:pt x="1079" y="1855"/>
                  </a:lnTo>
                  <a:lnTo>
                    <a:pt x="1143" y="1848"/>
                  </a:lnTo>
                  <a:lnTo>
                    <a:pt x="1207" y="1836"/>
                  </a:lnTo>
                  <a:lnTo>
                    <a:pt x="1270" y="1818"/>
                  </a:lnTo>
                  <a:lnTo>
                    <a:pt x="1332" y="1796"/>
                  </a:lnTo>
                  <a:lnTo>
                    <a:pt x="1392" y="1769"/>
                  </a:lnTo>
                  <a:lnTo>
                    <a:pt x="1450" y="1737"/>
                  </a:lnTo>
                  <a:lnTo>
                    <a:pt x="1507" y="1700"/>
                  </a:lnTo>
                  <a:lnTo>
                    <a:pt x="1560" y="1658"/>
                  </a:lnTo>
                  <a:lnTo>
                    <a:pt x="1612" y="1610"/>
                  </a:lnTo>
                  <a:lnTo>
                    <a:pt x="1658" y="1560"/>
                  </a:lnTo>
                  <a:lnTo>
                    <a:pt x="1700" y="1507"/>
                  </a:lnTo>
                  <a:lnTo>
                    <a:pt x="1738" y="1450"/>
                  </a:lnTo>
                  <a:lnTo>
                    <a:pt x="1770" y="1392"/>
                  </a:lnTo>
                  <a:lnTo>
                    <a:pt x="1797" y="1331"/>
                  </a:lnTo>
                  <a:lnTo>
                    <a:pt x="1820" y="1270"/>
                  </a:lnTo>
                  <a:lnTo>
                    <a:pt x="1836" y="1207"/>
                  </a:lnTo>
                  <a:lnTo>
                    <a:pt x="1849" y="1143"/>
                  </a:lnTo>
                  <a:lnTo>
                    <a:pt x="1856" y="1078"/>
                  </a:lnTo>
                  <a:lnTo>
                    <a:pt x="1859" y="1014"/>
                  </a:lnTo>
                  <a:lnTo>
                    <a:pt x="1856" y="948"/>
                  </a:lnTo>
                  <a:lnTo>
                    <a:pt x="1849" y="884"/>
                  </a:lnTo>
                  <a:lnTo>
                    <a:pt x="1836" y="820"/>
                  </a:lnTo>
                  <a:lnTo>
                    <a:pt x="1820" y="757"/>
                  </a:lnTo>
                  <a:lnTo>
                    <a:pt x="1797" y="695"/>
                  </a:lnTo>
                  <a:lnTo>
                    <a:pt x="1770" y="635"/>
                  </a:lnTo>
                  <a:lnTo>
                    <a:pt x="1738" y="577"/>
                  </a:lnTo>
                  <a:lnTo>
                    <a:pt x="1700" y="520"/>
                  </a:lnTo>
                  <a:lnTo>
                    <a:pt x="1658" y="467"/>
                  </a:lnTo>
                  <a:lnTo>
                    <a:pt x="1612" y="417"/>
                  </a:lnTo>
                  <a:lnTo>
                    <a:pt x="1561" y="369"/>
                  </a:lnTo>
                  <a:lnTo>
                    <a:pt x="1507" y="327"/>
                  </a:lnTo>
                  <a:lnTo>
                    <a:pt x="1450" y="290"/>
                  </a:lnTo>
                  <a:lnTo>
                    <a:pt x="1392" y="258"/>
                  </a:lnTo>
                  <a:lnTo>
                    <a:pt x="1332" y="231"/>
                  </a:lnTo>
                  <a:lnTo>
                    <a:pt x="1270" y="209"/>
                  </a:lnTo>
                  <a:lnTo>
                    <a:pt x="1207" y="192"/>
                  </a:lnTo>
                  <a:lnTo>
                    <a:pt x="1143" y="179"/>
                  </a:lnTo>
                  <a:lnTo>
                    <a:pt x="1079" y="172"/>
                  </a:lnTo>
                  <a:lnTo>
                    <a:pt x="1013" y="169"/>
                  </a:lnTo>
                  <a:close/>
                  <a:moveTo>
                    <a:pt x="1013" y="0"/>
                  </a:moveTo>
                  <a:lnTo>
                    <a:pt x="1084" y="2"/>
                  </a:lnTo>
                  <a:lnTo>
                    <a:pt x="1155" y="9"/>
                  </a:lnTo>
                  <a:lnTo>
                    <a:pt x="1225" y="22"/>
                  </a:lnTo>
                  <a:lnTo>
                    <a:pt x="1294" y="38"/>
                  </a:lnTo>
                  <a:lnTo>
                    <a:pt x="1362" y="61"/>
                  </a:lnTo>
                  <a:lnTo>
                    <a:pt x="1428" y="88"/>
                  </a:lnTo>
                  <a:lnTo>
                    <a:pt x="1494" y="119"/>
                  </a:lnTo>
                  <a:lnTo>
                    <a:pt x="1557" y="157"/>
                  </a:lnTo>
                  <a:lnTo>
                    <a:pt x="1617" y="198"/>
                  </a:lnTo>
                  <a:lnTo>
                    <a:pt x="1675" y="245"/>
                  </a:lnTo>
                  <a:lnTo>
                    <a:pt x="1731" y="296"/>
                  </a:lnTo>
                  <a:lnTo>
                    <a:pt x="1784" y="355"/>
                  </a:lnTo>
                  <a:lnTo>
                    <a:pt x="1833" y="415"/>
                  </a:lnTo>
                  <a:lnTo>
                    <a:pt x="1876" y="480"/>
                  </a:lnTo>
                  <a:lnTo>
                    <a:pt x="1914" y="545"/>
                  </a:lnTo>
                  <a:lnTo>
                    <a:pt x="1946" y="613"/>
                  </a:lnTo>
                  <a:lnTo>
                    <a:pt x="1974" y="683"/>
                  </a:lnTo>
                  <a:lnTo>
                    <a:pt x="1995" y="755"/>
                  </a:lnTo>
                  <a:lnTo>
                    <a:pt x="2011" y="827"/>
                  </a:lnTo>
                  <a:lnTo>
                    <a:pt x="2022" y="900"/>
                  </a:lnTo>
                  <a:lnTo>
                    <a:pt x="2028" y="974"/>
                  </a:lnTo>
                  <a:lnTo>
                    <a:pt x="2028" y="1048"/>
                  </a:lnTo>
                  <a:lnTo>
                    <a:pt x="2022" y="1122"/>
                  </a:lnTo>
                  <a:lnTo>
                    <a:pt x="2012" y="1195"/>
                  </a:lnTo>
                  <a:lnTo>
                    <a:pt x="1996" y="1267"/>
                  </a:lnTo>
                  <a:lnTo>
                    <a:pt x="1975" y="1339"/>
                  </a:lnTo>
                  <a:lnTo>
                    <a:pt x="1948" y="1408"/>
                  </a:lnTo>
                  <a:lnTo>
                    <a:pt x="1916" y="1477"/>
                  </a:lnTo>
                  <a:lnTo>
                    <a:pt x="1880" y="1543"/>
                  </a:lnTo>
                  <a:lnTo>
                    <a:pt x="1836" y="1606"/>
                  </a:lnTo>
                  <a:lnTo>
                    <a:pt x="1789" y="1668"/>
                  </a:lnTo>
                  <a:lnTo>
                    <a:pt x="1874" y="1753"/>
                  </a:lnTo>
                  <a:lnTo>
                    <a:pt x="1913" y="1713"/>
                  </a:lnTo>
                  <a:lnTo>
                    <a:pt x="1928" y="1728"/>
                  </a:lnTo>
                  <a:lnTo>
                    <a:pt x="1945" y="1745"/>
                  </a:lnTo>
                  <a:lnTo>
                    <a:pt x="1996" y="1796"/>
                  </a:lnTo>
                  <a:lnTo>
                    <a:pt x="2584" y="2383"/>
                  </a:lnTo>
                  <a:lnTo>
                    <a:pt x="2602" y="2405"/>
                  </a:lnTo>
                  <a:lnTo>
                    <a:pt x="2614" y="2430"/>
                  </a:lnTo>
                  <a:lnTo>
                    <a:pt x="2622" y="2456"/>
                  </a:lnTo>
                  <a:lnTo>
                    <a:pt x="2625" y="2483"/>
                  </a:lnTo>
                  <a:lnTo>
                    <a:pt x="2622" y="2509"/>
                  </a:lnTo>
                  <a:lnTo>
                    <a:pt x="2614" y="2536"/>
                  </a:lnTo>
                  <a:lnTo>
                    <a:pt x="2602" y="2560"/>
                  </a:lnTo>
                  <a:lnTo>
                    <a:pt x="2584" y="2582"/>
                  </a:lnTo>
                  <a:lnTo>
                    <a:pt x="2562" y="2600"/>
                  </a:lnTo>
                  <a:lnTo>
                    <a:pt x="2538" y="2613"/>
                  </a:lnTo>
                  <a:lnTo>
                    <a:pt x="2511" y="2621"/>
                  </a:lnTo>
                  <a:lnTo>
                    <a:pt x="2485" y="2623"/>
                  </a:lnTo>
                  <a:lnTo>
                    <a:pt x="2458" y="2621"/>
                  </a:lnTo>
                  <a:lnTo>
                    <a:pt x="2431" y="2613"/>
                  </a:lnTo>
                  <a:lnTo>
                    <a:pt x="2407" y="2600"/>
                  </a:lnTo>
                  <a:lnTo>
                    <a:pt x="2385" y="2582"/>
                  </a:lnTo>
                  <a:lnTo>
                    <a:pt x="1798" y="1994"/>
                  </a:lnTo>
                  <a:lnTo>
                    <a:pt x="1747" y="1943"/>
                  </a:lnTo>
                  <a:lnTo>
                    <a:pt x="1715" y="1911"/>
                  </a:lnTo>
                  <a:lnTo>
                    <a:pt x="1755" y="1873"/>
                  </a:lnTo>
                  <a:lnTo>
                    <a:pt x="1669" y="1787"/>
                  </a:lnTo>
                  <a:lnTo>
                    <a:pt x="1611" y="1833"/>
                  </a:lnTo>
                  <a:lnTo>
                    <a:pt x="1551" y="1874"/>
                  </a:lnTo>
                  <a:lnTo>
                    <a:pt x="1488" y="1909"/>
                  </a:lnTo>
                  <a:lnTo>
                    <a:pt x="1424" y="1940"/>
                  </a:lnTo>
                  <a:lnTo>
                    <a:pt x="1357" y="1966"/>
                  </a:lnTo>
                  <a:lnTo>
                    <a:pt x="1291" y="1989"/>
                  </a:lnTo>
                  <a:lnTo>
                    <a:pt x="1223" y="2005"/>
                  </a:lnTo>
                  <a:lnTo>
                    <a:pt x="1154" y="2017"/>
                  </a:lnTo>
                  <a:lnTo>
                    <a:pt x="1084" y="2024"/>
                  </a:lnTo>
                  <a:lnTo>
                    <a:pt x="1013" y="2026"/>
                  </a:lnTo>
                  <a:lnTo>
                    <a:pt x="944" y="2024"/>
                  </a:lnTo>
                  <a:lnTo>
                    <a:pt x="873" y="2016"/>
                  </a:lnTo>
                  <a:lnTo>
                    <a:pt x="803" y="2004"/>
                  </a:lnTo>
                  <a:lnTo>
                    <a:pt x="734" y="1987"/>
                  </a:lnTo>
                  <a:lnTo>
                    <a:pt x="666" y="1965"/>
                  </a:lnTo>
                  <a:lnTo>
                    <a:pt x="600" y="1938"/>
                  </a:lnTo>
                  <a:lnTo>
                    <a:pt x="535" y="1906"/>
                  </a:lnTo>
                  <a:lnTo>
                    <a:pt x="472" y="1869"/>
                  </a:lnTo>
                  <a:lnTo>
                    <a:pt x="411" y="1827"/>
                  </a:lnTo>
                  <a:lnTo>
                    <a:pt x="352" y="1781"/>
                  </a:lnTo>
                  <a:lnTo>
                    <a:pt x="297" y="1730"/>
                  </a:lnTo>
                  <a:lnTo>
                    <a:pt x="244" y="1671"/>
                  </a:lnTo>
                  <a:lnTo>
                    <a:pt x="195" y="1610"/>
                  </a:lnTo>
                  <a:lnTo>
                    <a:pt x="152" y="1546"/>
                  </a:lnTo>
                  <a:lnTo>
                    <a:pt x="114" y="1480"/>
                  </a:lnTo>
                  <a:lnTo>
                    <a:pt x="82" y="1411"/>
                  </a:lnTo>
                  <a:lnTo>
                    <a:pt x="55" y="1342"/>
                  </a:lnTo>
                  <a:lnTo>
                    <a:pt x="34" y="1270"/>
                  </a:lnTo>
                  <a:lnTo>
                    <a:pt x="17" y="1197"/>
                  </a:lnTo>
                  <a:lnTo>
                    <a:pt x="6" y="1124"/>
                  </a:lnTo>
                  <a:lnTo>
                    <a:pt x="0" y="1050"/>
                  </a:lnTo>
                  <a:lnTo>
                    <a:pt x="0" y="976"/>
                  </a:lnTo>
                  <a:lnTo>
                    <a:pt x="6" y="902"/>
                  </a:lnTo>
                  <a:lnTo>
                    <a:pt x="17" y="829"/>
                  </a:lnTo>
                  <a:lnTo>
                    <a:pt x="34" y="756"/>
                  </a:lnTo>
                  <a:lnTo>
                    <a:pt x="55" y="684"/>
                  </a:lnTo>
                  <a:lnTo>
                    <a:pt x="82" y="614"/>
                  </a:lnTo>
                  <a:lnTo>
                    <a:pt x="114" y="546"/>
                  </a:lnTo>
                  <a:lnTo>
                    <a:pt x="152" y="480"/>
                  </a:lnTo>
                  <a:lnTo>
                    <a:pt x="195" y="415"/>
                  </a:lnTo>
                  <a:lnTo>
                    <a:pt x="244" y="355"/>
                  </a:lnTo>
                  <a:lnTo>
                    <a:pt x="297" y="296"/>
                  </a:lnTo>
                  <a:lnTo>
                    <a:pt x="352" y="245"/>
                  </a:lnTo>
                  <a:lnTo>
                    <a:pt x="411" y="198"/>
                  </a:lnTo>
                  <a:lnTo>
                    <a:pt x="472" y="157"/>
                  </a:lnTo>
                  <a:lnTo>
                    <a:pt x="535" y="119"/>
                  </a:lnTo>
                  <a:lnTo>
                    <a:pt x="600" y="88"/>
                  </a:lnTo>
                  <a:lnTo>
                    <a:pt x="666" y="61"/>
                  </a:lnTo>
                  <a:lnTo>
                    <a:pt x="734" y="38"/>
                  </a:lnTo>
                  <a:lnTo>
                    <a:pt x="803" y="22"/>
                  </a:lnTo>
                  <a:lnTo>
                    <a:pt x="873" y="9"/>
                  </a:lnTo>
                  <a:lnTo>
                    <a:pt x="944" y="2"/>
                  </a:lnTo>
                  <a:lnTo>
                    <a:pt x="1013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p>
              <a:endParaRPr lang="en-US" dirty="0"/>
            </a:p>
          </p:txBody>
        </p:sp>
        <p:sp>
          <p:nvSpPr>
            <p:cNvPr id="273" name="Freeform 68"/>
            <p:cNvSpPr/>
            <p:nvPr/>
          </p:nvSpPr>
          <p:spPr bwMode="auto">
            <a:xfrm>
              <a:off x="7147096" y="3834938"/>
              <a:ext cx="119708" cy="209791"/>
            </a:xfrm>
            <a:custGeom>
              <a:avLst/>
              <a:gdLst>
                <a:gd name="T0" fmla="*/ 832 w 991"/>
                <a:gd name="T1" fmla="*/ 0 h 1735"/>
                <a:gd name="T2" fmla="*/ 755 w 991"/>
                <a:gd name="T3" fmla="*/ 145 h 1735"/>
                <a:gd name="T4" fmla="*/ 701 w 991"/>
                <a:gd name="T5" fmla="*/ 298 h 1735"/>
                <a:gd name="T6" fmla="*/ 669 w 991"/>
                <a:gd name="T7" fmla="*/ 455 h 1735"/>
                <a:gd name="T8" fmla="*/ 658 w 991"/>
                <a:gd name="T9" fmla="*/ 614 h 1735"/>
                <a:gd name="T10" fmla="*/ 670 w 991"/>
                <a:gd name="T11" fmla="*/ 773 h 1735"/>
                <a:gd name="T12" fmla="*/ 703 w 991"/>
                <a:gd name="T13" fmla="*/ 930 h 1735"/>
                <a:gd name="T14" fmla="*/ 758 w 991"/>
                <a:gd name="T15" fmla="*/ 1082 h 1735"/>
                <a:gd name="T16" fmla="*/ 835 w 991"/>
                <a:gd name="T17" fmla="*/ 1227 h 1735"/>
                <a:gd name="T18" fmla="*/ 934 w 991"/>
                <a:gd name="T19" fmla="*/ 1361 h 1735"/>
                <a:gd name="T20" fmla="*/ 917 w 991"/>
                <a:gd name="T21" fmla="*/ 1479 h 1735"/>
                <a:gd name="T22" fmla="*/ 814 w 991"/>
                <a:gd name="T23" fmla="*/ 1564 h 1735"/>
                <a:gd name="T24" fmla="*/ 767 w 991"/>
                <a:gd name="T25" fmla="*/ 1626 h 1735"/>
                <a:gd name="T26" fmla="*/ 736 w 991"/>
                <a:gd name="T27" fmla="*/ 1696 h 1735"/>
                <a:gd name="T28" fmla="*/ 0 w 991"/>
                <a:gd name="T29" fmla="*/ 1735 h 1735"/>
                <a:gd name="T30" fmla="*/ 2 w 991"/>
                <a:gd name="T31" fmla="*/ 1479 h 1735"/>
                <a:gd name="T32" fmla="*/ 22 w 991"/>
                <a:gd name="T33" fmla="*/ 1427 h 1735"/>
                <a:gd name="T34" fmla="*/ 59 w 991"/>
                <a:gd name="T35" fmla="*/ 1384 h 1735"/>
                <a:gd name="T36" fmla="*/ 146 w 991"/>
                <a:gd name="T37" fmla="*/ 1316 h 1735"/>
                <a:gd name="T38" fmla="*/ 233 w 991"/>
                <a:gd name="T39" fmla="*/ 1255 h 1735"/>
                <a:gd name="T40" fmla="*/ 315 w 991"/>
                <a:gd name="T41" fmla="*/ 1202 h 1735"/>
                <a:gd name="T42" fmla="*/ 388 w 991"/>
                <a:gd name="T43" fmla="*/ 1158 h 1735"/>
                <a:gd name="T44" fmla="*/ 451 w 991"/>
                <a:gd name="T45" fmla="*/ 1122 h 1735"/>
                <a:gd name="T46" fmla="*/ 499 w 991"/>
                <a:gd name="T47" fmla="*/ 1097 h 1735"/>
                <a:gd name="T48" fmla="*/ 528 w 991"/>
                <a:gd name="T49" fmla="*/ 1082 h 1735"/>
                <a:gd name="T50" fmla="*/ 534 w 991"/>
                <a:gd name="T51" fmla="*/ 1077 h 1735"/>
                <a:gd name="T52" fmla="*/ 536 w 991"/>
                <a:gd name="T53" fmla="*/ 1069 h 1735"/>
                <a:gd name="T54" fmla="*/ 514 w 991"/>
                <a:gd name="T55" fmla="*/ 733 h 1735"/>
                <a:gd name="T56" fmla="*/ 481 w 991"/>
                <a:gd name="T57" fmla="*/ 686 h 1735"/>
                <a:gd name="T58" fmla="*/ 470 w 991"/>
                <a:gd name="T59" fmla="*/ 627 h 1735"/>
                <a:gd name="T60" fmla="*/ 473 w 991"/>
                <a:gd name="T61" fmla="*/ 253 h 1735"/>
                <a:gd name="T62" fmla="*/ 498 w 991"/>
                <a:gd name="T63" fmla="*/ 172 h 1735"/>
                <a:gd name="T64" fmla="*/ 543 w 991"/>
                <a:gd name="T65" fmla="*/ 102 h 1735"/>
                <a:gd name="T66" fmla="*/ 605 w 991"/>
                <a:gd name="T67" fmla="*/ 48 h 1735"/>
                <a:gd name="T68" fmla="*/ 681 w 991"/>
                <a:gd name="T69" fmla="*/ 12 h 1735"/>
                <a:gd name="T70" fmla="*/ 767 w 991"/>
                <a:gd name="T71" fmla="*/ 0 h 17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91" h="1735">
                  <a:moveTo>
                    <a:pt x="767" y="0"/>
                  </a:moveTo>
                  <a:lnTo>
                    <a:pt x="832" y="0"/>
                  </a:lnTo>
                  <a:lnTo>
                    <a:pt x="791" y="72"/>
                  </a:lnTo>
                  <a:lnTo>
                    <a:pt x="755" y="145"/>
                  </a:lnTo>
                  <a:lnTo>
                    <a:pt x="726" y="220"/>
                  </a:lnTo>
                  <a:lnTo>
                    <a:pt x="701" y="298"/>
                  </a:lnTo>
                  <a:lnTo>
                    <a:pt x="682" y="376"/>
                  </a:lnTo>
                  <a:lnTo>
                    <a:pt x="669" y="455"/>
                  </a:lnTo>
                  <a:lnTo>
                    <a:pt x="661" y="534"/>
                  </a:lnTo>
                  <a:lnTo>
                    <a:pt x="658" y="614"/>
                  </a:lnTo>
                  <a:lnTo>
                    <a:pt x="661" y="693"/>
                  </a:lnTo>
                  <a:lnTo>
                    <a:pt x="670" y="773"/>
                  </a:lnTo>
                  <a:lnTo>
                    <a:pt x="684" y="853"/>
                  </a:lnTo>
                  <a:lnTo>
                    <a:pt x="703" y="930"/>
                  </a:lnTo>
                  <a:lnTo>
                    <a:pt x="728" y="1007"/>
                  </a:lnTo>
                  <a:lnTo>
                    <a:pt x="758" y="1082"/>
                  </a:lnTo>
                  <a:lnTo>
                    <a:pt x="794" y="1155"/>
                  </a:lnTo>
                  <a:lnTo>
                    <a:pt x="835" y="1227"/>
                  </a:lnTo>
                  <a:lnTo>
                    <a:pt x="882" y="1296"/>
                  </a:lnTo>
                  <a:lnTo>
                    <a:pt x="934" y="1361"/>
                  </a:lnTo>
                  <a:lnTo>
                    <a:pt x="991" y="1424"/>
                  </a:lnTo>
                  <a:lnTo>
                    <a:pt x="917" y="1479"/>
                  </a:lnTo>
                  <a:lnTo>
                    <a:pt x="843" y="1538"/>
                  </a:lnTo>
                  <a:lnTo>
                    <a:pt x="814" y="1564"/>
                  </a:lnTo>
                  <a:lnTo>
                    <a:pt x="789" y="1594"/>
                  </a:lnTo>
                  <a:lnTo>
                    <a:pt x="767" y="1626"/>
                  </a:lnTo>
                  <a:lnTo>
                    <a:pt x="749" y="1661"/>
                  </a:lnTo>
                  <a:lnTo>
                    <a:pt x="736" y="1696"/>
                  </a:lnTo>
                  <a:lnTo>
                    <a:pt x="726" y="1735"/>
                  </a:lnTo>
                  <a:lnTo>
                    <a:pt x="0" y="1735"/>
                  </a:lnTo>
                  <a:lnTo>
                    <a:pt x="0" y="1508"/>
                  </a:lnTo>
                  <a:lnTo>
                    <a:pt x="2" y="1479"/>
                  </a:lnTo>
                  <a:lnTo>
                    <a:pt x="10" y="1453"/>
                  </a:lnTo>
                  <a:lnTo>
                    <a:pt x="22" y="1427"/>
                  </a:lnTo>
                  <a:lnTo>
                    <a:pt x="38" y="1404"/>
                  </a:lnTo>
                  <a:lnTo>
                    <a:pt x="59" y="1384"/>
                  </a:lnTo>
                  <a:lnTo>
                    <a:pt x="102" y="1349"/>
                  </a:lnTo>
                  <a:lnTo>
                    <a:pt x="146" y="1316"/>
                  </a:lnTo>
                  <a:lnTo>
                    <a:pt x="190" y="1285"/>
                  </a:lnTo>
                  <a:lnTo>
                    <a:pt x="233" y="1255"/>
                  </a:lnTo>
                  <a:lnTo>
                    <a:pt x="274" y="1227"/>
                  </a:lnTo>
                  <a:lnTo>
                    <a:pt x="315" y="1202"/>
                  </a:lnTo>
                  <a:lnTo>
                    <a:pt x="353" y="1179"/>
                  </a:lnTo>
                  <a:lnTo>
                    <a:pt x="388" y="1158"/>
                  </a:lnTo>
                  <a:lnTo>
                    <a:pt x="421" y="1139"/>
                  </a:lnTo>
                  <a:lnTo>
                    <a:pt x="451" y="1122"/>
                  </a:lnTo>
                  <a:lnTo>
                    <a:pt x="477" y="1109"/>
                  </a:lnTo>
                  <a:lnTo>
                    <a:pt x="499" y="1097"/>
                  </a:lnTo>
                  <a:lnTo>
                    <a:pt x="515" y="1089"/>
                  </a:lnTo>
                  <a:lnTo>
                    <a:pt x="528" y="1082"/>
                  </a:lnTo>
                  <a:lnTo>
                    <a:pt x="532" y="1080"/>
                  </a:lnTo>
                  <a:lnTo>
                    <a:pt x="534" y="1077"/>
                  </a:lnTo>
                  <a:lnTo>
                    <a:pt x="535" y="1074"/>
                  </a:lnTo>
                  <a:lnTo>
                    <a:pt x="536" y="1069"/>
                  </a:lnTo>
                  <a:lnTo>
                    <a:pt x="536" y="751"/>
                  </a:lnTo>
                  <a:lnTo>
                    <a:pt x="514" y="733"/>
                  </a:lnTo>
                  <a:lnTo>
                    <a:pt x="496" y="711"/>
                  </a:lnTo>
                  <a:lnTo>
                    <a:pt x="481" y="686"/>
                  </a:lnTo>
                  <a:lnTo>
                    <a:pt x="472" y="657"/>
                  </a:lnTo>
                  <a:lnTo>
                    <a:pt x="470" y="627"/>
                  </a:lnTo>
                  <a:lnTo>
                    <a:pt x="470" y="298"/>
                  </a:lnTo>
                  <a:lnTo>
                    <a:pt x="473" y="253"/>
                  </a:lnTo>
                  <a:lnTo>
                    <a:pt x="482" y="211"/>
                  </a:lnTo>
                  <a:lnTo>
                    <a:pt x="498" y="172"/>
                  </a:lnTo>
                  <a:lnTo>
                    <a:pt x="518" y="135"/>
                  </a:lnTo>
                  <a:lnTo>
                    <a:pt x="543" y="102"/>
                  </a:lnTo>
                  <a:lnTo>
                    <a:pt x="572" y="73"/>
                  </a:lnTo>
                  <a:lnTo>
                    <a:pt x="605" y="48"/>
                  </a:lnTo>
                  <a:lnTo>
                    <a:pt x="642" y="28"/>
                  </a:lnTo>
                  <a:lnTo>
                    <a:pt x="681" y="12"/>
                  </a:lnTo>
                  <a:lnTo>
                    <a:pt x="723" y="3"/>
                  </a:lnTo>
                  <a:lnTo>
                    <a:pt x="767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p>
              <a:endParaRPr lang="en-US" dirty="0"/>
            </a:p>
          </p:txBody>
        </p:sp>
      </p:grpSp>
      <p:grpSp>
        <p:nvGrpSpPr>
          <p:cNvPr id="16" name="组合 15"/>
          <p:cNvGrpSpPr/>
          <p:nvPr/>
        </p:nvGrpSpPr>
        <p:grpSpPr>
          <a:xfrm>
            <a:off x="4636306" y="3463991"/>
            <a:ext cx="440742" cy="316802"/>
            <a:chOff x="7147096" y="3786571"/>
            <a:chExt cx="440742" cy="316802"/>
          </a:xfrm>
        </p:grpSpPr>
        <p:sp>
          <p:nvSpPr>
            <p:cNvPr id="17" name="Freeform 64"/>
            <p:cNvSpPr/>
            <p:nvPr/>
          </p:nvSpPr>
          <p:spPr bwMode="auto">
            <a:xfrm>
              <a:off x="7251689" y="4019336"/>
              <a:ext cx="231556" cy="65295"/>
            </a:xfrm>
            <a:custGeom>
              <a:avLst/>
              <a:gdLst>
                <a:gd name="T0" fmla="*/ 237 w 1916"/>
                <a:gd name="T1" fmla="*/ 0 h 542"/>
                <a:gd name="T2" fmla="*/ 300 w 1916"/>
                <a:gd name="T3" fmla="*/ 46 h 542"/>
                <a:gd name="T4" fmla="*/ 365 w 1916"/>
                <a:gd name="T5" fmla="*/ 88 h 542"/>
                <a:gd name="T6" fmla="*/ 432 w 1916"/>
                <a:gd name="T7" fmla="*/ 124 h 542"/>
                <a:gd name="T8" fmla="*/ 502 w 1916"/>
                <a:gd name="T9" fmla="*/ 157 h 542"/>
                <a:gd name="T10" fmla="*/ 574 w 1916"/>
                <a:gd name="T11" fmla="*/ 184 h 542"/>
                <a:gd name="T12" fmla="*/ 647 w 1916"/>
                <a:gd name="T13" fmla="*/ 207 h 542"/>
                <a:gd name="T14" fmla="*/ 722 w 1916"/>
                <a:gd name="T15" fmla="*/ 225 h 542"/>
                <a:gd name="T16" fmla="*/ 798 w 1916"/>
                <a:gd name="T17" fmla="*/ 238 h 542"/>
                <a:gd name="T18" fmla="*/ 877 w 1916"/>
                <a:gd name="T19" fmla="*/ 246 h 542"/>
                <a:gd name="T20" fmla="*/ 955 w 1916"/>
                <a:gd name="T21" fmla="*/ 248 h 542"/>
                <a:gd name="T22" fmla="*/ 1034 w 1916"/>
                <a:gd name="T23" fmla="*/ 246 h 542"/>
                <a:gd name="T24" fmla="*/ 1111 w 1916"/>
                <a:gd name="T25" fmla="*/ 238 h 542"/>
                <a:gd name="T26" fmla="*/ 1188 w 1916"/>
                <a:gd name="T27" fmla="*/ 225 h 542"/>
                <a:gd name="T28" fmla="*/ 1263 w 1916"/>
                <a:gd name="T29" fmla="*/ 206 h 542"/>
                <a:gd name="T30" fmla="*/ 1337 w 1916"/>
                <a:gd name="T31" fmla="*/ 184 h 542"/>
                <a:gd name="T32" fmla="*/ 1409 w 1916"/>
                <a:gd name="T33" fmla="*/ 157 h 542"/>
                <a:gd name="T34" fmla="*/ 1480 w 1916"/>
                <a:gd name="T35" fmla="*/ 123 h 542"/>
                <a:gd name="T36" fmla="*/ 1547 w 1916"/>
                <a:gd name="T37" fmla="*/ 87 h 542"/>
                <a:gd name="T38" fmla="*/ 1584 w 1916"/>
                <a:gd name="T39" fmla="*/ 122 h 542"/>
                <a:gd name="T40" fmla="*/ 1635 w 1916"/>
                <a:gd name="T41" fmla="*/ 172 h 542"/>
                <a:gd name="T42" fmla="*/ 1916 w 1916"/>
                <a:gd name="T43" fmla="*/ 454 h 542"/>
                <a:gd name="T44" fmla="*/ 1916 w 1916"/>
                <a:gd name="T45" fmla="*/ 542 h 542"/>
                <a:gd name="T46" fmla="*/ 0 w 1916"/>
                <a:gd name="T47" fmla="*/ 542 h 542"/>
                <a:gd name="T48" fmla="*/ 0 w 1916"/>
                <a:gd name="T49" fmla="*/ 273 h 542"/>
                <a:gd name="T50" fmla="*/ 2 w 1916"/>
                <a:gd name="T51" fmla="*/ 245 h 542"/>
                <a:gd name="T52" fmla="*/ 9 w 1916"/>
                <a:gd name="T53" fmla="*/ 217 h 542"/>
                <a:gd name="T54" fmla="*/ 19 w 1916"/>
                <a:gd name="T55" fmla="*/ 192 h 542"/>
                <a:gd name="T56" fmla="*/ 32 w 1916"/>
                <a:gd name="T57" fmla="*/ 168 h 542"/>
                <a:gd name="T58" fmla="*/ 50 w 1916"/>
                <a:gd name="T59" fmla="*/ 145 h 542"/>
                <a:gd name="T60" fmla="*/ 70 w 1916"/>
                <a:gd name="T61" fmla="*/ 126 h 542"/>
                <a:gd name="T62" fmla="*/ 125 w 1916"/>
                <a:gd name="T63" fmla="*/ 81 h 542"/>
                <a:gd name="T64" fmla="*/ 181 w 1916"/>
                <a:gd name="T65" fmla="*/ 39 h 542"/>
                <a:gd name="T66" fmla="*/ 237 w 1916"/>
                <a:gd name="T67" fmla="*/ 0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916" h="542">
                  <a:moveTo>
                    <a:pt x="237" y="0"/>
                  </a:moveTo>
                  <a:lnTo>
                    <a:pt x="300" y="46"/>
                  </a:lnTo>
                  <a:lnTo>
                    <a:pt x="365" y="88"/>
                  </a:lnTo>
                  <a:lnTo>
                    <a:pt x="432" y="124"/>
                  </a:lnTo>
                  <a:lnTo>
                    <a:pt x="502" y="157"/>
                  </a:lnTo>
                  <a:lnTo>
                    <a:pt x="574" y="184"/>
                  </a:lnTo>
                  <a:lnTo>
                    <a:pt x="647" y="207"/>
                  </a:lnTo>
                  <a:lnTo>
                    <a:pt x="722" y="225"/>
                  </a:lnTo>
                  <a:lnTo>
                    <a:pt x="798" y="238"/>
                  </a:lnTo>
                  <a:lnTo>
                    <a:pt x="877" y="246"/>
                  </a:lnTo>
                  <a:lnTo>
                    <a:pt x="955" y="248"/>
                  </a:lnTo>
                  <a:lnTo>
                    <a:pt x="1034" y="246"/>
                  </a:lnTo>
                  <a:lnTo>
                    <a:pt x="1111" y="238"/>
                  </a:lnTo>
                  <a:lnTo>
                    <a:pt x="1188" y="225"/>
                  </a:lnTo>
                  <a:lnTo>
                    <a:pt x="1263" y="206"/>
                  </a:lnTo>
                  <a:lnTo>
                    <a:pt x="1337" y="184"/>
                  </a:lnTo>
                  <a:lnTo>
                    <a:pt x="1409" y="157"/>
                  </a:lnTo>
                  <a:lnTo>
                    <a:pt x="1480" y="123"/>
                  </a:lnTo>
                  <a:lnTo>
                    <a:pt x="1547" y="87"/>
                  </a:lnTo>
                  <a:lnTo>
                    <a:pt x="1584" y="122"/>
                  </a:lnTo>
                  <a:lnTo>
                    <a:pt x="1635" y="172"/>
                  </a:lnTo>
                  <a:lnTo>
                    <a:pt x="1916" y="454"/>
                  </a:lnTo>
                  <a:lnTo>
                    <a:pt x="1916" y="542"/>
                  </a:lnTo>
                  <a:lnTo>
                    <a:pt x="0" y="542"/>
                  </a:lnTo>
                  <a:lnTo>
                    <a:pt x="0" y="273"/>
                  </a:lnTo>
                  <a:lnTo>
                    <a:pt x="2" y="245"/>
                  </a:lnTo>
                  <a:lnTo>
                    <a:pt x="9" y="217"/>
                  </a:lnTo>
                  <a:lnTo>
                    <a:pt x="19" y="192"/>
                  </a:lnTo>
                  <a:lnTo>
                    <a:pt x="32" y="168"/>
                  </a:lnTo>
                  <a:lnTo>
                    <a:pt x="50" y="145"/>
                  </a:lnTo>
                  <a:lnTo>
                    <a:pt x="70" y="126"/>
                  </a:lnTo>
                  <a:lnTo>
                    <a:pt x="125" y="81"/>
                  </a:lnTo>
                  <a:lnTo>
                    <a:pt x="181" y="39"/>
                  </a:lnTo>
                  <a:lnTo>
                    <a:pt x="237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p>
              <a:endParaRPr lang="en-US" dirty="0"/>
            </a:p>
          </p:txBody>
        </p:sp>
        <p:sp>
          <p:nvSpPr>
            <p:cNvPr id="18" name="Freeform 65"/>
            <p:cNvSpPr/>
            <p:nvPr/>
          </p:nvSpPr>
          <p:spPr bwMode="auto">
            <a:xfrm>
              <a:off x="7319403" y="3834938"/>
              <a:ext cx="96129" cy="158401"/>
            </a:xfrm>
            <a:custGeom>
              <a:avLst/>
              <a:gdLst>
                <a:gd name="T0" fmla="*/ 355 w 794"/>
                <a:gd name="T1" fmla="*/ 0 h 1308"/>
                <a:gd name="T2" fmla="*/ 440 w 794"/>
                <a:gd name="T3" fmla="*/ 0 h 1308"/>
                <a:gd name="T4" fmla="*/ 487 w 794"/>
                <a:gd name="T5" fmla="*/ 3 h 1308"/>
                <a:gd name="T6" fmla="*/ 534 w 794"/>
                <a:gd name="T7" fmla="*/ 13 h 1308"/>
                <a:gd name="T8" fmla="*/ 578 w 794"/>
                <a:gd name="T9" fmla="*/ 28 h 1308"/>
                <a:gd name="T10" fmla="*/ 619 w 794"/>
                <a:gd name="T11" fmla="*/ 49 h 1308"/>
                <a:gd name="T12" fmla="*/ 657 w 794"/>
                <a:gd name="T13" fmla="*/ 74 h 1308"/>
                <a:gd name="T14" fmla="*/ 691 w 794"/>
                <a:gd name="T15" fmla="*/ 104 h 1308"/>
                <a:gd name="T16" fmla="*/ 721 w 794"/>
                <a:gd name="T17" fmla="*/ 138 h 1308"/>
                <a:gd name="T18" fmla="*/ 746 w 794"/>
                <a:gd name="T19" fmla="*/ 176 h 1308"/>
                <a:gd name="T20" fmla="*/ 766 w 794"/>
                <a:gd name="T21" fmla="*/ 217 h 1308"/>
                <a:gd name="T22" fmla="*/ 782 w 794"/>
                <a:gd name="T23" fmla="*/ 261 h 1308"/>
                <a:gd name="T24" fmla="*/ 790 w 794"/>
                <a:gd name="T25" fmla="*/ 307 h 1308"/>
                <a:gd name="T26" fmla="*/ 794 w 794"/>
                <a:gd name="T27" fmla="*/ 356 h 1308"/>
                <a:gd name="T28" fmla="*/ 794 w 794"/>
                <a:gd name="T29" fmla="*/ 749 h 1308"/>
                <a:gd name="T30" fmla="*/ 792 w 794"/>
                <a:gd name="T31" fmla="*/ 780 h 1308"/>
                <a:gd name="T32" fmla="*/ 784 w 794"/>
                <a:gd name="T33" fmla="*/ 807 h 1308"/>
                <a:gd name="T34" fmla="*/ 772 w 794"/>
                <a:gd name="T35" fmla="*/ 834 h 1308"/>
                <a:gd name="T36" fmla="*/ 756 w 794"/>
                <a:gd name="T37" fmla="*/ 858 h 1308"/>
                <a:gd name="T38" fmla="*/ 737 w 794"/>
                <a:gd name="T39" fmla="*/ 879 h 1308"/>
                <a:gd name="T40" fmla="*/ 714 w 794"/>
                <a:gd name="T41" fmla="*/ 897 h 1308"/>
                <a:gd name="T42" fmla="*/ 714 w 794"/>
                <a:gd name="T43" fmla="*/ 1231 h 1308"/>
                <a:gd name="T44" fmla="*/ 656 w 794"/>
                <a:gd name="T45" fmla="*/ 1258 h 1308"/>
                <a:gd name="T46" fmla="*/ 592 w 794"/>
                <a:gd name="T47" fmla="*/ 1279 h 1308"/>
                <a:gd name="T48" fmla="*/ 528 w 794"/>
                <a:gd name="T49" fmla="*/ 1296 h 1308"/>
                <a:gd name="T50" fmla="*/ 462 w 794"/>
                <a:gd name="T51" fmla="*/ 1305 h 1308"/>
                <a:gd name="T52" fmla="*/ 394 w 794"/>
                <a:gd name="T53" fmla="*/ 1308 h 1308"/>
                <a:gd name="T54" fmla="*/ 328 w 794"/>
                <a:gd name="T55" fmla="*/ 1305 h 1308"/>
                <a:gd name="T56" fmla="*/ 263 w 794"/>
                <a:gd name="T57" fmla="*/ 1296 h 1308"/>
                <a:gd name="T58" fmla="*/ 200 w 794"/>
                <a:gd name="T59" fmla="*/ 1280 h 1308"/>
                <a:gd name="T60" fmla="*/ 138 w 794"/>
                <a:gd name="T61" fmla="*/ 1258 h 1308"/>
                <a:gd name="T62" fmla="*/ 79 w 794"/>
                <a:gd name="T63" fmla="*/ 1232 h 1308"/>
                <a:gd name="T64" fmla="*/ 79 w 794"/>
                <a:gd name="T65" fmla="*/ 896 h 1308"/>
                <a:gd name="T66" fmla="*/ 57 w 794"/>
                <a:gd name="T67" fmla="*/ 878 h 1308"/>
                <a:gd name="T68" fmla="*/ 37 w 794"/>
                <a:gd name="T69" fmla="*/ 857 h 1308"/>
                <a:gd name="T70" fmla="*/ 22 w 794"/>
                <a:gd name="T71" fmla="*/ 834 h 1308"/>
                <a:gd name="T72" fmla="*/ 10 w 794"/>
                <a:gd name="T73" fmla="*/ 807 h 1308"/>
                <a:gd name="T74" fmla="*/ 3 w 794"/>
                <a:gd name="T75" fmla="*/ 778 h 1308"/>
                <a:gd name="T76" fmla="*/ 0 w 794"/>
                <a:gd name="T77" fmla="*/ 749 h 1308"/>
                <a:gd name="T78" fmla="*/ 0 w 794"/>
                <a:gd name="T79" fmla="*/ 355 h 1308"/>
                <a:gd name="T80" fmla="*/ 3 w 794"/>
                <a:gd name="T81" fmla="*/ 306 h 1308"/>
                <a:gd name="T82" fmla="*/ 13 w 794"/>
                <a:gd name="T83" fmla="*/ 261 h 1308"/>
                <a:gd name="T84" fmla="*/ 28 w 794"/>
                <a:gd name="T85" fmla="*/ 217 h 1308"/>
                <a:gd name="T86" fmla="*/ 48 w 794"/>
                <a:gd name="T87" fmla="*/ 176 h 1308"/>
                <a:gd name="T88" fmla="*/ 74 w 794"/>
                <a:gd name="T89" fmla="*/ 138 h 1308"/>
                <a:gd name="T90" fmla="*/ 104 w 794"/>
                <a:gd name="T91" fmla="*/ 104 h 1308"/>
                <a:gd name="T92" fmla="*/ 138 w 794"/>
                <a:gd name="T93" fmla="*/ 74 h 1308"/>
                <a:gd name="T94" fmla="*/ 175 w 794"/>
                <a:gd name="T95" fmla="*/ 49 h 1308"/>
                <a:gd name="T96" fmla="*/ 216 w 794"/>
                <a:gd name="T97" fmla="*/ 28 h 1308"/>
                <a:gd name="T98" fmla="*/ 261 w 794"/>
                <a:gd name="T99" fmla="*/ 13 h 1308"/>
                <a:gd name="T100" fmla="*/ 307 w 794"/>
                <a:gd name="T101" fmla="*/ 3 h 1308"/>
                <a:gd name="T102" fmla="*/ 355 w 794"/>
                <a:gd name="T103" fmla="*/ 0 h 1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94" h="1308">
                  <a:moveTo>
                    <a:pt x="355" y="0"/>
                  </a:moveTo>
                  <a:lnTo>
                    <a:pt x="440" y="0"/>
                  </a:lnTo>
                  <a:lnTo>
                    <a:pt x="487" y="3"/>
                  </a:lnTo>
                  <a:lnTo>
                    <a:pt x="534" y="13"/>
                  </a:lnTo>
                  <a:lnTo>
                    <a:pt x="578" y="28"/>
                  </a:lnTo>
                  <a:lnTo>
                    <a:pt x="619" y="49"/>
                  </a:lnTo>
                  <a:lnTo>
                    <a:pt x="657" y="74"/>
                  </a:lnTo>
                  <a:lnTo>
                    <a:pt x="691" y="104"/>
                  </a:lnTo>
                  <a:lnTo>
                    <a:pt x="721" y="138"/>
                  </a:lnTo>
                  <a:lnTo>
                    <a:pt x="746" y="176"/>
                  </a:lnTo>
                  <a:lnTo>
                    <a:pt x="766" y="217"/>
                  </a:lnTo>
                  <a:lnTo>
                    <a:pt x="782" y="261"/>
                  </a:lnTo>
                  <a:lnTo>
                    <a:pt x="790" y="307"/>
                  </a:lnTo>
                  <a:lnTo>
                    <a:pt x="794" y="356"/>
                  </a:lnTo>
                  <a:lnTo>
                    <a:pt x="794" y="749"/>
                  </a:lnTo>
                  <a:lnTo>
                    <a:pt x="792" y="780"/>
                  </a:lnTo>
                  <a:lnTo>
                    <a:pt x="784" y="807"/>
                  </a:lnTo>
                  <a:lnTo>
                    <a:pt x="772" y="834"/>
                  </a:lnTo>
                  <a:lnTo>
                    <a:pt x="756" y="858"/>
                  </a:lnTo>
                  <a:lnTo>
                    <a:pt x="737" y="879"/>
                  </a:lnTo>
                  <a:lnTo>
                    <a:pt x="714" y="897"/>
                  </a:lnTo>
                  <a:lnTo>
                    <a:pt x="714" y="1231"/>
                  </a:lnTo>
                  <a:lnTo>
                    <a:pt x="656" y="1258"/>
                  </a:lnTo>
                  <a:lnTo>
                    <a:pt x="592" y="1279"/>
                  </a:lnTo>
                  <a:lnTo>
                    <a:pt x="528" y="1296"/>
                  </a:lnTo>
                  <a:lnTo>
                    <a:pt x="462" y="1305"/>
                  </a:lnTo>
                  <a:lnTo>
                    <a:pt x="394" y="1308"/>
                  </a:lnTo>
                  <a:lnTo>
                    <a:pt x="328" y="1305"/>
                  </a:lnTo>
                  <a:lnTo>
                    <a:pt x="263" y="1296"/>
                  </a:lnTo>
                  <a:lnTo>
                    <a:pt x="200" y="1280"/>
                  </a:lnTo>
                  <a:lnTo>
                    <a:pt x="138" y="1258"/>
                  </a:lnTo>
                  <a:lnTo>
                    <a:pt x="79" y="1232"/>
                  </a:lnTo>
                  <a:lnTo>
                    <a:pt x="79" y="896"/>
                  </a:lnTo>
                  <a:lnTo>
                    <a:pt x="57" y="878"/>
                  </a:lnTo>
                  <a:lnTo>
                    <a:pt x="37" y="857"/>
                  </a:lnTo>
                  <a:lnTo>
                    <a:pt x="22" y="834"/>
                  </a:lnTo>
                  <a:lnTo>
                    <a:pt x="10" y="807"/>
                  </a:lnTo>
                  <a:lnTo>
                    <a:pt x="3" y="778"/>
                  </a:lnTo>
                  <a:lnTo>
                    <a:pt x="0" y="749"/>
                  </a:lnTo>
                  <a:lnTo>
                    <a:pt x="0" y="355"/>
                  </a:lnTo>
                  <a:lnTo>
                    <a:pt x="3" y="306"/>
                  </a:lnTo>
                  <a:lnTo>
                    <a:pt x="13" y="261"/>
                  </a:lnTo>
                  <a:lnTo>
                    <a:pt x="28" y="217"/>
                  </a:lnTo>
                  <a:lnTo>
                    <a:pt x="48" y="176"/>
                  </a:lnTo>
                  <a:lnTo>
                    <a:pt x="74" y="138"/>
                  </a:lnTo>
                  <a:lnTo>
                    <a:pt x="104" y="104"/>
                  </a:lnTo>
                  <a:lnTo>
                    <a:pt x="138" y="74"/>
                  </a:lnTo>
                  <a:lnTo>
                    <a:pt x="175" y="49"/>
                  </a:lnTo>
                  <a:lnTo>
                    <a:pt x="216" y="28"/>
                  </a:lnTo>
                  <a:lnTo>
                    <a:pt x="261" y="13"/>
                  </a:lnTo>
                  <a:lnTo>
                    <a:pt x="307" y="3"/>
                  </a:lnTo>
                  <a:lnTo>
                    <a:pt x="355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p>
              <a:endParaRPr lang="en-US" dirty="0"/>
            </a:p>
          </p:txBody>
        </p:sp>
        <p:sp>
          <p:nvSpPr>
            <p:cNvPr id="19" name="Freeform 66"/>
            <p:cNvSpPr/>
            <p:nvPr/>
          </p:nvSpPr>
          <p:spPr bwMode="auto">
            <a:xfrm>
              <a:off x="7486872" y="3834938"/>
              <a:ext cx="100966" cy="209791"/>
            </a:xfrm>
            <a:custGeom>
              <a:avLst/>
              <a:gdLst>
                <a:gd name="T0" fmla="*/ 0 w 837"/>
                <a:gd name="T1" fmla="*/ 0 h 1735"/>
                <a:gd name="T2" fmla="*/ 69 w 837"/>
                <a:gd name="T3" fmla="*/ 0 h 1735"/>
                <a:gd name="T4" fmla="*/ 113 w 837"/>
                <a:gd name="T5" fmla="*/ 3 h 1735"/>
                <a:gd name="T6" fmla="*/ 155 w 837"/>
                <a:gd name="T7" fmla="*/ 12 h 1735"/>
                <a:gd name="T8" fmla="*/ 195 w 837"/>
                <a:gd name="T9" fmla="*/ 28 h 1735"/>
                <a:gd name="T10" fmla="*/ 232 w 837"/>
                <a:gd name="T11" fmla="*/ 48 h 1735"/>
                <a:gd name="T12" fmla="*/ 265 w 837"/>
                <a:gd name="T13" fmla="*/ 73 h 1735"/>
                <a:gd name="T14" fmla="*/ 294 w 837"/>
                <a:gd name="T15" fmla="*/ 102 h 1735"/>
                <a:gd name="T16" fmla="*/ 319 w 837"/>
                <a:gd name="T17" fmla="*/ 135 h 1735"/>
                <a:gd name="T18" fmla="*/ 339 w 837"/>
                <a:gd name="T19" fmla="*/ 172 h 1735"/>
                <a:gd name="T20" fmla="*/ 354 w 837"/>
                <a:gd name="T21" fmla="*/ 211 h 1735"/>
                <a:gd name="T22" fmla="*/ 363 w 837"/>
                <a:gd name="T23" fmla="*/ 253 h 1735"/>
                <a:gd name="T24" fmla="*/ 367 w 837"/>
                <a:gd name="T25" fmla="*/ 298 h 1735"/>
                <a:gd name="T26" fmla="*/ 367 w 837"/>
                <a:gd name="T27" fmla="*/ 627 h 1735"/>
                <a:gd name="T28" fmla="*/ 363 w 837"/>
                <a:gd name="T29" fmla="*/ 657 h 1735"/>
                <a:gd name="T30" fmla="*/ 354 w 837"/>
                <a:gd name="T31" fmla="*/ 686 h 1735"/>
                <a:gd name="T32" fmla="*/ 341 w 837"/>
                <a:gd name="T33" fmla="*/ 711 h 1735"/>
                <a:gd name="T34" fmla="*/ 322 w 837"/>
                <a:gd name="T35" fmla="*/ 733 h 1735"/>
                <a:gd name="T36" fmla="*/ 300 w 837"/>
                <a:gd name="T37" fmla="*/ 751 h 1735"/>
                <a:gd name="T38" fmla="*/ 300 w 837"/>
                <a:gd name="T39" fmla="*/ 1069 h 1735"/>
                <a:gd name="T40" fmla="*/ 300 w 837"/>
                <a:gd name="T41" fmla="*/ 1074 h 1735"/>
                <a:gd name="T42" fmla="*/ 302 w 837"/>
                <a:gd name="T43" fmla="*/ 1077 h 1735"/>
                <a:gd name="T44" fmla="*/ 305 w 837"/>
                <a:gd name="T45" fmla="*/ 1080 h 1735"/>
                <a:gd name="T46" fmla="*/ 308 w 837"/>
                <a:gd name="T47" fmla="*/ 1082 h 1735"/>
                <a:gd name="T48" fmla="*/ 320 w 837"/>
                <a:gd name="T49" fmla="*/ 1089 h 1735"/>
                <a:gd name="T50" fmla="*/ 338 w 837"/>
                <a:gd name="T51" fmla="*/ 1098 h 1735"/>
                <a:gd name="T52" fmla="*/ 359 w 837"/>
                <a:gd name="T53" fmla="*/ 1109 h 1735"/>
                <a:gd name="T54" fmla="*/ 385 w 837"/>
                <a:gd name="T55" fmla="*/ 1123 h 1735"/>
                <a:gd name="T56" fmla="*/ 414 w 837"/>
                <a:gd name="T57" fmla="*/ 1139 h 1735"/>
                <a:gd name="T58" fmla="*/ 447 w 837"/>
                <a:gd name="T59" fmla="*/ 1158 h 1735"/>
                <a:gd name="T60" fmla="*/ 483 w 837"/>
                <a:gd name="T61" fmla="*/ 1179 h 1735"/>
                <a:gd name="T62" fmla="*/ 521 w 837"/>
                <a:gd name="T63" fmla="*/ 1202 h 1735"/>
                <a:gd name="T64" fmla="*/ 561 w 837"/>
                <a:gd name="T65" fmla="*/ 1227 h 1735"/>
                <a:gd name="T66" fmla="*/ 603 w 837"/>
                <a:gd name="T67" fmla="*/ 1255 h 1735"/>
                <a:gd name="T68" fmla="*/ 646 w 837"/>
                <a:gd name="T69" fmla="*/ 1285 h 1735"/>
                <a:gd name="T70" fmla="*/ 689 w 837"/>
                <a:gd name="T71" fmla="*/ 1316 h 1735"/>
                <a:gd name="T72" fmla="*/ 734 w 837"/>
                <a:gd name="T73" fmla="*/ 1349 h 1735"/>
                <a:gd name="T74" fmla="*/ 778 w 837"/>
                <a:gd name="T75" fmla="*/ 1384 h 1735"/>
                <a:gd name="T76" fmla="*/ 798 w 837"/>
                <a:gd name="T77" fmla="*/ 1404 h 1735"/>
                <a:gd name="T78" fmla="*/ 814 w 837"/>
                <a:gd name="T79" fmla="*/ 1427 h 1735"/>
                <a:gd name="T80" fmla="*/ 827 w 837"/>
                <a:gd name="T81" fmla="*/ 1453 h 1735"/>
                <a:gd name="T82" fmla="*/ 833 w 837"/>
                <a:gd name="T83" fmla="*/ 1480 h 1735"/>
                <a:gd name="T84" fmla="*/ 837 w 837"/>
                <a:gd name="T85" fmla="*/ 1509 h 1735"/>
                <a:gd name="T86" fmla="*/ 837 w 837"/>
                <a:gd name="T87" fmla="*/ 1735 h 1735"/>
                <a:gd name="T88" fmla="*/ 543 w 837"/>
                <a:gd name="T89" fmla="*/ 1735 h 1735"/>
                <a:gd name="T90" fmla="*/ 11 w 837"/>
                <a:gd name="T91" fmla="*/ 1204 h 1735"/>
                <a:gd name="T92" fmla="*/ 51 w 837"/>
                <a:gd name="T93" fmla="*/ 1130 h 1735"/>
                <a:gd name="T94" fmla="*/ 86 w 837"/>
                <a:gd name="T95" fmla="*/ 1055 h 1735"/>
                <a:gd name="T96" fmla="*/ 115 w 837"/>
                <a:gd name="T97" fmla="*/ 977 h 1735"/>
                <a:gd name="T98" fmla="*/ 139 w 837"/>
                <a:gd name="T99" fmla="*/ 898 h 1735"/>
                <a:gd name="T100" fmla="*/ 156 w 837"/>
                <a:gd name="T101" fmla="*/ 816 h 1735"/>
                <a:gd name="T102" fmla="*/ 167 w 837"/>
                <a:gd name="T103" fmla="*/ 734 h 1735"/>
                <a:gd name="T104" fmla="*/ 173 w 837"/>
                <a:gd name="T105" fmla="*/ 650 h 1735"/>
                <a:gd name="T106" fmla="*/ 173 w 837"/>
                <a:gd name="T107" fmla="*/ 566 h 1735"/>
                <a:gd name="T108" fmla="*/ 166 w 837"/>
                <a:gd name="T109" fmla="*/ 480 h 1735"/>
                <a:gd name="T110" fmla="*/ 154 w 837"/>
                <a:gd name="T111" fmla="*/ 395 h 1735"/>
                <a:gd name="T112" fmla="*/ 135 w 837"/>
                <a:gd name="T113" fmla="*/ 312 h 1735"/>
                <a:gd name="T114" fmla="*/ 110 w 837"/>
                <a:gd name="T115" fmla="*/ 230 h 1735"/>
                <a:gd name="T116" fmla="*/ 79 w 837"/>
                <a:gd name="T117" fmla="*/ 152 h 1735"/>
                <a:gd name="T118" fmla="*/ 42 w 837"/>
                <a:gd name="T119" fmla="*/ 74 h 1735"/>
                <a:gd name="T120" fmla="*/ 0 w 837"/>
                <a:gd name="T121" fmla="*/ 0 h 17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37" h="1735">
                  <a:moveTo>
                    <a:pt x="0" y="0"/>
                  </a:moveTo>
                  <a:lnTo>
                    <a:pt x="69" y="0"/>
                  </a:lnTo>
                  <a:lnTo>
                    <a:pt x="113" y="3"/>
                  </a:lnTo>
                  <a:lnTo>
                    <a:pt x="155" y="12"/>
                  </a:lnTo>
                  <a:lnTo>
                    <a:pt x="195" y="28"/>
                  </a:lnTo>
                  <a:lnTo>
                    <a:pt x="232" y="48"/>
                  </a:lnTo>
                  <a:lnTo>
                    <a:pt x="265" y="73"/>
                  </a:lnTo>
                  <a:lnTo>
                    <a:pt x="294" y="102"/>
                  </a:lnTo>
                  <a:lnTo>
                    <a:pt x="319" y="135"/>
                  </a:lnTo>
                  <a:lnTo>
                    <a:pt x="339" y="172"/>
                  </a:lnTo>
                  <a:lnTo>
                    <a:pt x="354" y="211"/>
                  </a:lnTo>
                  <a:lnTo>
                    <a:pt x="363" y="253"/>
                  </a:lnTo>
                  <a:lnTo>
                    <a:pt x="367" y="298"/>
                  </a:lnTo>
                  <a:lnTo>
                    <a:pt x="367" y="627"/>
                  </a:lnTo>
                  <a:lnTo>
                    <a:pt x="363" y="657"/>
                  </a:lnTo>
                  <a:lnTo>
                    <a:pt x="354" y="686"/>
                  </a:lnTo>
                  <a:lnTo>
                    <a:pt x="341" y="711"/>
                  </a:lnTo>
                  <a:lnTo>
                    <a:pt x="322" y="733"/>
                  </a:lnTo>
                  <a:lnTo>
                    <a:pt x="300" y="751"/>
                  </a:lnTo>
                  <a:lnTo>
                    <a:pt x="300" y="1069"/>
                  </a:lnTo>
                  <a:lnTo>
                    <a:pt x="300" y="1074"/>
                  </a:lnTo>
                  <a:lnTo>
                    <a:pt x="302" y="1077"/>
                  </a:lnTo>
                  <a:lnTo>
                    <a:pt x="305" y="1080"/>
                  </a:lnTo>
                  <a:lnTo>
                    <a:pt x="308" y="1082"/>
                  </a:lnTo>
                  <a:lnTo>
                    <a:pt x="320" y="1089"/>
                  </a:lnTo>
                  <a:lnTo>
                    <a:pt x="338" y="1098"/>
                  </a:lnTo>
                  <a:lnTo>
                    <a:pt x="359" y="1109"/>
                  </a:lnTo>
                  <a:lnTo>
                    <a:pt x="385" y="1123"/>
                  </a:lnTo>
                  <a:lnTo>
                    <a:pt x="414" y="1139"/>
                  </a:lnTo>
                  <a:lnTo>
                    <a:pt x="447" y="1158"/>
                  </a:lnTo>
                  <a:lnTo>
                    <a:pt x="483" y="1179"/>
                  </a:lnTo>
                  <a:lnTo>
                    <a:pt x="521" y="1202"/>
                  </a:lnTo>
                  <a:lnTo>
                    <a:pt x="561" y="1227"/>
                  </a:lnTo>
                  <a:lnTo>
                    <a:pt x="603" y="1255"/>
                  </a:lnTo>
                  <a:lnTo>
                    <a:pt x="646" y="1285"/>
                  </a:lnTo>
                  <a:lnTo>
                    <a:pt x="689" y="1316"/>
                  </a:lnTo>
                  <a:lnTo>
                    <a:pt x="734" y="1349"/>
                  </a:lnTo>
                  <a:lnTo>
                    <a:pt x="778" y="1384"/>
                  </a:lnTo>
                  <a:lnTo>
                    <a:pt x="798" y="1404"/>
                  </a:lnTo>
                  <a:lnTo>
                    <a:pt x="814" y="1427"/>
                  </a:lnTo>
                  <a:lnTo>
                    <a:pt x="827" y="1453"/>
                  </a:lnTo>
                  <a:lnTo>
                    <a:pt x="833" y="1480"/>
                  </a:lnTo>
                  <a:lnTo>
                    <a:pt x="837" y="1509"/>
                  </a:lnTo>
                  <a:lnTo>
                    <a:pt x="837" y="1735"/>
                  </a:lnTo>
                  <a:lnTo>
                    <a:pt x="543" y="1735"/>
                  </a:lnTo>
                  <a:lnTo>
                    <a:pt x="11" y="1204"/>
                  </a:lnTo>
                  <a:lnTo>
                    <a:pt x="51" y="1130"/>
                  </a:lnTo>
                  <a:lnTo>
                    <a:pt x="86" y="1055"/>
                  </a:lnTo>
                  <a:lnTo>
                    <a:pt x="115" y="977"/>
                  </a:lnTo>
                  <a:lnTo>
                    <a:pt x="139" y="898"/>
                  </a:lnTo>
                  <a:lnTo>
                    <a:pt x="156" y="816"/>
                  </a:lnTo>
                  <a:lnTo>
                    <a:pt x="167" y="734"/>
                  </a:lnTo>
                  <a:lnTo>
                    <a:pt x="173" y="650"/>
                  </a:lnTo>
                  <a:lnTo>
                    <a:pt x="173" y="566"/>
                  </a:lnTo>
                  <a:lnTo>
                    <a:pt x="166" y="480"/>
                  </a:lnTo>
                  <a:lnTo>
                    <a:pt x="154" y="395"/>
                  </a:lnTo>
                  <a:lnTo>
                    <a:pt x="135" y="312"/>
                  </a:lnTo>
                  <a:lnTo>
                    <a:pt x="110" y="230"/>
                  </a:lnTo>
                  <a:lnTo>
                    <a:pt x="79" y="152"/>
                  </a:lnTo>
                  <a:lnTo>
                    <a:pt x="42" y="7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p>
              <a:endParaRPr lang="en-US" dirty="0"/>
            </a:p>
          </p:txBody>
        </p:sp>
        <p:sp>
          <p:nvSpPr>
            <p:cNvPr id="20" name="Freeform 67"/>
            <p:cNvSpPr>
              <a:spLocks noEditPoints="1"/>
            </p:cNvSpPr>
            <p:nvPr/>
          </p:nvSpPr>
          <p:spPr bwMode="auto">
            <a:xfrm>
              <a:off x="7244434" y="3786571"/>
              <a:ext cx="317407" cy="316802"/>
            </a:xfrm>
            <a:custGeom>
              <a:avLst/>
              <a:gdLst>
                <a:gd name="T0" fmla="*/ 821 w 2625"/>
                <a:gd name="T1" fmla="*/ 192 h 2623"/>
                <a:gd name="T2" fmla="*/ 578 w 2625"/>
                <a:gd name="T3" fmla="*/ 290 h 2623"/>
                <a:gd name="T4" fmla="*/ 370 w 2625"/>
                <a:gd name="T5" fmla="*/ 467 h 2623"/>
                <a:gd name="T6" fmla="*/ 230 w 2625"/>
                <a:gd name="T7" fmla="*/ 696 h 2623"/>
                <a:gd name="T8" fmla="*/ 172 w 2625"/>
                <a:gd name="T9" fmla="*/ 948 h 2623"/>
                <a:gd name="T10" fmla="*/ 192 w 2625"/>
                <a:gd name="T11" fmla="*/ 1207 h 2623"/>
                <a:gd name="T12" fmla="*/ 290 w 2625"/>
                <a:gd name="T13" fmla="*/ 1450 h 2623"/>
                <a:gd name="T14" fmla="*/ 467 w 2625"/>
                <a:gd name="T15" fmla="*/ 1658 h 2623"/>
                <a:gd name="T16" fmla="*/ 696 w 2625"/>
                <a:gd name="T17" fmla="*/ 1796 h 2623"/>
                <a:gd name="T18" fmla="*/ 949 w 2625"/>
                <a:gd name="T19" fmla="*/ 1855 h 2623"/>
                <a:gd name="T20" fmla="*/ 1207 w 2625"/>
                <a:gd name="T21" fmla="*/ 1836 h 2623"/>
                <a:gd name="T22" fmla="*/ 1450 w 2625"/>
                <a:gd name="T23" fmla="*/ 1737 h 2623"/>
                <a:gd name="T24" fmla="*/ 1658 w 2625"/>
                <a:gd name="T25" fmla="*/ 1560 h 2623"/>
                <a:gd name="T26" fmla="*/ 1797 w 2625"/>
                <a:gd name="T27" fmla="*/ 1331 h 2623"/>
                <a:gd name="T28" fmla="*/ 1856 w 2625"/>
                <a:gd name="T29" fmla="*/ 1078 h 2623"/>
                <a:gd name="T30" fmla="*/ 1836 w 2625"/>
                <a:gd name="T31" fmla="*/ 820 h 2623"/>
                <a:gd name="T32" fmla="*/ 1738 w 2625"/>
                <a:gd name="T33" fmla="*/ 577 h 2623"/>
                <a:gd name="T34" fmla="*/ 1561 w 2625"/>
                <a:gd name="T35" fmla="*/ 369 h 2623"/>
                <a:gd name="T36" fmla="*/ 1332 w 2625"/>
                <a:gd name="T37" fmla="*/ 231 h 2623"/>
                <a:gd name="T38" fmla="*/ 1079 w 2625"/>
                <a:gd name="T39" fmla="*/ 172 h 2623"/>
                <a:gd name="T40" fmla="*/ 1155 w 2625"/>
                <a:gd name="T41" fmla="*/ 9 h 2623"/>
                <a:gd name="T42" fmla="*/ 1428 w 2625"/>
                <a:gd name="T43" fmla="*/ 88 h 2623"/>
                <a:gd name="T44" fmla="*/ 1675 w 2625"/>
                <a:gd name="T45" fmla="*/ 245 h 2623"/>
                <a:gd name="T46" fmla="*/ 1876 w 2625"/>
                <a:gd name="T47" fmla="*/ 480 h 2623"/>
                <a:gd name="T48" fmla="*/ 1995 w 2625"/>
                <a:gd name="T49" fmla="*/ 755 h 2623"/>
                <a:gd name="T50" fmla="*/ 2028 w 2625"/>
                <a:gd name="T51" fmla="*/ 1048 h 2623"/>
                <a:gd name="T52" fmla="*/ 1975 w 2625"/>
                <a:gd name="T53" fmla="*/ 1339 h 2623"/>
                <a:gd name="T54" fmla="*/ 1836 w 2625"/>
                <a:gd name="T55" fmla="*/ 1606 h 2623"/>
                <a:gd name="T56" fmla="*/ 1928 w 2625"/>
                <a:gd name="T57" fmla="*/ 1728 h 2623"/>
                <a:gd name="T58" fmla="*/ 2602 w 2625"/>
                <a:gd name="T59" fmla="*/ 2405 h 2623"/>
                <a:gd name="T60" fmla="*/ 2622 w 2625"/>
                <a:gd name="T61" fmla="*/ 2509 h 2623"/>
                <a:gd name="T62" fmla="*/ 2562 w 2625"/>
                <a:gd name="T63" fmla="*/ 2600 h 2623"/>
                <a:gd name="T64" fmla="*/ 2458 w 2625"/>
                <a:gd name="T65" fmla="*/ 2621 h 2623"/>
                <a:gd name="T66" fmla="*/ 1798 w 2625"/>
                <a:gd name="T67" fmla="*/ 1994 h 2623"/>
                <a:gd name="T68" fmla="*/ 1669 w 2625"/>
                <a:gd name="T69" fmla="*/ 1787 h 2623"/>
                <a:gd name="T70" fmla="*/ 1424 w 2625"/>
                <a:gd name="T71" fmla="*/ 1940 h 2623"/>
                <a:gd name="T72" fmla="*/ 1154 w 2625"/>
                <a:gd name="T73" fmla="*/ 2017 h 2623"/>
                <a:gd name="T74" fmla="*/ 873 w 2625"/>
                <a:gd name="T75" fmla="*/ 2016 h 2623"/>
                <a:gd name="T76" fmla="*/ 600 w 2625"/>
                <a:gd name="T77" fmla="*/ 1938 h 2623"/>
                <a:gd name="T78" fmla="*/ 352 w 2625"/>
                <a:gd name="T79" fmla="*/ 1781 h 2623"/>
                <a:gd name="T80" fmla="*/ 152 w 2625"/>
                <a:gd name="T81" fmla="*/ 1546 h 2623"/>
                <a:gd name="T82" fmla="*/ 34 w 2625"/>
                <a:gd name="T83" fmla="*/ 1270 h 2623"/>
                <a:gd name="T84" fmla="*/ 0 w 2625"/>
                <a:gd name="T85" fmla="*/ 976 h 2623"/>
                <a:gd name="T86" fmla="*/ 55 w 2625"/>
                <a:gd name="T87" fmla="*/ 684 h 2623"/>
                <a:gd name="T88" fmla="*/ 195 w 2625"/>
                <a:gd name="T89" fmla="*/ 415 h 2623"/>
                <a:gd name="T90" fmla="*/ 411 w 2625"/>
                <a:gd name="T91" fmla="*/ 198 h 2623"/>
                <a:gd name="T92" fmla="*/ 666 w 2625"/>
                <a:gd name="T93" fmla="*/ 61 h 2623"/>
                <a:gd name="T94" fmla="*/ 944 w 2625"/>
                <a:gd name="T95" fmla="*/ 2 h 2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625" h="2623">
                  <a:moveTo>
                    <a:pt x="1013" y="169"/>
                  </a:moveTo>
                  <a:lnTo>
                    <a:pt x="949" y="172"/>
                  </a:lnTo>
                  <a:lnTo>
                    <a:pt x="885" y="179"/>
                  </a:lnTo>
                  <a:lnTo>
                    <a:pt x="821" y="192"/>
                  </a:lnTo>
                  <a:lnTo>
                    <a:pt x="758" y="209"/>
                  </a:lnTo>
                  <a:lnTo>
                    <a:pt x="696" y="231"/>
                  </a:lnTo>
                  <a:lnTo>
                    <a:pt x="636" y="258"/>
                  </a:lnTo>
                  <a:lnTo>
                    <a:pt x="578" y="290"/>
                  </a:lnTo>
                  <a:lnTo>
                    <a:pt x="521" y="327"/>
                  </a:lnTo>
                  <a:lnTo>
                    <a:pt x="467" y="369"/>
                  </a:lnTo>
                  <a:lnTo>
                    <a:pt x="416" y="417"/>
                  </a:lnTo>
                  <a:lnTo>
                    <a:pt x="370" y="467"/>
                  </a:lnTo>
                  <a:lnTo>
                    <a:pt x="328" y="522"/>
                  </a:lnTo>
                  <a:lnTo>
                    <a:pt x="290" y="577"/>
                  </a:lnTo>
                  <a:lnTo>
                    <a:pt x="258" y="635"/>
                  </a:lnTo>
                  <a:lnTo>
                    <a:pt x="230" y="696"/>
                  </a:lnTo>
                  <a:lnTo>
                    <a:pt x="208" y="757"/>
                  </a:lnTo>
                  <a:lnTo>
                    <a:pt x="192" y="820"/>
                  </a:lnTo>
                  <a:lnTo>
                    <a:pt x="178" y="884"/>
                  </a:lnTo>
                  <a:lnTo>
                    <a:pt x="172" y="948"/>
                  </a:lnTo>
                  <a:lnTo>
                    <a:pt x="168" y="1014"/>
                  </a:lnTo>
                  <a:lnTo>
                    <a:pt x="172" y="1079"/>
                  </a:lnTo>
                  <a:lnTo>
                    <a:pt x="178" y="1143"/>
                  </a:lnTo>
                  <a:lnTo>
                    <a:pt x="192" y="1207"/>
                  </a:lnTo>
                  <a:lnTo>
                    <a:pt x="208" y="1270"/>
                  </a:lnTo>
                  <a:lnTo>
                    <a:pt x="230" y="1332"/>
                  </a:lnTo>
                  <a:lnTo>
                    <a:pt x="258" y="1392"/>
                  </a:lnTo>
                  <a:lnTo>
                    <a:pt x="290" y="1450"/>
                  </a:lnTo>
                  <a:lnTo>
                    <a:pt x="328" y="1507"/>
                  </a:lnTo>
                  <a:lnTo>
                    <a:pt x="370" y="1560"/>
                  </a:lnTo>
                  <a:lnTo>
                    <a:pt x="416" y="1610"/>
                  </a:lnTo>
                  <a:lnTo>
                    <a:pt x="467" y="1658"/>
                  </a:lnTo>
                  <a:lnTo>
                    <a:pt x="521" y="1700"/>
                  </a:lnTo>
                  <a:lnTo>
                    <a:pt x="578" y="1737"/>
                  </a:lnTo>
                  <a:lnTo>
                    <a:pt x="636" y="1769"/>
                  </a:lnTo>
                  <a:lnTo>
                    <a:pt x="696" y="1796"/>
                  </a:lnTo>
                  <a:lnTo>
                    <a:pt x="758" y="1818"/>
                  </a:lnTo>
                  <a:lnTo>
                    <a:pt x="821" y="1836"/>
                  </a:lnTo>
                  <a:lnTo>
                    <a:pt x="884" y="1848"/>
                  </a:lnTo>
                  <a:lnTo>
                    <a:pt x="949" y="1855"/>
                  </a:lnTo>
                  <a:lnTo>
                    <a:pt x="1013" y="1858"/>
                  </a:lnTo>
                  <a:lnTo>
                    <a:pt x="1079" y="1855"/>
                  </a:lnTo>
                  <a:lnTo>
                    <a:pt x="1143" y="1848"/>
                  </a:lnTo>
                  <a:lnTo>
                    <a:pt x="1207" y="1836"/>
                  </a:lnTo>
                  <a:lnTo>
                    <a:pt x="1270" y="1818"/>
                  </a:lnTo>
                  <a:lnTo>
                    <a:pt x="1332" y="1796"/>
                  </a:lnTo>
                  <a:lnTo>
                    <a:pt x="1392" y="1769"/>
                  </a:lnTo>
                  <a:lnTo>
                    <a:pt x="1450" y="1737"/>
                  </a:lnTo>
                  <a:lnTo>
                    <a:pt x="1507" y="1700"/>
                  </a:lnTo>
                  <a:lnTo>
                    <a:pt x="1560" y="1658"/>
                  </a:lnTo>
                  <a:lnTo>
                    <a:pt x="1612" y="1610"/>
                  </a:lnTo>
                  <a:lnTo>
                    <a:pt x="1658" y="1560"/>
                  </a:lnTo>
                  <a:lnTo>
                    <a:pt x="1700" y="1507"/>
                  </a:lnTo>
                  <a:lnTo>
                    <a:pt x="1738" y="1450"/>
                  </a:lnTo>
                  <a:lnTo>
                    <a:pt x="1770" y="1392"/>
                  </a:lnTo>
                  <a:lnTo>
                    <a:pt x="1797" y="1331"/>
                  </a:lnTo>
                  <a:lnTo>
                    <a:pt x="1820" y="1270"/>
                  </a:lnTo>
                  <a:lnTo>
                    <a:pt x="1836" y="1207"/>
                  </a:lnTo>
                  <a:lnTo>
                    <a:pt x="1849" y="1143"/>
                  </a:lnTo>
                  <a:lnTo>
                    <a:pt x="1856" y="1078"/>
                  </a:lnTo>
                  <a:lnTo>
                    <a:pt x="1859" y="1014"/>
                  </a:lnTo>
                  <a:lnTo>
                    <a:pt x="1856" y="948"/>
                  </a:lnTo>
                  <a:lnTo>
                    <a:pt x="1849" y="884"/>
                  </a:lnTo>
                  <a:lnTo>
                    <a:pt x="1836" y="820"/>
                  </a:lnTo>
                  <a:lnTo>
                    <a:pt x="1820" y="757"/>
                  </a:lnTo>
                  <a:lnTo>
                    <a:pt x="1797" y="695"/>
                  </a:lnTo>
                  <a:lnTo>
                    <a:pt x="1770" y="635"/>
                  </a:lnTo>
                  <a:lnTo>
                    <a:pt x="1738" y="577"/>
                  </a:lnTo>
                  <a:lnTo>
                    <a:pt x="1700" y="520"/>
                  </a:lnTo>
                  <a:lnTo>
                    <a:pt x="1658" y="467"/>
                  </a:lnTo>
                  <a:lnTo>
                    <a:pt x="1612" y="417"/>
                  </a:lnTo>
                  <a:lnTo>
                    <a:pt x="1561" y="369"/>
                  </a:lnTo>
                  <a:lnTo>
                    <a:pt x="1507" y="327"/>
                  </a:lnTo>
                  <a:lnTo>
                    <a:pt x="1450" y="290"/>
                  </a:lnTo>
                  <a:lnTo>
                    <a:pt x="1392" y="258"/>
                  </a:lnTo>
                  <a:lnTo>
                    <a:pt x="1332" y="231"/>
                  </a:lnTo>
                  <a:lnTo>
                    <a:pt x="1270" y="209"/>
                  </a:lnTo>
                  <a:lnTo>
                    <a:pt x="1207" y="192"/>
                  </a:lnTo>
                  <a:lnTo>
                    <a:pt x="1143" y="179"/>
                  </a:lnTo>
                  <a:lnTo>
                    <a:pt x="1079" y="172"/>
                  </a:lnTo>
                  <a:lnTo>
                    <a:pt x="1013" y="169"/>
                  </a:lnTo>
                  <a:close/>
                  <a:moveTo>
                    <a:pt x="1013" y="0"/>
                  </a:moveTo>
                  <a:lnTo>
                    <a:pt x="1084" y="2"/>
                  </a:lnTo>
                  <a:lnTo>
                    <a:pt x="1155" y="9"/>
                  </a:lnTo>
                  <a:lnTo>
                    <a:pt x="1225" y="22"/>
                  </a:lnTo>
                  <a:lnTo>
                    <a:pt x="1294" y="38"/>
                  </a:lnTo>
                  <a:lnTo>
                    <a:pt x="1362" y="61"/>
                  </a:lnTo>
                  <a:lnTo>
                    <a:pt x="1428" y="88"/>
                  </a:lnTo>
                  <a:lnTo>
                    <a:pt x="1494" y="119"/>
                  </a:lnTo>
                  <a:lnTo>
                    <a:pt x="1557" y="157"/>
                  </a:lnTo>
                  <a:lnTo>
                    <a:pt x="1617" y="198"/>
                  </a:lnTo>
                  <a:lnTo>
                    <a:pt x="1675" y="245"/>
                  </a:lnTo>
                  <a:lnTo>
                    <a:pt x="1731" y="296"/>
                  </a:lnTo>
                  <a:lnTo>
                    <a:pt x="1784" y="355"/>
                  </a:lnTo>
                  <a:lnTo>
                    <a:pt x="1833" y="415"/>
                  </a:lnTo>
                  <a:lnTo>
                    <a:pt x="1876" y="480"/>
                  </a:lnTo>
                  <a:lnTo>
                    <a:pt x="1914" y="545"/>
                  </a:lnTo>
                  <a:lnTo>
                    <a:pt x="1946" y="613"/>
                  </a:lnTo>
                  <a:lnTo>
                    <a:pt x="1974" y="683"/>
                  </a:lnTo>
                  <a:lnTo>
                    <a:pt x="1995" y="755"/>
                  </a:lnTo>
                  <a:lnTo>
                    <a:pt x="2011" y="827"/>
                  </a:lnTo>
                  <a:lnTo>
                    <a:pt x="2022" y="900"/>
                  </a:lnTo>
                  <a:lnTo>
                    <a:pt x="2028" y="974"/>
                  </a:lnTo>
                  <a:lnTo>
                    <a:pt x="2028" y="1048"/>
                  </a:lnTo>
                  <a:lnTo>
                    <a:pt x="2022" y="1122"/>
                  </a:lnTo>
                  <a:lnTo>
                    <a:pt x="2012" y="1195"/>
                  </a:lnTo>
                  <a:lnTo>
                    <a:pt x="1996" y="1267"/>
                  </a:lnTo>
                  <a:lnTo>
                    <a:pt x="1975" y="1339"/>
                  </a:lnTo>
                  <a:lnTo>
                    <a:pt x="1948" y="1408"/>
                  </a:lnTo>
                  <a:lnTo>
                    <a:pt x="1916" y="1477"/>
                  </a:lnTo>
                  <a:lnTo>
                    <a:pt x="1880" y="1543"/>
                  </a:lnTo>
                  <a:lnTo>
                    <a:pt x="1836" y="1606"/>
                  </a:lnTo>
                  <a:lnTo>
                    <a:pt x="1789" y="1668"/>
                  </a:lnTo>
                  <a:lnTo>
                    <a:pt x="1874" y="1753"/>
                  </a:lnTo>
                  <a:lnTo>
                    <a:pt x="1913" y="1713"/>
                  </a:lnTo>
                  <a:lnTo>
                    <a:pt x="1928" y="1728"/>
                  </a:lnTo>
                  <a:lnTo>
                    <a:pt x="1945" y="1745"/>
                  </a:lnTo>
                  <a:lnTo>
                    <a:pt x="1996" y="1796"/>
                  </a:lnTo>
                  <a:lnTo>
                    <a:pt x="2584" y="2383"/>
                  </a:lnTo>
                  <a:lnTo>
                    <a:pt x="2602" y="2405"/>
                  </a:lnTo>
                  <a:lnTo>
                    <a:pt x="2614" y="2430"/>
                  </a:lnTo>
                  <a:lnTo>
                    <a:pt x="2622" y="2456"/>
                  </a:lnTo>
                  <a:lnTo>
                    <a:pt x="2625" y="2483"/>
                  </a:lnTo>
                  <a:lnTo>
                    <a:pt x="2622" y="2509"/>
                  </a:lnTo>
                  <a:lnTo>
                    <a:pt x="2614" y="2536"/>
                  </a:lnTo>
                  <a:lnTo>
                    <a:pt x="2602" y="2560"/>
                  </a:lnTo>
                  <a:lnTo>
                    <a:pt x="2584" y="2582"/>
                  </a:lnTo>
                  <a:lnTo>
                    <a:pt x="2562" y="2600"/>
                  </a:lnTo>
                  <a:lnTo>
                    <a:pt x="2538" y="2613"/>
                  </a:lnTo>
                  <a:lnTo>
                    <a:pt x="2511" y="2621"/>
                  </a:lnTo>
                  <a:lnTo>
                    <a:pt x="2485" y="2623"/>
                  </a:lnTo>
                  <a:lnTo>
                    <a:pt x="2458" y="2621"/>
                  </a:lnTo>
                  <a:lnTo>
                    <a:pt x="2431" y="2613"/>
                  </a:lnTo>
                  <a:lnTo>
                    <a:pt x="2407" y="2600"/>
                  </a:lnTo>
                  <a:lnTo>
                    <a:pt x="2385" y="2582"/>
                  </a:lnTo>
                  <a:lnTo>
                    <a:pt x="1798" y="1994"/>
                  </a:lnTo>
                  <a:lnTo>
                    <a:pt x="1747" y="1943"/>
                  </a:lnTo>
                  <a:lnTo>
                    <a:pt x="1715" y="1911"/>
                  </a:lnTo>
                  <a:lnTo>
                    <a:pt x="1755" y="1873"/>
                  </a:lnTo>
                  <a:lnTo>
                    <a:pt x="1669" y="1787"/>
                  </a:lnTo>
                  <a:lnTo>
                    <a:pt x="1611" y="1833"/>
                  </a:lnTo>
                  <a:lnTo>
                    <a:pt x="1551" y="1874"/>
                  </a:lnTo>
                  <a:lnTo>
                    <a:pt x="1488" y="1909"/>
                  </a:lnTo>
                  <a:lnTo>
                    <a:pt x="1424" y="1940"/>
                  </a:lnTo>
                  <a:lnTo>
                    <a:pt x="1357" y="1966"/>
                  </a:lnTo>
                  <a:lnTo>
                    <a:pt x="1291" y="1989"/>
                  </a:lnTo>
                  <a:lnTo>
                    <a:pt x="1223" y="2005"/>
                  </a:lnTo>
                  <a:lnTo>
                    <a:pt x="1154" y="2017"/>
                  </a:lnTo>
                  <a:lnTo>
                    <a:pt x="1084" y="2024"/>
                  </a:lnTo>
                  <a:lnTo>
                    <a:pt x="1013" y="2026"/>
                  </a:lnTo>
                  <a:lnTo>
                    <a:pt x="944" y="2024"/>
                  </a:lnTo>
                  <a:lnTo>
                    <a:pt x="873" y="2016"/>
                  </a:lnTo>
                  <a:lnTo>
                    <a:pt x="803" y="2004"/>
                  </a:lnTo>
                  <a:lnTo>
                    <a:pt x="734" y="1987"/>
                  </a:lnTo>
                  <a:lnTo>
                    <a:pt x="666" y="1965"/>
                  </a:lnTo>
                  <a:lnTo>
                    <a:pt x="600" y="1938"/>
                  </a:lnTo>
                  <a:lnTo>
                    <a:pt x="535" y="1906"/>
                  </a:lnTo>
                  <a:lnTo>
                    <a:pt x="472" y="1869"/>
                  </a:lnTo>
                  <a:lnTo>
                    <a:pt x="411" y="1827"/>
                  </a:lnTo>
                  <a:lnTo>
                    <a:pt x="352" y="1781"/>
                  </a:lnTo>
                  <a:lnTo>
                    <a:pt x="297" y="1730"/>
                  </a:lnTo>
                  <a:lnTo>
                    <a:pt x="244" y="1671"/>
                  </a:lnTo>
                  <a:lnTo>
                    <a:pt x="195" y="1610"/>
                  </a:lnTo>
                  <a:lnTo>
                    <a:pt x="152" y="1546"/>
                  </a:lnTo>
                  <a:lnTo>
                    <a:pt x="114" y="1480"/>
                  </a:lnTo>
                  <a:lnTo>
                    <a:pt x="82" y="1411"/>
                  </a:lnTo>
                  <a:lnTo>
                    <a:pt x="55" y="1342"/>
                  </a:lnTo>
                  <a:lnTo>
                    <a:pt x="34" y="1270"/>
                  </a:lnTo>
                  <a:lnTo>
                    <a:pt x="17" y="1197"/>
                  </a:lnTo>
                  <a:lnTo>
                    <a:pt x="6" y="1124"/>
                  </a:lnTo>
                  <a:lnTo>
                    <a:pt x="0" y="1050"/>
                  </a:lnTo>
                  <a:lnTo>
                    <a:pt x="0" y="976"/>
                  </a:lnTo>
                  <a:lnTo>
                    <a:pt x="6" y="902"/>
                  </a:lnTo>
                  <a:lnTo>
                    <a:pt x="17" y="829"/>
                  </a:lnTo>
                  <a:lnTo>
                    <a:pt x="34" y="756"/>
                  </a:lnTo>
                  <a:lnTo>
                    <a:pt x="55" y="684"/>
                  </a:lnTo>
                  <a:lnTo>
                    <a:pt x="82" y="614"/>
                  </a:lnTo>
                  <a:lnTo>
                    <a:pt x="114" y="546"/>
                  </a:lnTo>
                  <a:lnTo>
                    <a:pt x="152" y="480"/>
                  </a:lnTo>
                  <a:lnTo>
                    <a:pt x="195" y="415"/>
                  </a:lnTo>
                  <a:lnTo>
                    <a:pt x="244" y="355"/>
                  </a:lnTo>
                  <a:lnTo>
                    <a:pt x="297" y="296"/>
                  </a:lnTo>
                  <a:lnTo>
                    <a:pt x="352" y="245"/>
                  </a:lnTo>
                  <a:lnTo>
                    <a:pt x="411" y="198"/>
                  </a:lnTo>
                  <a:lnTo>
                    <a:pt x="472" y="157"/>
                  </a:lnTo>
                  <a:lnTo>
                    <a:pt x="535" y="119"/>
                  </a:lnTo>
                  <a:lnTo>
                    <a:pt x="600" y="88"/>
                  </a:lnTo>
                  <a:lnTo>
                    <a:pt x="666" y="61"/>
                  </a:lnTo>
                  <a:lnTo>
                    <a:pt x="734" y="38"/>
                  </a:lnTo>
                  <a:lnTo>
                    <a:pt x="803" y="22"/>
                  </a:lnTo>
                  <a:lnTo>
                    <a:pt x="873" y="9"/>
                  </a:lnTo>
                  <a:lnTo>
                    <a:pt x="944" y="2"/>
                  </a:lnTo>
                  <a:lnTo>
                    <a:pt x="1013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p>
              <a:endParaRPr lang="en-US" dirty="0"/>
            </a:p>
          </p:txBody>
        </p:sp>
        <p:sp>
          <p:nvSpPr>
            <p:cNvPr id="21" name="Freeform 68"/>
            <p:cNvSpPr/>
            <p:nvPr/>
          </p:nvSpPr>
          <p:spPr bwMode="auto">
            <a:xfrm>
              <a:off x="7147096" y="3834938"/>
              <a:ext cx="119708" cy="209791"/>
            </a:xfrm>
            <a:custGeom>
              <a:avLst/>
              <a:gdLst>
                <a:gd name="T0" fmla="*/ 832 w 991"/>
                <a:gd name="T1" fmla="*/ 0 h 1735"/>
                <a:gd name="T2" fmla="*/ 755 w 991"/>
                <a:gd name="T3" fmla="*/ 145 h 1735"/>
                <a:gd name="T4" fmla="*/ 701 w 991"/>
                <a:gd name="T5" fmla="*/ 298 h 1735"/>
                <a:gd name="T6" fmla="*/ 669 w 991"/>
                <a:gd name="T7" fmla="*/ 455 h 1735"/>
                <a:gd name="T8" fmla="*/ 658 w 991"/>
                <a:gd name="T9" fmla="*/ 614 h 1735"/>
                <a:gd name="T10" fmla="*/ 670 w 991"/>
                <a:gd name="T11" fmla="*/ 773 h 1735"/>
                <a:gd name="T12" fmla="*/ 703 w 991"/>
                <a:gd name="T13" fmla="*/ 930 h 1735"/>
                <a:gd name="T14" fmla="*/ 758 w 991"/>
                <a:gd name="T15" fmla="*/ 1082 h 1735"/>
                <a:gd name="T16" fmla="*/ 835 w 991"/>
                <a:gd name="T17" fmla="*/ 1227 h 1735"/>
                <a:gd name="T18" fmla="*/ 934 w 991"/>
                <a:gd name="T19" fmla="*/ 1361 h 1735"/>
                <a:gd name="T20" fmla="*/ 917 w 991"/>
                <a:gd name="T21" fmla="*/ 1479 h 1735"/>
                <a:gd name="T22" fmla="*/ 814 w 991"/>
                <a:gd name="T23" fmla="*/ 1564 h 1735"/>
                <a:gd name="T24" fmla="*/ 767 w 991"/>
                <a:gd name="T25" fmla="*/ 1626 h 1735"/>
                <a:gd name="T26" fmla="*/ 736 w 991"/>
                <a:gd name="T27" fmla="*/ 1696 h 1735"/>
                <a:gd name="T28" fmla="*/ 0 w 991"/>
                <a:gd name="T29" fmla="*/ 1735 h 1735"/>
                <a:gd name="T30" fmla="*/ 2 w 991"/>
                <a:gd name="T31" fmla="*/ 1479 h 1735"/>
                <a:gd name="T32" fmla="*/ 22 w 991"/>
                <a:gd name="T33" fmla="*/ 1427 h 1735"/>
                <a:gd name="T34" fmla="*/ 59 w 991"/>
                <a:gd name="T35" fmla="*/ 1384 h 1735"/>
                <a:gd name="T36" fmla="*/ 146 w 991"/>
                <a:gd name="T37" fmla="*/ 1316 h 1735"/>
                <a:gd name="T38" fmla="*/ 233 w 991"/>
                <a:gd name="T39" fmla="*/ 1255 h 1735"/>
                <a:gd name="T40" fmla="*/ 315 w 991"/>
                <a:gd name="T41" fmla="*/ 1202 h 1735"/>
                <a:gd name="T42" fmla="*/ 388 w 991"/>
                <a:gd name="T43" fmla="*/ 1158 h 1735"/>
                <a:gd name="T44" fmla="*/ 451 w 991"/>
                <a:gd name="T45" fmla="*/ 1122 h 1735"/>
                <a:gd name="T46" fmla="*/ 499 w 991"/>
                <a:gd name="T47" fmla="*/ 1097 h 1735"/>
                <a:gd name="T48" fmla="*/ 528 w 991"/>
                <a:gd name="T49" fmla="*/ 1082 h 1735"/>
                <a:gd name="T50" fmla="*/ 534 w 991"/>
                <a:gd name="T51" fmla="*/ 1077 h 1735"/>
                <a:gd name="T52" fmla="*/ 536 w 991"/>
                <a:gd name="T53" fmla="*/ 1069 h 1735"/>
                <a:gd name="T54" fmla="*/ 514 w 991"/>
                <a:gd name="T55" fmla="*/ 733 h 1735"/>
                <a:gd name="T56" fmla="*/ 481 w 991"/>
                <a:gd name="T57" fmla="*/ 686 h 1735"/>
                <a:gd name="T58" fmla="*/ 470 w 991"/>
                <a:gd name="T59" fmla="*/ 627 h 1735"/>
                <a:gd name="T60" fmla="*/ 473 w 991"/>
                <a:gd name="T61" fmla="*/ 253 h 1735"/>
                <a:gd name="T62" fmla="*/ 498 w 991"/>
                <a:gd name="T63" fmla="*/ 172 h 1735"/>
                <a:gd name="T64" fmla="*/ 543 w 991"/>
                <a:gd name="T65" fmla="*/ 102 h 1735"/>
                <a:gd name="T66" fmla="*/ 605 w 991"/>
                <a:gd name="T67" fmla="*/ 48 h 1735"/>
                <a:gd name="T68" fmla="*/ 681 w 991"/>
                <a:gd name="T69" fmla="*/ 12 h 1735"/>
                <a:gd name="T70" fmla="*/ 767 w 991"/>
                <a:gd name="T71" fmla="*/ 0 h 17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91" h="1735">
                  <a:moveTo>
                    <a:pt x="767" y="0"/>
                  </a:moveTo>
                  <a:lnTo>
                    <a:pt x="832" y="0"/>
                  </a:lnTo>
                  <a:lnTo>
                    <a:pt x="791" y="72"/>
                  </a:lnTo>
                  <a:lnTo>
                    <a:pt x="755" y="145"/>
                  </a:lnTo>
                  <a:lnTo>
                    <a:pt x="726" y="220"/>
                  </a:lnTo>
                  <a:lnTo>
                    <a:pt x="701" y="298"/>
                  </a:lnTo>
                  <a:lnTo>
                    <a:pt x="682" y="376"/>
                  </a:lnTo>
                  <a:lnTo>
                    <a:pt x="669" y="455"/>
                  </a:lnTo>
                  <a:lnTo>
                    <a:pt x="661" y="534"/>
                  </a:lnTo>
                  <a:lnTo>
                    <a:pt x="658" y="614"/>
                  </a:lnTo>
                  <a:lnTo>
                    <a:pt x="661" y="693"/>
                  </a:lnTo>
                  <a:lnTo>
                    <a:pt x="670" y="773"/>
                  </a:lnTo>
                  <a:lnTo>
                    <a:pt x="684" y="853"/>
                  </a:lnTo>
                  <a:lnTo>
                    <a:pt x="703" y="930"/>
                  </a:lnTo>
                  <a:lnTo>
                    <a:pt x="728" y="1007"/>
                  </a:lnTo>
                  <a:lnTo>
                    <a:pt x="758" y="1082"/>
                  </a:lnTo>
                  <a:lnTo>
                    <a:pt x="794" y="1155"/>
                  </a:lnTo>
                  <a:lnTo>
                    <a:pt x="835" y="1227"/>
                  </a:lnTo>
                  <a:lnTo>
                    <a:pt x="882" y="1296"/>
                  </a:lnTo>
                  <a:lnTo>
                    <a:pt x="934" y="1361"/>
                  </a:lnTo>
                  <a:lnTo>
                    <a:pt x="991" y="1424"/>
                  </a:lnTo>
                  <a:lnTo>
                    <a:pt x="917" y="1479"/>
                  </a:lnTo>
                  <a:lnTo>
                    <a:pt x="843" y="1538"/>
                  </a:lnTo>
                  <a:lnTo>
                    <a:pt x="814" y="1564"/>
                  </a:lnTo>
                  <a:lnTo>
                    <a:pt x="789" y="1594"/>
                  </a:lnTo>
                  <a:lnTo>
                    <a:pt x="767" y="1626"/>
                  </a:lnTo>
                  <a:lnTo>
                    <a:pt x="749" y="1661"/>
                  </a:lnTo>
                  <a:lnTo>
                    <a:pt x="736" y="1696"/>
                  </a:lnTo>
                  <a:lnTo>
                    <a:pt x="726" y="1735"/>
                  </a:lnTo>
                  <a:lnTo>
                    <a:pt x="0" y="1735"/>
                  </a:lnTo>
                  <a:lnTo>
                    <a:pt x="0" y="1508"/>
                  </a:lnTo>
                  <a:lnTo>
                    <a:pt x="2" y="1479"/>
                  </a:lnTo>
                  <a:lnTo>
                    <a:pt x="10" y="1453"/>
                  </a:lnTo>
                  <a:lnTo>
                    <a:pt x="22" y="1427"/>
                  </a:lnTo>
                  <a:lnTo>
                    <a:pt x="38" y="1404"/>
                  </a:lnTo>
                  <a:lnTo>
                    <a:pt x="59" y="1384"/>
                  </a:lnTo>
                  <a:lnTo>
                    <a:pt x="102" y="1349"/>
                  </a:lnTo>
                  <a:lnTo>
                    <a:pt x="146" y="1316"/>
                  </a:lnTo>
                  <a:lnTo>
                    <a:pt x="190" y="1285"/>
                  </a:lnTo>
                  <a:lnTo>
                    <a:pt x="233" y="1255"/>
                  </a:lnTo>
                  <a:lnTo>
                    <a:pt x="274" y="1227"/>
                  </a:lnTo>
                  <a:lnTo>
                    <a:pt x="315" y="1202"/>
                  </a:lnTo>
                  <a:lnTo>
                    <a:pt x="353" y="1179"/>
                  </a:lnTo>
                  <a:lnTo>
                    <a:pt x="388" y="1158"/>
                  </a:lnTo>
                  <a:lnTo>
                    <a:pt x="421" y="1139"/>
                  </a:lnTo>
                  <a:lnTo>
                    <a:pt x="451" y="1122"/>
                  </a:lnTo>
                  <a:lnTo>
                    <a:pt x="477" y="1109"/>
                  </a:lnTo>
                  <a:lnTo>
                    <a:pt x="499" y="1097"/>
                  </a:lnTo>
                  <a:lnTo>
                    <a:pt x="515" y="1089"/>
                  </a:lnTo>
                  <a:lnTo>
                    <a:pt x="528" y="1082"/>
                  </a:lnTo>
                  <a:lnTo>
                    <a:pt x="532" y="1080"/>
                  </a:lnTo>
                  <a:lnTo>
                    <a:pt x="534" y="1077"/>
                  </a:lnTo>
                  <a:lnTo>
                    <a:pt x="535" y="1074"/>
                  </a:lnTo>
                  <a:lnTo>
                    <a:pt x="536" y="1069"/>
                  </a:lnTo>
                  <a:lnTo>
                    <a:pt x="536" y="751"/>
                  </a:lnTo>
                  <a:lnTo>
                    <a:pt x="514" y="733"/>
                  </a:lnTo>
                  <a:lnTo>
                    <a:pt x="496" y="711"/>
                  </a:lnTo>
                  <a:lnTo>
                    <a:pt x="481" y="686"/>
                  </a:lnTo>
                  <a:lnTo>
                    <a:pt x="472" y="657"/>
                  </a:lnTo>
                  <a:lnTo>
                    <a:pt x="470" y="627"/>
                  </a:lnTo>
                  <a:lnTo>
                    <a:pt x="470" y="298"/>
                  </a:lnTo>
                  <a:lnTo>
                    <a:pt x="473" y="253"/>
                  </a:lnTo>
                  <a:lnTo>
                    <a:pt x="482" y="211"/>
                  </a:lnTo>
                  <a:lnTo>
                    <a:pt x="498" y="172"/>
                  </a:lnTo>
                  <a:lnTo>
                    <a:pt x="518" y="135"/>
                  </a:lnTo>
                  <a:lnTo>
                    <a:pt x="543" y="102"/>
                  </a:lnTo>
                  <a:lnTo>
                    <a:pt x="572" y="73"/>
                  </a:lnTo>
                  <a:lnTo>
                    <a:pt x="605" y="48"/>
                  </a:lnTo>
                  <a:lnTo>
                    <a:pt x="642" y="28"/>
                  </a:lnTo>
                  <a:lnTo>
                    <a:pt x="681" y="12"/>
                  </a:lnTo>
                  <a:lnTo>
                    <a:pt x="723" y="3"/>
                  </a:lnTo>
                  <a:lnTo>
                    <a:pt x="767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p>
              <a:endParaRPr lang="en-US" dirty="0"/>
            </a:p>
          </p:txBody>
        </p:sp>
      </p:grpSp>
      <p:grpSp>
        <p:nvGrpSpPr>
          <p:cNvPr id="22" name="组合 21"/>
          <p:cNvGrpSpPr/>
          <p:nvPr/>
        </p:nvGrpSpPr>
        <p:grpSpPr>
          <a:xfrm>
            <a:off x="4636306" y="4556826"/>
            <a:ext cx="440742" cy="316802"/>
            <a:chOff x="7147096" y="3786571"/>
            <a:chExt cx="440742" cy="316802"/>
          </a:xfrm>
        </p:grpSpPr>
        <p:sp>
          <p:nvSpPr>
            <p:cNvPr id="23" name="Freeform 64"/>
            <p:cNvSpPr/>
            <p:nvPr/>
          </p:nvSpPr>
          <p:spPr bwMode="auto">
            <a:xfrm>
              <a:off x="7251689" y="4019336"/>
              <a:ext cx="231556" cy="65295"/>
            </a:xfrm>
            <a:custGeom>
              <a:avLst/>
              <a:gdLst>
                <a:gd name="T0" fmla="*/ 237 w 1916"/>
                <a:gd name="T1" fmla="*/ 0 h 542"/>
                <a:gd name="T2" fmla="*/ 300 w 1916"/>
                <a:gd name="T3" fmla="*/ 46 h 542"/>
                <a:gd name="T4" fmla="*/ 365 w 1916"/>
                <a:gd name="T5" fmla="*/ 88 h 542"/>
                <a:gd name="T6" fmla="*/ 432 w 1916"/>
                <a:gd name="T7" fmla="*/ 124 h 542"/>
                <a:gd name="T8" fmla="*/ 502 w 1916"/>
                <a:gd name="T9" fmla="*/ 157 h 542"/>
                <a:gd name="T10" fmla="*/ 574 w 1916"/>
                <a:gd name="T11" fmla="*/ 184 h 542"/>
                <a:gd name="T12" fmla="*/ 647 w 1916"/>
                <a:gd name="T13" fmla="*/ 207 h 542"/>
                <a:gd name="T14" fmla="*/ 722 w 1916"/>
                <a:gd name="T15" fmla="*/ 225 h 542"/>
                <a:gd name="T16" fmla="*/ 798 w 1916"/>
                <a:gd name="T17" fmla="*/ 238 h 542"/>
                <a:gd name="T18" fmla="*/ 877 w 1916"/>
                <a:gd name="T19" fmla="*/ 246 h 542"/>
                <a:gd name="T20" fmla="*/ 955 w 1916"/>
                <a:gd name="T21" fmla="*/ 248 h 542"/>
                <a:gd name="T22" fmla="*/ 1034 w 1916"/>
                <a:gd name="T23" fmla="*/ 246 h 542"/>
                <a:gd name="T24" fmla="*/ 1111 w 1916"/>
                <a:gd name="T25" fmla="*/ 238 h 542"/>
                <a:gd name="T26" fmla="*/ 1188 w 1916"/>
                <a:gd name="T27" fmla="*/ 225 h 542"/>
                <a:gd name="T28" fmla="*/ 1263 w 1916"/>
                <a:gd name="T29" fmla="*/ 206 h 542"/>
                <a:gd name="T30" fmla="*/ 1337 w 1916"/>
                <a:gd name="T31" fmla="*/ 184 h 542"/>
                <a:gd name="T32" fmla="*/ 1409 w 1916"/>
                <a:gd name="T33" fmla="*/ 157 h 542"/>
                <a:gd name="T34" fmla="*/ 1480 w 1916"/>
                <a:gd name="T35" fmla="*/ 123 h 542"/>
                <a:gd name="T36" fmla="*/ 1547 w 1916"/>
                <a:gd name="T37" fmla="*/ 87 h 542"/>
                <a:gd name="T38" fmla="*/ 1584 w 1916"/>
                <a:gd name="T39" fmla="*/ 122 h 542"/>
                <a:gd name="T40" fmla="*/ 1635 w 1916"/>
                <a:gd name="T41" fmla="*/ 172 h 542"/>
                <a:gd name="T42" fmla="*/ 1916 w 1916"/>
                <a:gd name="T43" fmla="*/ 454 h 542"/>
                <a:gd name="T44" fmla="*/ 1916 w 1916"/>
                <a:gd name="T45" fmla="*/ 542 h 542"/>
                <a:gd name="T46" fmla="*/ 0 w 1916"/>
                <a:gd name="T47" fmla="*/ 542 h 542"/>
                <a:gd name="T48" fmla="*/ 0 w 1916"/>
                <a:gd name="T49" fmla="*/ 273 h 542"/>
                <a:gd name="T50" fmla="*/ 2 w 1916"/>
                <a:gd name="T51" fmla="*/ 245 h 542"/>
                <a:gd name="T52" fmla="*/ 9 w 1916"/>
                <a:gd name="T53" fmla="*/ 217 h 542"/>
                <a:gd name="T54" fmla="*/ 19 w 1916"/>
                <a:gd name="T55" fmla="*/ 192 h 542"/>
                <a:gd name="T56" fmla="*/ 32 w 1916"/>
                <a:gd name="T57" fmla="*/ 168 h 542"/>
                <a:gd name="T58" fmla="*/ 50 w 1916"/>
                <a:gd name="T59" fmla="*/ 145 h 542"/>
                <a:gd name="T60" fmla="*/ 70 w 1916"/>
                <a:gd name="T61" fmla="*/ 126 h 542"/>
                <a:gd name="T62" fmla="*/ 125 w 1916"/>
                <a:gd name="T63" fmla="*/ 81 h 542"/>
                <a:gd name="T64" fmla="*/ 181 w 1916"/>
                <a:gd name="T65" fmla="*/ 39 h 542"/>
                <a:gd name="T66" fmla="*/ 237 w 1916"/>
                <a:gd name="T67" fmla="*/ 0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916" h="542">
                  <a:moveTo>
                    <a:pt x="237" y="0"/>
                  </a:moveTo>
                  <a:lnTo>
                    <a:pt x="300" y="46"/>
                  </a:lnTo>
                  <a:lnTo>
                    <a:pt x="365" y="88"/>
                  </a:lnTo>
                  <a:lnTo>
                    <a:pt x="432" y="124"/>
                  </a:lnTo>
                  <a:lnTo>
                    <a:pt x="502" y="157"/>
                  </a:lnTo>
                  <a:lnTo>
                    <a:pt x="574" y="184"/>
                  </a:lnTo>
                  <a:lnTo>
                    <a:pt x="647" y="207"/>
                  </a:lnTo>
                  <a:lnTo>
                    <a:pt x="722" y="225"/>
                  </a:lnTo>
                  <a:lnTo>
                    <a:pt x="798" y="238"/>
                  </a:lnTo>
                  <a:lnTo>
                    <a:pt x="877" y="246"/>
                  </a:lnTo>
                  <a:lnTo>
                    <a:pt x="955" y="248"/>
                  </a:lnTo>
                  <a:lnTo>
                    <a:pt x="1034" y="246"/>
                  </a:lnTo>
                  <a:lnTo>
                    <a:pt x="1111" y="238"/>
                  </a:lnTo>
                  <a:lnTo>
                    <a:pt x="1188" y="225"/>
                  </a:lnTo>
                  <a:lnTo>
                    <a:pt x="1263" y="206"/>
                  </a:lnTo>
                  <a:lnTo>
                    <a:pt x="1337" y="184"/>
                  </a:lnTo>
                  <a:lnTo>
                    <a:pt x="1409" y="157"/>
                  </a:lnTo>
                  <a:lnTo>
                    <a:pt x="1480" y="123"/>
                  </a:lnTo>
                  <a:lnTo>
                    <a:pt x="1547" y="87"/>
                  </a:lnTo>
                  <a:lnTo>
                    <a:pt x="1584" y="122"/>
                  </a:lnTo>
                  <a:lnTo>
                    <a:pt x="1635" y="172"/>
                  </a:lnTo>
                  <a:lnTo>
                    <a:pt x="1916" y="454"/>
                  </a:lnTo>
                  <a:lnTo>
                    <a:pt x="1916" y="542"/>
                  </a:lnTo>
                  <a:lnTo>
                    <a:pt x="0" y="542"/>
                  </a:lnTo>
                  <a:lnTo>
                    <a:pt x="0" y="273"/>
                  </a:lnTo>
                  <a:lnTo>
                    <a:pt x="2" y="245"/>
                  </a:lnTo>
                  <a:lnTo>
                    <a:pt x="9" y="217"/>
                  </a:lnTo>
                  <a:lnTo>
                    <a:pt x="19" y="192"/>
                  </a:lnTo>
                  <a:lnTo>
                    <a:pt x="32" y="168"/>
                  </a:lnTo>
                  <a:lnTo>
                    <a:pt x="50" y="145"/>
                  </a:lnTo>
                  <a:lnTo>
                    <a:pt x="70" y="126"/>
                  </a:lnTo>
                  <a:lnTo>
                    <a:pt x="125" y="81"/>
                  </a:lnTo>
                  <a:lnTo>
                    <a:pt x="181" y="39"/>
                  </a:lnTo>
                  <a:lnTo>
                    <a:pt x="237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p>
              <a:endParaRPr lang="en-US" dirty="0"/>
            </a:p>
          </p:txBody>
        </p:sp>
        <p:sp>
          <p:nvSpPr>
            <p:cNvPr id="24" name="Freeform 65"/>
            <p:cNvSpPr/>
            <p:nvPr/>
          </p:nvSpPr>
          <p:spPr bwMode="auto">
            <a:xfrm>
              <a:off x="7319403" y="3834938"/>
              <a:ext cx="96129" cy="158401"/>
            </a:xfrm>
            <a:custGeom>
              <a:avLst/>
              <a:gdLst>
                <a:gd name="T0" fmla="*/ 355 w 794"/>
                <a:gd name="T1" fmla="*/ 0 h 1308"/>
                <a:gd name="T2" fmla="*/ 440 w 794"/>
                <a:gd name="T3" fmla="*/ 0 h 1308"/>
                <a:gd name="T4" fmla="*/ 487 w 794"/>
                <a:gd name="T5" fmla="*/ 3 h 1308"/>
                <a:gd name="T6" fmla="*/ 534 w 794"/>
                <a:gd name="T7" fmla="*/ 13 h 1308"/>
                <a:gd name="T8" fmla="*/ 578 w 794"/>
                <a:gd name="T9" fmla="*/ 28 h 1308"/>
                <a:gd name="T10" fmla="*/ 619 w 794"/>
                <a:gd name="T11" fmla="*/ 49 h 1308"/>
                <a:gd name="T12" fmla="*/ 657 w 794"/>
                <a:gd name="T13" fmla="*/ 74 h 1308"/>
                <a:gd name="T14" fmla="*/ 691 w 794"/>
                <a:gd name="T15" fmla="*/ 104 h 1308"/>
                <a:gd name="T16" fmla="*/ 721 w 794"/>
                <a:gd name="T17" fmla="*/ 138 h 1308"/>
                <a:gd name="T18" fmla="*/ 746 w 794"/>
                <a:gd name="T19" fmla="*/ 176 h 1308"/>
                <a:gd name="T20" fmla="*/ 766 w 794"/>
                <a:gd name="T21" fmla="*/ 217 h 1308"/>
                <a:gd name="T22" fmla="*/ 782 w 794"/>
                <a:gd name="T23" fmla="*/ 261 h 1308"/>
                <a:gd name="T24" fmla="*/ 790 w 794"/>
                <a:gd name="T25" fmla="*/ 307 h 1308"/>
                <a:gd name="T26" fmla="*/ 794 w 794"/>
                <a:gd name="T27" fmla="*/ 356 h 1308"/>
                <a:gd name="T28" fmla="*/ 794 w 794"/>
                <a:gd name="T29" fmla="*/ 749 h 1308"/>
                <a:gd name="T30" fmla="*/ 792 w 794"/>
                <a:gd name="T31" fmla="*/ 780 h 1308"/>
                <a:gd name="T32" fmla="*/ 784 w 794"/>
                <a:gd name="T33" fmla="*/ 807 h 1308"/>
                <a:gd name="T34" fmla="*/ 772 w 794"/>
                <a:gd name="T35" fmla="*/ 834 h 1308"/>
                <a:gd name="T36" fmla="*/ 756 w 794"/>
                <a:gd name="T37" fmla="*/ 858 h 1308"/>
                <a:gd name="T38" fmla="*/ 737 w 794"/>
                <a:gd name="T39" fmla="*/ 879 h 1308"/>
                <a:gd name="T40" fmla="*/ 714 w 794"/>
                <a:gd name="T41" fmla="*/ 897 h 1308"/>
                <a:gd name="T42" fmla="*/ 714 w 794"/>
                <a:gd name="T43" fmla="*/ 1231 h 1308"/>
                <a:gd name="T44" fmla="*/ 656 w 794"/>
                <a:gd name="T45" fmla="*/ 1258 h 1308"/>
                <a:gd name="T46" fmla="*/ 592 w 794"/>
                <a:gd name="T47" fmla="*/ 1279 h 1308"/>
                <a:gd name="T48" fmla="*/ 528 w 794"/>
                <a:gd name="T49" fmla="*/ 1296 h 1308"/>
                <a:gd name="T50" fmla="*/ 462 w 794"/>
                <a:gd name="T51" fmla="*/ 1305 h 1308"/>
                <a:gd name="T52" fmla="*/ 394 w 794"/>
                <a:gd name="T53" fmla="*/ 1308 h 1308"/>
                <a:gd name="T54" fmla="*/ 328 w 794"/>
                <a:gd name="T55" fmla="*/ 1305 h 1308"/>
                <a:gd name="T56" fmla="*/ 263 w 794"/>
                <a:gd name="T57" fmla="*/ 1296 h 1308"/>
                <a:gd name="T58" fmla="*/ 200 w 794"/>
                <a:gd name="T59" fmla="*/ 1280 h 1308"/>
                <a:gd name="T60" fmla="*/ 138 w 794"/>
                <a:gd name="T61" fmla="*/ 1258 h 1308"/>
                <a:gd name="T62" fmla="*/ 79 w 794"/>
                <a:gd name="T63" fmla="*/ 1232 h 1308"/>
                <a:gd name="T64" fmla="*/ 79 w 794"/>
                <a:gd name="T65" fmla="*/ 896 h 1308"/>
                <a:gd name="T66" fmla="*/ 57 w 794"/>
                <a:gd name="T67" fmla="*/ 878 h 1308"/>
                <a:gd name="T68" fmla="*/ 37 w 794"/>
                <a:gd name="T69" fmla="*/ 857 h 1308"/>
                <a:gd name="T70" fmla="*/ 22 w 794"/>
                <a:gd name="T71" fmla="*/ 834 h 1308"/>
                <a:gd name="T72" fmla="*/ 10 w 794"/>
                <a:gd name="T73" fmla="*/ 807 h 1308"/>
                <a:gd name="T74" fmla="*/ 3 w 794"/>
                <a:gd name="T75" fmla="*/ 778 h 1308"/>
                <a:gd name="T76" fmla="*/ 0 w 794"/>
                <a:gd name="T77" fmla="*/ 749 h 1308"/>
                <a:gd name="T78" fmla="*/ 0 w 794"/>
                <a:gd name="T79" fmla="*/ 355 h 1308"/>
                <a:gd name="T80" fmla="*/ 3 w 794"/>
                <a:gd name="T81" fmla="*/ 306 h 1308"/>
                <a:gd name="T82" fmla="*/ 13 w 794"/>
                <a:gd name="T83" fmla="*/ 261 h 1308"/>
                <a:gd name="T84" fmla="*/ 28 w 794"/>
                <a:gd name="T85" fmla="*/ 217 h 1308"/>
                <a:gd name="T86" fmla="*/ 48 w 794"/>
                <a:gd name="T87" fmla="*/ 176 h 1308"/>
                <a:gd name="T88" fmla="*/ 74 w 794"/>
                <a:gd name="T89" fmla="*/ 138 h 1308"/>
                <a:gd name="T90" fmla="*/ 104 w 794"/>
                <a:gd name="T91" fmla="*/ 104 h 1308"/>
                <a:gd name="T92" fmla="*/ 138 w 794"/>
                <a:gd name="T93" fmla="*/ 74 h 1308"/>
                <a:gd name="T94" fmla="*/ 175 w 794"/>
                <a:gd name="T95" fmla="*/ 49 h 1308"/>
                <a:gd name="T96" fmla="*/ 216 w 794"/>
                <a:gd name="T97" fmla="*/ 28 h 1308"/>
                <a:gd name="T98" fmla="*/ 261 w 794"/>
                <a:gd name="T99" fmla="*/ 13 h 1308"/>
                <a:gd name="T100" fmla="*/ 307 w 794"/>
                <a:gd name="T101" fmla="*/ 3 h 1308"/>
                <a:gd name="T102" fmla="*/ 355 w 794"/>
                <a:gd name="T103" fmla="*/ 0 h 1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94" h="1308">
                  <a:moveTo>
                    <a:pt x="355" y="0"/>
                  </a:moveTo>
                  <a:lnTo>
                    <a:pt x="440" y="0"/>
                  </a:lnTo>
                  <a:lnTo>
                    <a:pt x="487" y="3"/>
                  </a:lnTo>
                  <a:lnTo>
                    <a:pt x="534" y="13"/>
                  </a:lnTo>
                  <a:lnTo>
                    <a:pt x="578" y="28"/>
                  </a:lnTo>
                  <a:lnTo>
                    <a:pt x="619" y="49"/>
                  </a:lnTo>
                  <a:lnTo>
                    <a:pt x="657" y="74"/>
                  </a:lnTo>
                  <a:lnTo>
                    <a:pt x="691" y="104"/>
                  </a:lnTo>
                  <a:lnTo>
                    <a:pt x="721" y="138"/>
                  </a:lnTo>
                  <a:lnTo>
                    <a:pt x="746" y="176"/>
                  </a:lnTo>
                  <a:lnTo>
                    <a:pt x="766" y="217"/>
                  </a:lnTo>
                  <a:lnTo>
                    <a:pt x="782" y="261"/>
                  </a:lnTo>
                  <a:lnTo>
                    <a:pt x="790" y="307"/>
                  </a:lnTo>
                  <a:lnTo>
                    <a:pt x="794" y="356"/>
                  </a:lnTo>
                  <a:lnTo>
                    <a:pt x="794" y="749"/>
                  </a:lnTo>
                  <a:lnTo>
                    <a:pt x="792" y="780"/>
                  </a:lnTo>
                  <a:lnTo>
                    <a:pt x="784" y="807"/>
                  </a:lnTo>
                  <a:lnTo>
                    <a:pt x="772" y="834"/>
                  </a:lnTo>
                  <a:lnTo>
                    <a:pt x="756" y="858"/>
                  </a:lnTo>
                  <a:lnTo>
                    <a:pt x="737" y="879"/>
                  </a:lnTo>
                  <a:lnTo>
                    <a:pt x="714" y="897"/>
                  </a:lnTo>
                  <a:lnTo>
                    <a:pt x="714" y="1231"/>
                  </a:lnTo>
                  <a:lnTo>
                    <a:pt x="656" y="1258"/>
                  </a:lnTo>
                  <a:lnTo>
                    <a:pt x="592" y="1279"/>
                  </a:lnTo>
                  <a:lnTo>
                    <a:pt x="528" y="1296"/>
                  </a:lnTo>
                  <a:lnTo>
                    <a:pt x="462" y="1305"/>
                  </a:lnTo>
                  <a:lnTo>
                    <a:pt x="394" y="1308"/>
                  </a:lnTo>
                  <a:lnTo>
                    <a:pt x="328" y="1305"/>
                  </a:lnTo>
                  <a:lnTo>
                    <a:pt x="263" y="1296"/>
                  </a:lnTo>
                  <a:lnTo>
                    <a:pt x="200" y="1280"/>
                  </a:lnTo>
                  <a:lnTo>
                    <a:pt x="138" y="1258"/>
                  </a:lnTo>
                  <a:lnTo>
                    <a:pt x="79" y="1232"/>
                  </a:lnTo>
                  <a:lnTo>
                    <a:pt x="79" y="896"/>
                  </a:lnTo>
                  <a:lnTo>
                    <a:pt x="57" y="878"/>
                  </a:lnTo>
                  <a:lnTo>
                    <a:pt x="37" y="857"/>
                  </a:lnTo>
                  <a:lnTo>
                    <a:pt x="22" y="834"/>
                  </a:lnTo>
                  <a:lnTo>
                    <a:pt x="10" y="807"/>
                  </a:lnTo>
                  <a:lnTo>
                    <a:pt x="3" y="778"/>
                  </a:lnTo>
                  <a:lnTo>
                    <a:pt x="0" y="749"/>
                  </a:lnTo>
                  <a:lnTo>
                    <a:pt x="0" y="355"/>
                  </a:lnTo>
                  <a:lnTo>
                    <a:pt x="3" y="306"/>
                  </a:lnTo>
                  <a:lnTo>
                    <a:pt x="13" y="261"/>
                  </a:lnTo>
                  <a:lnTo>
                    <a:pt x="28" y="217"/>
                  </a:lnTo>
                  <a:lnTo>
                    <a:pt x="48" y="176"/>
                  </a:lnTo>
                  <a:lnTo>
                    <a:pt x="74" y="138"/>
                  </a:lnTo>
                  <a:lnTo>
                    <a:pt x="104" y="104"/>
                  </a:lnTo>
                  <a:lnTo>
                    <a:pt x="138" y="74"/>
                  </a:lnTo>
                  <a:lnTo>
                    <a:pt x="175" y="49"/>
                  </a:lnTo>
                  <a:lnTo>
                    <a:pt x="216" y="28"/>
                  </a:lnTo>
                  <a:lnTo>
                    <a:pt x="261" y="13"/>
                  </a:lnTo>
                  <a:lnTo>
                    <a:pt x="307" y="3"/>
                  </a:lnTo>
                  <a:lnTo>
                    <a:pt x="355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p>
              <a:endParaRPr lang="en-US" dirty="0"/>
            </a:p>
          </p:txBody>
        </p:sp>
        <p:sp>
          <p:nvSpPr>
            <p:cNvPr id="25" name="Freeform 66"/>
            <p:cNvSpPr/>
            <p:nvPr/>
          </p:nvSpPr>
          <p:spPr bwMode="auto">
            <a:xfrm>
              <a:off x="7486872" y="3834938"/>
              <a:ext cx="100966" cy="209791"/>
            </a:xfrm>
            <a:custGeom>
              <a:avLst/>
              <a:gdLst>
                <a:gd name="T0" fmla="*/ 0 w 837"/>
                <a:gd name="T1" fmla="*/ 0 h 1735"/>
                <a:gd name="T2" fmla="*/ 69 w 837"/>
                <a:gd name="T3" fmla="*/ 0 h 1735"/>
                <a:gd name="T4" fmla="*/ 113 w 837"/>
                <a:gd name="T5" fmla="*/ 3 h 1735"/>
                <a:gd name="T6" fmla="*/ 155 w 837"/>
                <a:gd name="T7" fmla="*/ 12 h 1735"/>
                <a:gd name="T8" fmla="*/ 195 w 837"/>
                <a:gd name="T9" fmla="*/ 28 h 1735"/>
                <a:gd name="T10" fmla="*/ 232 w 837"/>
                <a:gd name="T11" fmla="*/ 48 h 1735"/>
                <a:gd name="T12" fmla="*/ 265 w 837"/>
                <a:gd name="T13" fmla="*/ 73 h 1735"/>
                <a:gd name="T14" fmla="*/ 294 w 837"/>
                <a:gd name="T15" fmla="*/ 102 h 1735"/>
                <a:gd name="T16" fmla="*/ 319 w 837"/>
                <a:gd name="T17" fmla="*/ 135 h 1735"/>
                <a:gd name="T18" fmla="*/ 339 w 837"/>
                <a:gd name="T19" fmla="*/ 172 h 1735"/>
                <a:gd name="T20" fmla="*/ 354 w 837"/>
                <a:gd name="T21" fmla="*/ 211 h 1735"/>
                <a:gd name="T22" fmla="*/ 363 w 837"/>
                <a:gd name="T23" fmla="*/ 253 h 1735"/>
                <a:gd name="T24" fmla="*/ 367 w 837"/>
                <a:gd name="T25" fmla="*/ 298 h 1735"/>
                <a:gd name="T26" fmla="*/ 367 w 837"/>
                <a:gd name="T27" fmla="*/ 627 h 1735"/>
                <a:gd name="T28" fmla="*/ 363 w 837"/>
                <a:gd name="T29" fmla="*/ 657 h 1735"/>
                <a:gd name="T30" fmla="*/ 354 w 837"/>
                <a:gd name="T31" fmla="*/ 686 h 1735"/>
                <a:gd name="T32" fmla="*/ 341 w 837"/>
                <a:gd name="T33" fmla="*/ 711 h 1735"/>
                <a:gd name="T34" fmla="*/ 322 w 837"/>
                <a:gd name="T35" fmla="*/ 733 h 1735"/>
                <a:gd name="T36" fmla="*/ 300 w 837"/>
                <a:gd name="T37" fmla="*/ 751 h 1735"/>
                <a:gd name="T38" fmla="*/ 300 w 837"/>
                <a:gd name="T39" fmla="*/ 1069 h 1735"/>
                <a:gd name="T40" fmla="*/ 300 w 837"/>
                <a:gd name="T41" fmla="*/ 1074 h 1735"/>
                <a:gd name="T42" fmla="*/ 302 w 837"/>
                <a:gd name="T43" fmla="*/ 1077 h 1735"/>
                <a:gd name="T44" fmla="*/ 305 w 837"/>
                <a:gd name="T45" fmla="*/ 1080 h 1735"/>
                <a:gd name="T46" fmla="*/ 308 w 837"/>
                <a:gd name="T47" fmla="*/ 1082 h 1735"/>
                <a:gd name="T48" fmla="*/ 320 w 837"/>
                <a:gd name="T49" fmla="*/ 1089 h 1735"/>
                <a:gd name="T50" fmla="*/ 338 w 837"/>
                <a:gd name="T51" fmla="*/ 1098 h 1735"/>
                <a:gd name="T52" fmla="*/ 359 w 837"/>
                <a:gd name="T53" fmla="*/ 1109 h 1735"/>
                <a:gd name="T54" fmla="*/ 385 w 837"/>
                <a:gd name="T55" fmla="*/ 1123 h 1735"/>
                <a:gd name="T56" fmla="*/ 414 w 837"/>
                <a:gd name="T57" fmla="*/ 1139 h 1735"/>
                <a:gd name="T58" fmla="*/ 447 w 837"/>
                <a:gd name="T59" fmla="*/ 1158 h 1735"/>
                <a:gd name="T60" fmla="*/ 483 w 837"/>
                <a:gd name="T61" fmla="*/ 1179 h 1735"/>
                <a:gd name="T62" fmla="*/ 521 w 837"/>
                <a:gd name="T63" fmla="*/ 1202 h 1735"/>
                <a:gd name="T64" fmla="*/ 561 w 837"/>
                <a:gd name="T65" fmla="*/ 1227 h 1735"/>
                <a:gd name="T66" fmla="*/ 603 w 837"/>
                <a:gd name="T67" fmla="*/ 1255 h 1735"/>
                <a:gd name="T68" fmla="*/ 646 w 837"/>
                <a:gd name="T69" fmla="*/ 1285 h 1735"/>
                <a:gd name="T70" fmla="*/ 689 w 837"/>
                <a:gd name="T71" fmla="*/ 1316 h 1735"/>
                <a:gd name="T72" fmla="*/ 734 w 837"/>
                <a:gd name="T73" fmla="*/ 1349 h 1735"/>
                <a:gd name="T74" fmla="*/ 778 w 837"/>
                <a:gd name="T75" fmla="*/ 1384 h 1735"/>
                <a:gd name="T76" fmla="*/ 798 w 837"/>
                <a:gd name="T77" fmla="*/ 1404 h 1735"/>
                <a:gd name="T78" fmla="*/ 814 w 837"/>
                <a:gd name="T79" fmla="*/ 1427 h 1735"/>
                <a:gd name="T80" fmla="*/ 827 w 837"/>
                <a:gd name="T81" fmla="*/ 1453 h 1735"/>
                <a:gd name="T82" fmla="*/ 833 w 837"/>
                <a:gd name="T83" fmla="*/ 1480 h 1735"/>
                <a:gd name="T84" fmla="*/ 837 w 837"/>
                <a:gd name="T85" fmla="*/ 1509 h 1735"/>
                <a:gd name="T86" fmla="*/ 837 w 837"/>
                <a:gd name="T87" fmla="*/ 1735 h 1735"/>
                <a:gd name="T88" fmla="*/ 543 w 837"/>
                <a:gd name="T89" fmla="*/ 1735 h 1735"/>
                <a:gd name="T90" fmla="*/ 11 w 837"/>
                <a:gd name="T91" fmla="*/ 1204 h 1735"/>
                <a:gd name="T92" fmla="*/ 51 w 837"/>
                <a:gd name="T93" fmla="*/ 1130 h 1735"/>
                <a:gd name="T94" fmla="*/ 86 w 837"/>
                <a:gd name="T95" fmla="*/ 1055 h 1735"/>
                <a:gd name="T96" fmla="*/ 115 w 837"/>
                <a:gd name="T97" fmla="*/ 977 h 1735"/>
                <a:gd name="T98" fmla="*/ 139 w 837"/>
                <a:gd name="T99" fmla="*/ 898 h 1735"/>
                <a:gd name="T100" fmla="*/ 156 w 837"/>
                <a:gd name="T101" fmla="*/ 816 h 1735"/>
                <a:gd name="T102" fmla="*/ 167 w 837"/>
                <a:gd name="T103" fmla="*/ 734 h 1735"/>
                <a:gd name="T104" fmla="*/ 173 w 837"/>
                <a:gd name="T105" fmla="*/ 650 h 1735"/>
                <a:gd name="T106" fmla="*/ 173 w 837"/>
                <a:gd name="T107" fmla="*/ 566 h 1735"/>
                <a:gd name="T108" fmla="*/ 166 w 837"/>
                <a:gd name="T109" fmla="*/ 480 h 1735"/>
                <a:gd name="T110" fmla="*/ 154 w 837"/>
                <a:gd name="T111" fmla="*/ 395 h 1735"/>
                <a:gd name="T112" fmla="*/ 135 w 837"/>
                <a:gd name="T113" fmla="*/ 312 h 1735"/>
                <a:gd name="T114" fmla="*/ 110 w 837"/>
                <a:gd name="T115" fmla="*/ 230 h 1735"/>
                <a:gd name="T116" fmla="*/ 79 w 837"/>
                <a:gd name="T117" fmla="*/ 152 h 1735"/>
                <a:gd name="T118" fmla="*/ 42 w 837"/>
                <a:gd name="T119" fmla="*/ 74 h 1735"/>
                <a:gd name="T120" fmla="*/ 0 w 837"/>
                <a:gd name="T121" fmla="*/ 0 h 17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37" h="1735">
                  <a:moveTo>
                    <a:pt x="0" y="0"/>
                  </a:moveTo>
                  <a:lnTo>
                    <a:pt x="69" y="0"/>
                  </a:lnTo>
                  <a:lnTo>
                    <a:pt x="113" y="3"/>
                  </a:lnTo>
                  <a:lnTo>
                    <a:pt x="155" y="12"/>
                  </a:lnTo>
                  <a:lnTo>
                    <a:pt x="195" y="28"/>
                  </a:lnTo>
                  <a:lnTo>
                    <a:pt x="232" y="48"/>
                  </a:lnTo>
                  <a:lnTo>
                    <a:pt x="265" y="73"/>
                  </a:lnTo>
                  <a:lnTo>
                    <a:pt x="294" y="102"/>
                  </a:lnTo>
                  <a:lnTo>
                    <a:pt x="319" y="135"/>
                  </a:lnTo>
                  <a:lnTo>
                    <a:pt x="339" y="172"/>
                  </a:lnTo>
                  <a:lnTo>
                    <a:pt x="354" y="211"/>
                  </a:lnTo>
                  <a:lnTo>
                    <a:pt x="363" y="253"/>
                  </a:lnTo>
                  <a:lnTo>
                    <a:pt x="367" y="298"/>
                  </a:lnTo>
                  <a:lnTo>
                    <a:pt x="367" y="627"/>
                  </a:lnTo>
                  <a:lnTo>
                    <a:pt x="363" y="657"/>
                  </a:lnTo>
                  <a:lnTo>
                    <a:pt x="354" y="686"/>
                  </a:lnTo>
                  <a:lnTo>
                    <a:pt x="341" y="711"/>
                  </a:lnTo>
                  <a:lnTo>
                    <a:pt x="322" y="733"/>
                  </a:lnTo>
                  <a:lnTo>
                    <a:pt x="300" y="751"/>
                  </a:lnTo>
                  <a:lnTo>
                    <a:pt x="300" y="1069"/>
                  </a:lnTo>
                  <a:lnTo>
                    <a:pt x="300" y="1074"/>
                  </a:lnTo>
                  <a:lnTo>
                    <a:pt x="302" y="1077"/>
                  </a:lnTo>
                  <a:lnTo>
                    <a:pt x="305" y="1080"/>
                  </a:lnTo>
                  <a:lnTo>
                    <a:pt x="308" y="1082"/>
                  </a:lnTo>
                  <a:lnTo>
                    <a:pt x="320" y="1089"/>
                  </a:lnTo>
                  <a:lnTo>
                    <a:pt x="338" y="1098"/>
                  </a:lnTo>
                  <a:lnTo>
                    <a:pt x="359" y="1109"/>
                  </a:lnTo>
                  <a:lnTo>
                    <a:pt x="385" y="1123"/>
                  </a:lnTo>
                  <a:lnTo>
                    <a:pt x="414" y="1139"/>
                  </a:lnTo>
                  <a:lnTo>
                    <a:pt x="447" y="1158"/>
                  </a:lnTo>
                  <a:lnTo>
                    <a:pt x="483" y="1179"/>
                  </a:lnTo>
                  <a:lnTo>
                    <a:pt x="521" y="1202"/>
                  </a:lnTo>
                  <a:lnTo>
                    <a:pt x="561" y="1227"/>
                  </a:lnTo>
                  <a:lnTo>
                    <a:pt x="603" y="1255"/>
                  </a:lnTo>
                  <a:lnTo>
                    <a:pt x="646" y="1285"/>
                  </a:lnTo>
                  <a:lnTo>
                    <a:pt x="689" y="1316"/>
                  </a:lnTo>
                  <a:lnTo>
                    <a:pt x="734" y="1349"/>
                  </a:lnTo>
                  <a:lnTo>
                    <a:pt x="778" y="1384"/>
                  </a:lnTo>
                  <a:lnTo>
                    <a:pt x="798" y="1404"/>
                  </a:lnTo>
                  <a:lnTo>
                    <a:pt x="814" y="1427"/>
                  </a:lnTo>
                  <a:lnTo>
                    <a:pt x="827" y="1453"/>
                  </a:lnTo>
                  <a:lnTo>
                    <a:pt x="833" y="1480"/>
                  </a:lnTo>
                  <a:lnTo>
                    <a:pt x="837" y="1509"/>
                  </a:lnTo>
                  <a:lnTo>
                    <a:pt x="837" y="1735"/>
                  </a:lnTo>
                  <a:lnTo>
                    <a:pt x="543" y="1735"/>
                  </a:lnTo>
                  <a:lnTo>
                    <a:pt x="11" y="1204"/>
                  </a:lnTo>
                  <a:lnTo>
                    <a:pt x="51" y="1130"/>
                  </a:lnTo>
                  <a:lnTo>
                    <a:pt x="86" y="1055"/>
                  </a:lnTo>
                  <a:lnTo>
                    <a:pt x="115" y="977"/>
                  </a:lnTo>
                  <a:lnTo>
                    <a:pt x="139" y="898"/>
                  </a:lnTo>
                  <a:lnTo>
                    <a:pt x="156" y="816"/>
                  </a:lnTo>
                  <a:lnTo>
                    <a:pt x="167" y="734"/>
                  </a:lnTo>
                  <a:lnTo>
                    <a:pt x="173" y="650"/>
                  </a:lnTo>
                  <a:lnTo>
                    <a:pt x="173" y="566"/>
                  </a:lnTo>
                  <a:lnTo>
                    <a:pt x="166" y="480"/>
                  </a:lnTo>
                  <a:lnTo>
                    <a:pt x="154" y="395"/>
                  </a:lnTo>
                  <a:lnTo>
                    <a:pt x="135" y="312"/>
                  </a:lnTo>
                  <a:lnTo>
                    <a:pt x="110" y="230"/>
                  </a:lnTo>
                  <a:lnTo>
                    <a:pt x="79" y="152"/>
                  </a:lnTo>
                  <a:lnTo>
                    <a:pt x="42" y="7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p>
              <a:endParaRPr lang="en-US" dirty="0"/>
            </a:p>
          </p:txBody>
        </p:sp>
        <p:sp>
          <p:nvSpPr>
            <p:cNvPr id="26" name="Freeform 67"/>
            <p:cNvSpPr>
              <a:spLocks noEditPoints="1"/>
            </p:cNvSpPr>
            <p:nvPr/>
          </p:nvSpPr>
          <p:spPr bwMode="auto">
            <a:xfrm>
              <a:off x="7244434" y="3786571"/>
              <a:ext cx="317407" cy="316802"/>
            </a:xfrm>
            <a:custGeom>
              <a:avLst/>
              <a:gdLst>
                <a:gd name="T0" fmla="*/ 821 w 2625"/>
                <a:gd name="T1" fmla="*/ 192 h 2623"/>
                <a:gd name="T2" fmla="*/ 578 w 2625"/>
                <a:gd name="T3" fmla="*/ 290 h 2623"/>
                <a:gd name="T4" fmla="*/ 370 w 2625"/>
                <a:gd name="T5" fmla="*/ 467 h 2623"/>
                <a:gd name="T6" fmla="*/ 230 w 2625"/>
                <a:gd name="T7" fmla="*/ 696 h 2623"/>
                <a:gd name="T8" fmla="*/ 172 w 2625"/>
                <a:gd name="T9" fmla="*/ 948 h 2623"/>
                <a:gd name="T10" fmla="*/ 192 w 2625"/>
                <a:gd name="T11" fmla="*/ 1207 h 2623"/>
                <a:gd name="T12" fmla="*/ 290 w 2625"/>
                <a:gd name="T13" fmla="*/ 1450 h 2623"/>
                <a:gd name="T14" fmla="*/ 467 w 2625"/>
                <a:gd name="T15" fmla="*/ 1658 h 2623"/>
                <a:gd name="T16" fmla="*/ 696 w 2625"/>
                <a:gd name="T17" fmla="*/ 1796 h 2623"/>
                <a:gd name="T18" fmla="*/ 949 w 2625"/>
                <a:gd name="T19" fmla="*/ 1855 h 2623"/>
                <a:gd name="T20" fmla="*/ 1207 w 2625"/>
                <a:gd name="T21" fmla="*/ 1836 h 2623"/>
                <a:gd name="T22" fmla="*/ 1450 w 2625"/>
                <a:gd name="T23" fmla="*/ 1737 h 2623"/>
                <a:gd name="T24" fmla="*/ 1658 w 2625"/>
                <a:gd name="T25" fmla="*/ 1560 h 2623"/>
                <a:gd name="T26" fmla="*/ 1797 w 2625"/>
                <a:gd name="T27" fmla="*/ 1331 h 2623"/>
                <a:gd name="T28" fmla="*/ 1856 w 2625"/>
                <a:gd name="T29" fmla="*/ 1078 h 2623"/>
                <a:gd name="T30" fmla="*/ 1836 w 2625"/>
                <a:gd name="T31" fmla="*/ 820 h 2623"/>
                <a:gd name="T32" fmla="*/ 1738 w 2625"/>
                <a:gd name="T33" fmla="*/ 577 h 2623"/>
                <a:gd name="T34" fmla="*/ 1561 w 2625"/>
                <a:gd name="T35" fmla="*/ 369 h 2623"/>
                <a:gd name="T36" fmla="*/ 1332 w 2625"/>
                <a:gd name="T37" fmla="*/ 231 h 2623"/>
                <a:gd name="T38" fmla="*/ 1079 w 2625"/>
                <a:gd name="T39" fmla="*/ 172 h 2623"/>
                <a:gd name="T40" fmla="*/ 1155 w 2625"/>
                <a:gd name="T41" fmla="*/ 9 h 2623"/>
                <a:gd name="T42" fmla="*/ 1428 w 2625"/>
                <a:gd name="T43" fmla="*/ 88 h 2623"/>
                <a:gd name="T44" fmla="*/ 1675 w 2625"/>
                <a:gd name="T45" fmla="*/ 245 h 2623"/>
                <a:gd name="T46" fmla="*/ 1876 w 2625"/>
                <a:gd name="T47" fmla="*/ 480 h 2623"/>
                <a:gd name="T48" fmla="*/ 1995 w 2625"/>
                <a:gd name="T49" fmla="*/ 755 h 2623"/>
                <a:gd name="T50" fmla="*/ 2028 w 2625"/>
                <a:gd name="T51" fmla="*/ 1048 h 2623"/>
                <a:gd name="T52" fmla="*/ 1975 w 2625"/>
                <a:gd name="T53" fmla="*/ 1339 h 2623"/>
                <a:gd name="T54" fmla="*/ 1836 w 2625"/>
                <a:gd name="T55" fmla="*/ 1606 h 2623"/>
                <a:gd name="T56" fmla="*/ 1928 w 2625"/>
                <a:gd name="T57" fmla="*/ 1728 h 2623"/>
                <a:gd name="T58" fmla="*/ 2602 w 2625"/>
                <a:gd name="T59" fmla="*/ 2405 h 2623"/>
                <a:gd name="T60" fmla="*/ 2622 w 2625"/>
                <a:gd name="T61" fmla="*/ 2509 h 2623"/>
                <a:gd name="T62" fmla="*/ 2562 w 2625"/>
                <a:gd name="T63" fmla="*/ 2600 h 2623"/>
                <a:gd name="T64" fmla="*/ 2458 w 2625"/>
                <a:gd name="T65" fmla="*/ 2621 h 2623"/>
                <a:gd name="T66" fmla="*/ 1798 w 2625"/>
                <a:gd name="T67" fmla="*/ 1994 h 2623"/>
                <a:gd name="T68" fmla="*/ 1669 w 2625"/>
                <a:gd name="T69" fmla="*/ 1787 h 2623"/>
                <a:gd name="T70" fmla="*/ 1424 w 2625"/>
                <a:gd name="T71" fmla="*/ 1940 h 2623"/>
                <a:gd name="T72" fmla="*/ 1154 w 2625"/>
                <a:gd name="T73" fmla="*/ 2017 h 2623"/>
                <a:gd name="T74" fmla="*/ 873 w 2625"/>
                <a:gd name="T75" fmla="*/ 2016 h 2623"/>
                <a:gd name="T76" fmla="*/ 600 w 2625"/>
                <a:gd name="T77" fmla="*/ 1938 h 2623"/>
                <a:gd name="T78" fmla="*/ 352 w 2625"/>
                <a:gd name="T79" fmla="*/ 1781 h 2623"/>
                <a:gd name="T80" fmla="*/ 152 w 2625"/>
                <a:gd name="T81" fmla="*/ 1546 h 2623"/>
                <a:gd name="T82" fmla="*/ 34 w 2625"/>
                <a:gd name="T83" fmla="*/ 1270 h 2623"/>
                <a:gd name="T84" fmla="*/ 0 w 2625"/>
                <a:gd name="T85" fmla="*/ 976 h 2623"/>
                <a:gd name="T86" fmla="*/ 55 w 2625"/>
                <a:gd name="T87" fmla="*/ 684 h 2623"/>
                <a:gd name="T88" fmla="*/ 195 w 2625"/>
                <a:gd name="T89" fmla="*/ 415 h 2623"/>
                <a:gd name="T90" fmla="*/ 411 w 2625"/>
                <a:gd name="T91" fmla="*/ 198 h 2623"/>
                <a:gd name="T92" fmla="*/ 666 w 2625"/>
                <a:gd name="T93" fmla="*/ 61 h 2623"/>
                <a:gd name="T94" fmla="*/ 944 w 2625"/>
                <a:gd name="T95" fmla="*/ 2 h 2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625" h="2623">
                  <a:moveTo>
                    <a:pt x="1013" y="169"/>
                  </a:moveTo>
                  <a:lnTo>
                    <a:pt x="949" y="172"/>
                  </a:lnTo>
                  <a:lnTo>
                    <a:pt x="885" y="179"/>
                  </a:lnTo>
                  <a:lnTo>
                    <a:pt x="821" y="192"/>
                  </a:lnTo>
                  <a:lnTo>
                    <a:pt x="758" y="209"/>
                  </a:lnTo>
                  <a:lnTo>
                    <a:pt x="696" y="231"/>
                  </a:lnTo>
                  <a:lnTo>
                    <a:pt x="636" y="258"/>
                  </a:lnTo>
                  <a:lnTo>
                    <a:pt x="578" y="290"/>
                  </a:lnTo>
                  <a:lnTo>
                    <a:pt x="521" y="327"/>
                  </a:lnTo>
                  <a:lnTo>
                    <a:pt x="467" y="369"/>
                  </a:lnTo>
                  <a:lnTo>
                    <a:pt x="416" y="417"/>
                  </a:lnTo>
                  <a:lnTo>
                    <a:pt x="370" y="467"/>
                  </a:lnTo>
                  <a:lnTo>
                    <a:pt x="328" y="522"/>
                  </a:lnTo>
                  <a:lnTo>
                    <a:pt x="290" y="577"/>
                  </a:lnTo>
                  <a:lnTo>
                    <a:pt x="258" y="635"/>
                  </a:lnTo>
                  <a:lnTo>
                    <a:pt x="230" y="696"/>
                  </a:lnTo>
                  <a:lnTo>
                    <a:pt x="208" y="757"/>
                  </a:lnTo>
                  <a:lnTo>
                    <a:pt x="192" y="820"/>
                  </a:lnTo>
                  <a:lnTo>
                    <a:pt x="178" y="884"/>
                  </a:lnTo>
                  <a:lnTo>
                    <a:pt x="172" y="948"/>
                  </a:lnTo>
                  <a:lnTo>
                    <a:pt x="168" y="1014"/>
                  </a:lnTo>
                  <a:lnTo>
                    <a:pt x="172" y="1079"/>
                  </a:lnTo>
                  <a:lnTo>
                    <a:pt x="178" y="1143"/>
                  </a:lnTo>
                  <a:lnTo>
                    <a:pt x="192" y="1207"/>
                  </a:lnTo>
                  <a:lnTo>
                    <a:pt x="208" y="1270"/>
                  </a:lnTo>
                  <a:lnTo>
                    <a:pt x="230" y="1332"/>
                  </a:lnTo>
                  <a:lnTo>
                    <a:pt x="258" y="1392"/>
                  </a:lnTo>
                  <a:lnTo>
                    <a:pt x="290" y="1450"/>
                  </a:lnTo>
                  <a:lnTo>
                    <a:pt x="328" y="1507"/>
                  </a:lnTo>
                  <a:lnTo>
                    <a:pt x="370" y="1560"/>
                  </a:lnTo>
                  <a:lnTo>
                    <a:pt x="416" y="1610"/>
                  </a:lnTo>
                  <a:lnTo>
                    <a:pt x="467" y="1658"/>
                  </a:lnTo>
                  <a:lnTo>
                    <a:pt x="521" y="1700"/>
                  </a:lnTo>
                  <a:lnTo>
                    <a:pt x="578" y="1737"/>
                  </a:lnTo>
                  <a:lnTo>
                    <a:pt x="636" y="1769"/>
                  </a:lnTo>
                  <a:lnTo>
                    <a:pt x="696" y="1796"/>
                  </a:lnTo>
                  <a:lnTo>
                    <a:pt x="758" y="1818"/>
                  </a:lnTo>
                  <a:lnTo>
                    <a:pt x="821" y="1836"/>
                  </a:lnTo>
                  <a:lnTo>
                    <a:pt x="884" y="1848"/>
                  </a:lnTo>
                  <a:lnTo>
                    <a:pt x="949" y="1855"/>
                  </a:lnTo>
                  <a:lnTo>
                    <a:pt x="1013" y="1858"/>
                  </a:lnTo>
                  <a:lnTo>
                    <a:pt x="1079" y="1855"/>
                  </a:lnTo>
                  <a:lnTo>
                    <a:pt x="1143" y="1848"/>
                  </a:lnTo>
                  <a:lnTo>
                    <a:pt x="1207" y="1836"/>
                  </a:lnTo>
                  <a:lnTo>
                    <a:pt x="1270" y="1818"/>
                  </a:lnTo>
                  <a:lnTo>
                    <a:pt x="1332" y="1796"/>
                  </a:lnTo>
                  <a:lnTo>
                    <a:pt x="1392" y="1769"/>
                  </a:lnTo>
                  <a:lnTo>
                    <a:pt x="1450" y="1737"/>
                  </a:lnTo>
                  <a:lnTo>
                    <a:pt x="1507" y="1700"/>
                  </a:lnTo>
                  <a:lnTo>
                    <a:pt x="1560" y="1658"/>
                  </a:lnTo>
                  <a:lnTo>
                    <a:pt x="1612" y="1610"/>
                  </a:lnTo>
                  <a:lnTo>
                    <a:pt x="1658" y="1560"/>
                  </a:lnTo>
                  <a:lnTo>
                    <a:pt x="1700" y="1507"/>
                  </a:lnTo>
                  <a:lnTo>
                    <a:pt x="1738" y="1450"/>
                  </a:lnTo>
                  <a:lnTo>
                    <a:pt x="1770" y="1392"/>
                  </a:lnTo>
                  <a:lnTo>
                    <a:pt x="1797" y="1331"/>
                  </a:lnTo>
                  <a:lnTo>
                    <a:pt x="1820" y="1270"/>
                  </a:lnTo>
                  <a:lnTo>
                    <a:pt x="1836" y="1207"/>
                  </a:lnTo>
                  <a:lnTo>
                    <a:pt x="1849" y="1143"/>
                  </a:lnTo>
                  <a:lnTo>
                    <a:pt x="1856" y="1078"/>
                  </a:lnTo>
                  <a:lnTo>
                    <a:pt x="1859" y="1014"/>
                  </a:lnTo>
                  <a:lnTo>
                    <a:pt x="1856" y="948"/>
                  </a:lnTo>
                  <a:lnTo>
                    <a:pt x="1849" y="884"/>
                  </a:lnTo>
                  <a:lnTo>
                    <a:pt x="1836" y="820"/>
                  </a:lnTo>
                  <a:lnTo>
                    <a:pt x="1820" y="757"/>
                  </a:lnTo>
                  <a:lnTo>
                    <a:pt x="1797" y="695"/>
                  </a:lnTo>
                  <a:lnTo>
                    <a:pt x="1770" y="635"/>
                  </a:lnTo>
                  <a:lnTo>
                    <a:pt x="1738" y="577"/>
                  </a:lnTo>
                  <a:lnTo>
                    <a:pt x="1700" y="520"/>
                  </a:lnTo>
                  <a:lnTo>
                    <a:pt x="1658" y="467"/>
                  </a:lnTo>
                  <a:lnTo>
                    <a:pt x="1612" y="417"/>
                  </a:lnTo>
                  <a:lnTo>
                    <a:pt x="1561" y="369"/>
                  </a:lnTo>
                  <a:lnTo>
                    <a:pt x="1507" y="327"/>
                  </a:lnTo>
                  <a:lnTo>
                    <a:pt x="1450" y="290"/>
                  </a:lnTo>
                  <a:lnTo>
                    <a:pt x="1392" y="258"/>
                  </a:lnTo>
                  <a:lnTo>
                    <a:pt x="1332" y="231"/>
                  </a:lnTo>
                  <a:lnTo>
                    <a:pt x="1270" y="209"/>
                  </a:lnTo>
                  <a:lnTo>
                    <a:pt x="1207" y="192"/>
                  </a:lnTo>
                  <a:lnTo>
                    <a:pt x="1143" y="179"/>
                  </a:lnTo>
                  <a:lnTo>
                    <a:pt x="1079" y="172"/>
                  </a:lnTo>
                  <a:lnTo>
                    <a:pt x="1013" y="169"/>
                  </a:lnTo>
                  <a:close/>
                  <a:moveTo>
                    <a:pt x="1013" y="0"/>
                  </a:moveTo>
                  <a:lnTo>
                    <a:pt x="1084" y="2"/>
                  </a:lnTo>
                  <a:lnTo>
                    <a:pt x="1155" y="9"/>
                  </a:lnTo>
                  <a:lnTo>
                    <a:pt x="1225" y="22"/>
                  </a:lnTo>
                  <a:lnTo>
                    <a:pt x="1294" y="38"/>
                  </a:lnTo>
                  <a:lnTo>
                    <a:pt x="1362" y="61"/>
                  </a:lnTo>
                  <a:lnTo>
                    <a:pt x="1428" y="88"/>
                  </a:lnTo>
                  <a:lnTo>
                    <a:pt x="1494" y="119"/>
                  </a:lnTo>
                  <a:lnTo>
                    <a:pt x="1557" y="157"/>
                  </a:lnTo>
                  <a:lnTo>
                    <a:pt x="1617" y="198"/>
                  </a:lnTo>
                  <a:lnTo>
                    <a:pt x="1675" y="245"/>
                  </a:lnTo>
                  <a:lnTo>
                    <a:pt x="1731" y="296"/>
                  </a:lnTo>
                  <a:lnTo>
                    <a:pt x="1784" y="355"/>
                  </a:lnTo>
                  <a:lnTo>
                    <a:pt x="1833" y="415"/>
                  </a:lnTo>
                  <a:lnTo>
                    <a:pt x="1876" y="480"/>
                  </a:lnTo>
                  <a:lnTo>
                    <a:pt x="1914" y="545"/>
                  </a:lnTo>
                  <a:lnTo>
                    <a:pt x="1946" y="613"/>
                  </a:lnTo>
                  <a:lnTo>
                    <a:pt x="1974" y="683"/>
                  </a:lnTo>
                  <a:lnTo>
                    <a:pt x="1995" y="755"/>
                  </a:lnTo>
                  <a:lnTo>
                    <a:pt x="2011" y="827"/>
                  </a:lnTo>
                  <a:lnTo>
                    <a:pt x="2022" y="900"/>
                  </a:lnTo>
                  <a:lnTo>
                    <a:pt x="2028" y="974"/>
                  </a:lnTo>
                  <a:lnTo>
                    <a:pt x="2028" y="1048"/>
                  </a:lnTo>
                  <a:lnTo>
                    <a:pt x="2022" y="1122"/>
                  </a:lnTo>
                  <a:lnTo>
                    <a:pt x="2012" y="1195"/>
                  </a:lnTo>
                  <a:lnTo>
                    <a:pt x="1996" y="1267"/>
                  </a:lnTo>
                  <a:lnTo>
                    <a:pt x="1975" y="1339"/>
                  </a:lnTo>
                  <a:lnTo>
                    <a:pt x="1948" y="1408"/>
                  </a:lnTo>
                  <a:lnTo>
                    <a:pt x="1916" y="1477"/>
                  </a:lnTo>
                  <a:lnTo>
                    <a:pt x="1880" y="1543"/>
                  </a:lnTo>
                  <a:lnTo>
                    <a:pt x="1836" y="1606"/>
                  </a:lnTo>
                  <a:lnTo>
                    <a:pt x="1789" y="1668"/>
                  </a:lnTo>
                  <a:lnTo>
                    <a:pt x="1874" y="1753"/>
                  </a:lnTo>
                  <a:lnTo>
                    <a:pt x="1913" y="1713"/>
                  </a:lnTo>
                  <a:lnTo>
                    <a:pt x="1928" y="1728"/>
                  </a:lnTo>
                  <a:lnTo>
                    <a:pt x="1945" y="1745"/>
                  </a:lnTo>
                  <a:lnTo>
                    <a:pt x="1996" y="1796"/>
                  </a:lnTo>
                  <a:lnTo>
                    <a:pt x="2584" y="2383"/>
                  </a:lnTo>
                  <a:lnTo>
                    <a:pt x="2602" y="2405"/>
                  </a:lnTo>
                  <a:lnTo>
                    <a:pt x="2614" y="2430"/>
                  </a:lnTo>
                  <a:lnTo>
                    <a:pt x="2622" y="2456"/>
                  </a:lnTo>
                  <a:lnTo>
                    <a:pt x="2625" y="2483"/>
                  </a:lnTo>
                  <a:lnTo>
                    <a:pt x="2622" y="2509"/>
                  </a:lnTo>
                  <a:lnTo>
                    <a:pt x="2614" y="2536"/>
                  </a:lnTo>
                  <a:lnTo>
                    <a:pt x="2602" y="2560"/>
                  </a:lnTo>
                  <a:lnTo>
                    <a:pt x="2584" y="2582"/>
                  </a:lnTo>
                  <a:lnTo>
                    <a:pt x="2562" y="2600"/>
                  </a:lnTo>
                  <a:lnTo>
                    <a:pt x="2538" y="2613"/>
                  </a:lnTo>
                  <a:lnTo>
                    <a:pt x="2511" y="2621"/>
                  </a:lnTo>
                  <a:lnTo>
                    <a:pt x="2485" y="2623"/>
                  </a:lnTo>
                  <a:lnTo>
                    <a:pt x="2458" y="2621"/>
                  </a:lnTo>
                  <a:lnTo>
                    <a:pt x="2431" y="2613"/>
                  </a:lnTo>
                  <a:lnTo>
                    <a:pt x="2407" y="2600"/>
                  </a:lnTo>
                  <a:lnTo>
                    <a:pt x="2385" y="2582"/>
                  </a:lnTo>
                  <a:lnTo>
                    <a:pt x="1798" y="1994"/>
                  </a:lnTo>
                  <a:lnTo>
                    <a:pt x="1747" y="1943"/>
                  </a:lnTo>
                  <a:lnTo>
                    <a:pt x="1715" y="1911"/>
                  </a:lnTo>
                  <a:lnTo>
                    <a:pt x="1755" y="1873"/>
                  </a:lnTo>
                  <a:lnTo>
                    <a:pt x="1669" y="1787"/>
                  </a:lnTo>
                  <a:lnTo>
                    <a:pt x="1611" y="1833"/>
                  </a:lnTo>
                  <a:lnTo>
                    <a:pt x="1551" y="1874"/>
                  </a:lnTo>
                  <a:lnTo>
                    <a:pt x="1488" y="1909"/>
                  </a:lnTo>
                  <a:lnTo>
                    <a:pt x="1424" y="1940"/>
                  </a:lnTo>
                  <a:lnTo>
                    <a:pt x="1357" y="1966"/>
                  </a:lnTo>
                  <a:lnTo>
                    <a:pt x="1291" y="1989"/>
                  </a:lnTo>
                  <a:lnTo>
                    <a:pt x="1223" y="2005"/>
                  </a:lnTo>
                  <a:lnTo>
                    <a:pt x="1154" y="2017"/>
                  </a:lnTo>
                  <a:lnTo>
                    <a:pt x="1084" y="2024"/>
                  </a:lnTo>
                  <a:lnTo>
                    <a:pt x="1013" y="2026"/>
                  </a:lnTo>
                  <a:lnTo>
                    <a:pt x="944" y="2024"/>
                  </a:lnTo>
                  <a:lnTo>
                    <a:pt x="873" y="2016"/>
                  </a:lnTo>
                  <a:lnTo>
                    <a:pt x="803" y="2004"/>
                  </a:lnTo>
                  <a:lnTo>
                    <a:pt x="734" y="1987"/>
                  </a:lnTo>
                  <a:lnTo>
                    <a:pt x="666" y="1965"/>
                  </a:lnTo>
                  <a:lnTo>
                    <a:pt x="600" y="1938"/>
                  </a:lnTo>
                  <a:lnTo>
                    <a:pt x="535" y="1906"/>
                  </a:lnTo>
                  <a:lnTo>
                    <a:pt x="472" y="1869"/>
                  </a:lnTo>
                  <a:lnTo>
                    <a:pt x="411" y="1827"/>
                  </a:lnTo>
                  <a:lnTo>
                    <a:pt x="352" y="1781"/>
                  </a:lnTo>
                  <a:lnTo>
                    <a:pt x="297" y="1730"/>
                  </a:lnTo>
                  <a:lnTo>
                    <a:pt x="244" y="1671"/>
                  </a:lnTo>
                  <a:lnTo>
                    <a:pt x="195" y="1610"/>
                  </a:lnTo>
                  <a:lnTo>
                    <a:pt x="152" y="1546"/>
                  </a:lnTo>
                  <a:lnTo>
                    <a:pt x="114" y="1480"/>
                  </a:lnTo>
                  <a:lnTo>
                    <a:pt x="82" y="1411"/>
                  </a:lnTo>
                  <a:lnTo>
                    <a:pt x="55" y="1342"/>
                  </a:lnTo>
                  <a:lnTo>
                    <a:pt x="34" y="1270"/>
                  </a:lnTo>
                  <a:lnTo>
                    <a:pt x="17" y="1197"/>
                  </a:lnTo>
                  <a:lnTo>
                    <a:pt x="6" y="1124"/>
                  </a:lnTo>
                  <a:lnTo>
                    <a:pt x="0" y="1050"/>
                  </a:lnTo>
                  <a:lnTo>
                    <a:pt x="0" y="976"/>
                  </a:lnTo>
                  <a:lnTo>
                    <a:pt x="6" y="902"/>
                  </a:lnTo>
                  <a:lnTo>
                    <a:pt x="17" y="829"/>
                  </a:lnTo>
                  <a:lnTo>
                    <a:pt x="34" y="756"/>
                  </a:lnTo>
                  <a:lnTo>
                    <a:pt x="55" y="684"/>
                  </a:lnTo>
                  <a:lnTo>
                    <a:pt x="82" y="614"/>
                  </a:lnTo>
                  <a:lnTo>
                    <a:pt x="114" y="546"/>
                  </a:lnTo>
                  <a:lnTo>
                    <a:pt x="152" y="480"/>
                  </a:lnTo>
                  <a:lnTo>
                    <a:pt x="195" y="415"/>
                  </a:lnTo>
                  <a:lnTo>
                    <a:pt x="244" y="355"/>
                  </a:lnTo>
                  <a:lnTo>
                    <a:pt x="297" y="296"/>
                  </a:lnTo>
                  <a:lnTo>
                    <a:pt x="352" y="245"/>
                  </a:lnTo>
                  <a:lnTo>
                    <a:pt x="411" y="198"/>
                  </a:lnTo>
                  <a:lnTo>
                    <a:pt x="472" y="157"/>
                  </a:lnTo>
                  <a:lnTo>
                    <a:pt x="535" y="119"/>
                  </a:lnTo>
                  <a:lnTo>
                    <a:pt x="600" y="88"/>
                  </a:lnTo>
                  <a:lnTo>
                    <a:pt x="666" y="61"/>
                  </a:lnTo>
                  <a:lnTo>
                    <a:pt x="734" y="38"/>
                  </a:lnTo>
                  <a:lnTo>
                    <a:pt x="803" y="22"/>
                  </a:lnTo>
                  <a:lnTo>
                    <a:pt x="873" y="9"/>
                  </a:lnTo>
                  <a:lnTo>
                    <a:pt x="944" y="2"/>
                  </a:lnTo>
                  <a:lnTo>
                    <a:pt x="1013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p>
              <a:endParaRPr lang="en-US" dirty="0"/>
            </a:p>
          </p:txBody>
        </p:sp>
        <p:sp>
          <p:nvSpPr>
            <p:cNvPr id="27" name="Freeform 68"/>
            <p:cNvSpPr/>
            <p:nvPr/>
          </p:nvSpPr>
          <p:spPr bwMode="auto">
            <a:xfrm>
              <a:off x="7147096" y="3834938"/>
              <a:ext cx="119708" cy="209791"/>
            </a:xfrm>
            <a:custGeom>
              <a:avLst/>
              <a:gdLst>
                <a:gd name="T0" fmla="*/ 832 w 991"/>
                <a:gd name="T1" fmla="*/ 0 h 1735"/>
                <a:gd name="T2" fmla="*/ 755 w 991"/>
                <a:gd name="T3" fmla="*/ 145 h 1735"/>
                <a:gd name="T4" fmla="*/ 701 w 991"/>
                <a:gd name="T5" fmla="*/ 298 h 1735"/>
                <a:gd name="T6" fmla="*/ 669 w 991"/>
                <a:gd name="T7" fmla="*/ 455 h 1735"/>
                <a:gd name="T8" fmla="*/ 658 w 991"/>
                <a:gd name="T9" fmla="*/ 614 h 1735"/>
                <a:gd name="T10" fmla="*/ 670 w 991"/>
                <a:gd name="T11" fmla="*/ 773 h 1735"/>
                <a:gd name="T12" fmla="*/ 703 w 991"/>
                <a:gd name="T13" fmla="*/ 930 h 1735"/>
                <a:gd name="T14" fmla="*/ 758 w 991"/>
                <a:gd name="T15" fmla="*/ 1082 h 1735"/>
                <a:gd name="T16" fmla="*/ 835 w 991"/>
                <a:gd name="T17" fmla="*/ 1227 h 1735"/>
                <a:gd name="T18" fmla="*/ 934 w 991"/>
                <a:gd name="T19" fmla="*/ 1361 h 1735"/>
                <a:gd name="T20" fmla="*/ 917 w 991"/>
                <a:gd name="T21" fmla="*/ 1479 h 1735"/>
                <a:gd name="T22" fmla="*/ 814 w 991"/>
                <a:gd name="T23" fmla="*/ 1564 h 1735"/>
                <a:gd name="T24" fmla="*/ 767 w 991"/>
                <a:gd name="T25" fmla="*/ 1626 h 1735"/>
                <a:gd name="T26" fmla="*/ 736 w 991"/>
                <a:gd name="T27" fmla="*/ 1696 h 1735"/>
                <a:gd name="T28" fmla="*/ 0 w 991"/>
                <a:gd name="T29" fmla="*/ 1735 h 1735"/>
                <a:gd name="T30" fmla="*/ 2 w 991"/>
                <a:gd name="T31" fmla="*/ 1479 h 1735"/>
                <a:gd name="T32" fmla="*/ 22 w 991"/>
                <a:gd name="T33" fmla="*/ 1427 h 1735"/>
                <a:gd name="T34" fmla="*/ 59 w 991"/>
                <a:gd name="T35" fmla="*/ 1384 h 1735"/>
                <a:gd name="T36" fmla="*/ 146 w 991"/>
                <a:gd name="T37" fmla="*/ 1316 h 1735"/>
                <a:gd name="T38" fmla="*/ 233 w 991"/>
                <a:gd name="T39" fmla="*/ 1255 h 1735"/>
                <a:gd name="T40" fmla="*/ 315 w 991"/>
                <a:gd name="T41" fmla="*/ 1202 h 1735"/>
                <a:gd name="T42" fmla="*/ 388 w 991"/>
                <a:gd name="T43" fmla="*/ 1158 h 1735"/>
                <a:gd name="T44" fmla="*/ 451 w 991"/>
                <a:gd name="T45" fmla="*/ 1122 h 1735"/>
                <a:gd name="T46" fmla="*/ 499 w 991"/>
                <a:gd name="T47" fmla="*/ 1097 h 1735"/>
                <a:gd name="T48" fmla="*/ 528 w 991"/>
                <a:gd name="T49" fmla="*/ 1082 h 1735"/>
                <a:gd name="T50" fmla="*/ 534 w 991"/>
                <a:gd name="T51" fmla="*/ 1077 h 1735"/>
                <a:gd name="T52" fmla="*/ 536 w 991"/>
                <a:gd name="T53" fmla="*/ 1069 h 1735"/>
                <a:gd name="T54" fmla="*/ 514 w 991"/>
                <a:gd name="T55" fmla="*/ 733 h 1735"/>
                <a:gd name="T56" fmla="*/ 481 w 991"/>
                <a:gd name="T57" fmla="*/ 686 h 1735"/>
                <a:gd name="T58" fmla="*/ 470 w 991"/>
                <a:gd name="T59" fmla="*/ 627 h 1735"/>
                <a:gd name="T60" fmla="*/ 473 w 991"/>
                <a:gd name="T61" fmla="*/ 253 h 1735"/>
                <a:gd name="T62" fmla="*/ 498 w 991"/>
                <a:gd name="T63" fmla="*/ 172 h 1735"/>
                <a:gd name="T64" fmla="*/ 543 w 991"/>
                <a:gd name="T65" fmla="*/ 102 h 1735"/>
                <a:gd name="T66" fmla="*/ 605 w 991"/>
                <a:gd name="T67" fmla="*/ 48 h 1735"/>
                <a:gd name="T68" fmla="*/ 681 w 991"/>
                <a:gd name="T69" fmla="*/ 12 h 1735"/>
                <a:gd name="T70" fmla="*/ 767 w 991"/>
                <a:gd name="T71" fmla="*/ 0 h 17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91" h="1735">
                  <a:moveTo>
                    <a:pt x="767" y="0"/>
                  </a:moveTo>
                  <a:lnTo>
                    <a:pt x="832" y="0"/>
                  </a:lnTo>
                  <a:lnTo>
                    <a:pt x="791" y="72"/>
                  </a:lnTo>
                  <a:lnTo>
                    <a:pt x="755" y="145"/>
                  </a:lnTo>
                  <a:lnTo>
                    <a:pt x="726" y="220"/>
                  </a:lnTo>
                  <a:lnTo>
                    <a:pt x="701" y="298"/>
                  </a:lnTo>
                  <a:lnTo>
                    <a:pt x="682" y="376"/>
                  </a:lnTo>
                  <a:lnTo>
                    <a:pt x="669" y="455"/>
                  </a:lnTo>
                  <a:lnTo>
                    <a:pt x="661" y="534"/>
                  </a:lnTo>
                  <a:lnTo>
                    <a:pt x="658" y="614"/>
                  </a:lnTo>
                  <a:lnTo>
                    <a:pt x="661" y="693"/>
                  </a:lnTo>
                  <a:lnTo>
                    <a:pt x="670" y="773"/>
                  </a:lnTo>
                  <a:lnTo>
                    <a:pt x="684" y="853"/>
                  </a:lnTo>
                  <a:lnTo>
                    <a:pt x="703" y="930"/>
                  </a:lnTo>
                  <a:lnTo>
                    <a:pt x="728" y="1007"/>
                  </a:lnTo>
                  <a:lnTo>
                    <a:pt x="758" y="1082"/>
                  </a:lnTo>
                  <a:lnTo>
                    <a:pt x="794" y="1155"/>
                  </a:lnTo>
                  <a:lnTo>
                    <a:pt x="835" y="1227"/>
                  </a:lnTo>
                  <a:lnTo>
                    <a:pt x="882" y="1296"/>
                  </a:lnTo>
                  <a:lnTo>
                    <a:pt x="934" y="1361"/>
                  </a:lnTo>
                  <a:lnTo>
                    <a:pt x="991" y="1424"/>
                  </a:lnTo>
                  <a:lnTo>
                    <a:pt x="917" y="1479"/>
                  </a:lnTo>
                  <a:lnTo>
                    <a:pt x="843" y="1538"/>
                  </a:lnTo>
                  <a:lnTo>
                    <a:pt x="814" y="1564"/>
                  </a:lnTo>
                  <a:lnTo>
                    <a:pt x="789" y="1594"/>
                  </a:lnTo>
                  <a:lnTo>
                    <a:pt x="767" y="1626"/>
                  </a:lnTo>
                  <a:lnTo>
                    <a:pt x="749" y="1661"/>
                  </a:lnTo>
                  <a:lnTo>
                    <a:pt x="736" y="1696"/>
                  </a:lnTo>
                  <a:lnTo>
                    <a:pt x="726" y="1735"/>
                  </a:lnTo>
                  <a:lnTo>
                    <a:pt x="0" y="1735"/>
                  </a:lnTo>
                  <a:lnTo>
                    <a:pt x="0" y="1508"/>
                  </a:lnTo>
                  <a:lnTo>
                    <a:pt x="2" y="1479"/>
                  </a:lnTo>
                  <a:lnTo>
                    <a:pt x="10" y="1453"/>
                  </a:lnTo>
                  <a:lnTo>
                    <a:pt x="22" y="1427"/>
                  </a:lnTo>
                  <a:lnTo>
                    <a:pt x="38" y="1404"/>
                  </a:lnTo>
                  <a:lnTo>
                    <a:pt x="59" y="1384"/>
                  </a:lnTo>
                  <a:lnTo>
                    <a:pt x="102" y="1349"/>
                  </a:lnTo>
                  <a:lnTo>
                    <a:pt x="146" y="1316"/>
                  </a:lnTo>
                  <a:lnTo>
                    <a:pt x="190" y="1285"/>
                  </a:lnTo>
                  <a:lnTo>
                    <a:pt x="233" y="1255"/>
                  </a:lnTo>
                  <a:lnTo>
                    <a:pt x="274" y="1227"/>
                  </a:lnTo>
                  <a:lnTo>
                    <a:pt x="315" y="1202"/>
                  </a:lnTo>
                  <a:lnTo>
                    <a:pt x="353" y="1179"/>
                  </a:lnTo>
                  <a:lnTo>
                    <a:pt x="388" y="1158"/>
                  </a:lnTo>
                  <a:lnTo>
                    <a:pt x="421" y="1139"/>
                  </a:lnTo>
                  <a:lnTo>
                    <a:pt x="451" y="1122"/>
                  </a:lnTo>
                  <a:lnTo>
                    <a:pt x="477" y="1109"/>
                  </a:lnTo>
                  <a:lnTo>
                    <a:pt x="499" y="1097"/>
                  </a:lnTo>
                  <a:lnTo>
                    <a:pt x="515" y="1089"/>
                  </a:lnTo>
                  <a:lnTo>
                    <a:pt x="528" y="1082"/>
                  </a:lnTo>
                  <a:lnTo>
                    <a:pt x="532" y="1080"/>
                  </a:lnTo>
                  <a:lnTo>
                    <a:pt x="534" y="1077"/>
                  </a:lnTo>
                  <a:lnTo>
                    <a:pt x="535" y="1074"/>
                  </a:lnTo>
                  <a:lnTo>
                    <a:pt x="536" y="1069"/>
                  </a:lnTo>
                  <a:lnTo>
                    <a:pt x="536" y="751"/>
                  </a:lnTo>
                  <a:lnTo>
                    <a:pt x="514" y="733"/>
                  </a:lnTo>
                  <a:lnTo>
                    <a:pt x="496" y="711"/>
                  </a:lnTo>
                  <a:lnTo>
                    <a:pt x="481" y="686"/>
                  </a:lnTo>
                  <a:lnTo>
                    <a:pt x="472" y="657"/>
                  </a:lnTo>
                  <a:lnTo>
                    <a:pt x="470" y="627"/>
                  </a:lnTo>
                  <a:lnTo>
                    <a:pt x="470" y="298"/>
                  </a:lnTo>
                  <a:lnTo>
                    <a:pt x="473" y="253"/>
                  </a:lnTo>
                  <a:lnTo>
                    <a:pt x="482" y="211"/>
                  </a:lnTo>
                  <a:lnTo>
                    <a:pt x="498" y="172"/>
                  </a:lnTo>
                  <a:lnTo>
                    <a:pt x="518" y="135"/>
                  </a:lnTo>
                  <a:lnTo>
                    <a:pt x="543" y="102"/>
                  </a:lnTo>
                  <a:lnTo>
                    <a:pt x="572" y="73"/>
                  </a:lnTo>
                  <a:lnTo>
                    <a:pt x="605" y="48"/>
                  </a:lnTo>
                  <a:lnTo>
                    <a:pt x="642" y="28"/>
                  </a:lnTo>
                  <a:lnTo>
                    <a:pt x="681" y="12"/>
                  </a:lnTo>
                  <a:lnTo>
                    <a:pt x="723" y="3"/>
                  </a:lnTo>
                  <a:lnTo>
                    <a:pt x="767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p>
              <a:endParaRPr lang="en-US" dirty="0"/>
            </a:p>
          </p:txBody>
        </p:sp>
      </p:grp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直线连接符 3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/>
          <p:cNvCxnSpPr/>
          <p:nvPr/>
        </p:nvCxnSpPr>
        <p:spPr>
          <a:xfrm>
            <a:off x="725817" y="2640474"/>
            <a:ext cx="10591442" cy="0"/>
          </a:xfrm>
          <a:prstGeom prst="line">
            <a:avLst/>
          </a:prstGeom>
          <a:ln w="508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A_文本框 21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/>
          <p:cNvSpPr txBox="1"/>
          <p:nvPr>
            <p:custDataLst>
              <p:tags r:id="rId1"/>
            </p:custDataLst>
          </p:nvPr>
        </p:nvSpPr>
        <p:spPr>
          <a:xfrm>
            <a:off x="3824605" y="1777365"/>
            <a:ext cx="6821170" cy="46164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zh-CN"/>
            </a:defPPr>
            <a:lvl1pPr marL="12700" marR="0" lvl="0" indent="0" fontAlgn="auto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defRPr kumimoji="0" sz="2400" b="1" i="0" u="none" strike="noStrike" cap="none" spc="0" normalizeH="0" baseline="0">
                <a:ln>
                  <a:noFill/>
                </a:ln>
                <a:solidFill>
                  <a:srgbClr val="F05A23"/>
                </a:solidFill>
                <a:effectLst/>
                <a:uLnTx/>
                <a:uFillTx/>
                <a:latin typeface="Arial" panose="020B0604020202090204"/>
                <a:ea typeface="华文楷体" panose="02010600040101010101" pitchFamily="2" charset="-122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  <a:lvl6pPr>
              <a:defRPr>
                <a:latin typeface="+mn-lt"/>
                <a:ea typeface="+mn-ea"/>
                <a:cs typeface="+mn-cs"/>
              </a:defRPr>
            </a:lvl6pPr>
            <a:lvl7pPr>
              <a:defRPr>
                <a:latin typeface="+mn-lt"/>
                <a:ea typeface="+mn-ea"/>
                <a:cs typeface="+mn-cs"/>
              </a:defRPr>
            </a:lvl7pPr>
            <a:lvl8pPr>
              <a:defRPr>
                <a:latin typeface="+mn-lt"/>
                <a:ea typeface="+mn-ea"/>
                <a:cs typeface="+mn-cs"/>
              </a:defRPr>
            </a:lvl8pPr>
            <a:lvl9pPr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3200" dirty="0"/>
              <a:t>小练习：</a:t>
            </a:r>
            <a:r>
              <a:rPr lang="zh-CN" altLang="en-US" sz="3200" dirty="0" smtClean="0">
                <a:sym typeface="+mn-ea"/>
              </a:rPr>
              <a:t>寻找相似样本</a:t>
            </a:r>
            <a:endParaRPr lang="zh-CN" altLang="en-US" sz="3200" dirty="0"/>
          </a:p>
        </p:txBody>
      </p:sp>
      <p:sp>
        <p:nvSpPr>
          <p:cNvPr id="3" name="e7d195523061f1c0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 hidden="1"/>
          <p:cNvSpPr txBox="1"/>
          <p:nvPr/>
        </p:nvSpPr>
        <p:spPr>
          <a:xfrm>
            <a:off x="-355600" y="1803400"/>
            <a:ext cx="26225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/>
              <a:t>e7d195523061f1c0d318120d6aeaf1b6ccceb6ba3da59c0775C5DE19DDDEBC09ED96DBD9900D9848D623ECAD1D4904B78047D0015C22C8BE97228BE8B5BFF08FE7A3AE04126DA07312A96C0F69F9BAB71A8D4487C13BBD21E3F9DE587F01A2EC9B24CE25FF0E9B2136662A47C8B58C275121A88EC20F5D58602B203067E5F6C927344A314878098B</a:t>
            </a:r>
            <a:endParaRPr lang="zh-CN" altLang="en-US" sz="100"/>
          </a:p>
        </p:txBody>
      </p:sp>
      <p:grpSp>
        <p:nvGrpSpPr>
          <p:cNvPr id="9" name="组合 8"/>
          <p:cNvGrpSpPr/>
          <p:nvPr/>
        </p:nvGrpSpPr>
        <p:grpSpPr>
          <a:xfrm>
            <a:off x="812799" y="551745"/>
            <a:ext cx="2344293" cy="1885528"/>
            <a:chOff x="3207781" y="1105990"/>
            <a:chExt cx="5776438" cy="4646020"/>
          </a:xfrm>
        </p:grpSpPr>
        <p:sp>
          <p:nvSpPr>
            <p:cNvPr id="10" name="任意多边形 4"/>
            <p:cNvSpPr/>
            <p:nvPr/>
          </p:nvSpPr>
          <p:spPr>
            <a:xfrm>
              <a:off x="3598883" y="5220505"/>
              <a:ext cx="5385336" cy="531505"/>
            </a:xfrm>
            <a:custGeom>
              <a:avLst/>
              <a:gdLst>
                <a:gd name="connsiteX0" fmla="*/ -514 w 4756429"/>
                <a:gd name="connsiteY0" fmla="*/ 234476 h 469435"/>
                <a:gd name="connsiteX1" fmla="*/ 2377732 w 4756429"/>
                <a:gd name="connsiteY1" fmla="*/ -210 h 469435"/>
                <a:gd name="connsiteX2" fmla="*/ 4755915 w 4756429"/>
                <a:gd name="connsiteY2" fmla="*/ 234476 h 469435"/>
                <a:gd name="connsiteX3" fmla="*/ 2377732 w 4756429"/>
                <a:gd name="connsiteY3" fmla="*/ 469226 h 469435"/>
                <a:gd name="connsiteX4" fmla="*/ -514 w 4756429"/>
                <a:gd name="connsiteY4" fmla="*/ 234476 h 469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56429" h="469435">
                  <a:moveTo>
                    <a:pt x="-514" y="234476"/>
                  </a:moveTo>
                  <a:cubicBezTo>
                    <a:pt x="-514" y="104871"/>
                    <a:pt x="1064277" y="-210"/>
                    <a:pt x="2377732" y="-210"/>
                  </a:cubicBezTo>
                  <a:cubicBezTo>
                    <a:pt x="3691187" y="-210"/>
                    <a:pt x="4755915" y="104871"/>
                    <a:pt x="4755915" y="234476"/>
                  </a:cubicBezTo>
                  <a:cubicBezTo>
                    <a:pt x="4755915" y="364081"/>
                    <a:pt x="3691187" y="469226"/>
                    <a:pt x="2377732" y="469226"/>
                  </a:cubicBezTo>
                  <a:cubicBezTo>
                    <a:pt x="1064277" y="469226"/>
                    <a:pt x="-514" y="364144"/>
                    <a:pt x="-514" y="234476"/>
                  </a:cubicBezTo>
                  <a:close/>
                </a:path>
              </a:pathLst>
            </a:custGeom>
            <a:solidFill>
              <a:srgbClr val="E8E8E8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 5"/>
            <p:cNvSpPr/>
            <p:nvPr/>
          </p:nvSpPr>
          <p:spPr>
            <a:xfrm>
              <a:off x="4313321" y="3382454"/>
              <a:ext cx="883608" cy="1118025"/>
            </a:xfrm>
            <a:custGeom>
              <a:avLst/>
              <a:gdLst>
                <a:gd name="connsiteX0" fmla="*/ 304303 w 780419"/>
                <a:gd name="connsiteY0" fmla="*/ 118570 h 987461"/>
                <a:gd name="connsiteX1" fmla="*/ 254240 w 780419"/>
                <a:gd name="connsiteY1" fmla="*/ 127782 h 987461"/>
                <a:gd name="connsiteX2" fmla="*/ 200428 w 780419"/>
                <a:gd name="connsiteY2" fmla="*/ 182038 h 987461"/>
                <a:gd name="connsiteX3" fmla="*/ 189374 w 780419"/>
                <a:gd name="connsiteY3" fmla="*/ 260437 h 987461"/>
                <a:gd name="connsiteX4" fmla="*/ 195727 w 780419"/>
                <a:gd name="connsiteY4" fmla="*/ 517740 h 987461"/>
                <a:gd name="connsiteX5" fmla="*/ 71395 w 780419"/>
                <a:gd name="connsiteY5" fmla="*/ 592835 h 987461"/>
                <a:gd name="connsiteX6" fmla="*/ 24001 w 780419"/>
                <a:gd name="connsiteY6" fmla="*/ 840164 h 987461"/>
                <a:gd name="connsiteX7" fmla="*/ 249411 w 780419"/>
                <a:gd name="connsiteY7" fmla="*/ 982284 h 987461"/>
                <a:gd name="connsiteX8" fmla="*/ 522597 w 780419"/>
                <a:gd name="connsiteY8" fmla="*/ 959286 h 987461"/>
                <a:gd name="connsiteX9" fmla="*/ 699597 w 780419"/>
                <a:gd name="connsiteY9" fmla="*/ 889401 h 987461"/>
                <a:gd name="connsiteX10" fmla="*/ 708555 w 780419"/>
                <a:gd name="connsiteY10" fmla="*/ 575617 h 987461"/>
                <a:gd name="connsiteX11" fmla="*/ 764082 w 780419"/>
                <a:gd name="connsiteY11" fmla="*/ 389088 h 987461"/>
                <a:gd name="connsiteX12" fmla="*/ 606968 w 780419"/>
                <a:gd name="connsiteY12" fmla="*/ 27466 h 987461"/>
                <a:gd name="connsiteX13" fmla="*/ 304303 w 780419"/>
                <a:gd name="connsiteY13" fmla="*/ 118761 h 987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80419" h="987461">
                  <a:moveTo>
                    <a:pt x="304303" y="118570"/>
                  </a:moveTo>
                  <a:cubicBezTo>
                    <a:pt x="307860" y="110184"/>
                    <a:pt x="258432" y="125940"/>
                    <a:pt x="254240" y="127782"/>
                  </a:cubicBezTo>
                  <a:cubicBezTo>
                    <a:pt x="230002" y="138284"/>
                    <a:pt x="210733" y="157712"/>
                    <a:pt x="200428" y="182038"/>
                  </a:cubicBezTo>
                  <a:cubicBezTo>
                    <a:pt x="191299" y="207108"/>
                    <a:pt x="187531" y="233817"/>
                    <a:pt x="189374" y="260437"/>
                  </a:cubicBezTo>
                  <a:cubicBezTo>
                    <a:pt x="191216" y="342393"/>
                    <a:pt x="253985" y="444679"/>
                    <a:pt x="195727" y="517740"/>
                  </a:cubicBezTo>
                  <a:cubicBezTo>
                    <a:pt x="165486" y="555478"/>
                    <a:pt x="111484" y="565706"/>
                    <a:pt x="71395" y="592835"/>
                  </a:cubicBezTo>
                  <a:cubicBezTo>
                    <a:pt x="-4843" y="644295"/>
                    <a:pt x="-20154" y="759351"/>
                    <a:pt x="24001" y="840164"/>
                  </a:cubicBezTo>
                  <a:cubicBezTo>
                    <a:pt x="68155" y="920976"/>
                    <a:pt x="158306" y="968752"/>
                    <a:pt x="249411" y="982284"/>
                  </a:cubicBezTo>
                  <a:cubicBezTo>
                    <a:pt x="340516" y="995816"/>
                    <a:pt x="433081" y="979552"/>
                    <a:pt x="522597" y="959286"/>
                  </a:cubicBezTo>
                  <a:cubicBezTo>
                    <a:pt x="584986" y="945182"/>
                    <a:pt x="648835" y="928092"/>
                    <a:pt x="699597" y="889401"/>
                  </a:cubicBezTo>
                  <a:cubicBezTo>
                    <a:pt x="819354" y="797724"/>
                    <a:pt x="763510" y="682986"/>
                    <a:pt x="708555" y="575617"/>
                  </a:cubicBezTo>
                  <a:cubicBezTo>
                    <a:pt x="673358" y="506876"/>
                    <a:pt x="736509" y="474475"/>
                    <a:pt x="764082" y="389088"/>
                  </a:cubicBezTo>
                  <a:cubicBezTo>
                    <a:pt x="813700" y="235469"/>
                    <a:pt x="742608" y="86360"/>
                    <a:pt x="606968" y="27466"/>
                  </a:cubicBezTo>
                  <a:cubicBezTo>
                    <a:pt x="384225" y="-69039"/>
                    <a:pt x="304747" y="117744"/>
                    <a:pt x="304303" y="118761"/>
                  </a:cubicBezTo>
                  <a:close/>
                </a:path>
              </a:pathLst>
            </a:custGeom>
            <a:solidFill>
              <a:srgbClr val="971D0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 6"/>
            <p:cNvSpPr/>
            <p:nvPr/>
          </p:nvSpPr>
          <p:spPr>
            <a:xfrm>
              <a:off x="4743753" y="3967018"/>
              <a:ext cx="251762" cy="311178"/>
            </a:xfrm>
            <a:custGeom>
              <a:avLst/>
              <a:gdLst>
                <a:gd name="connsiteX0" fmla="*/ 110730 w 222361"/>
                <a:gd name="connsiteY0" fmla="*/ 274628 h 274838"/>
                <a:gd name="connsiteX1" fmla="*/ 110730 w 222361"/>
                <a:gd name="connsiteY1" fmla="*/ 274628 h 274838"/>
                <a:gd name="connsiteX2" fmla="*/ -514 w 222361"/>
                <a:gd name="connsiteY2" fmla="*/ 126853 h 274838"/>
                <a:gd name="connsiteX3" fmla="*/ -514 w 222361"/>
                <a:gd name="connsiteY3" fmla="*/ -210 h 274838"/>
                <a:gd name="connsiteX4" fmla="*/ 221847 w 222361"/>
                <a:gd name="connsiteY4" fmla="*/ -210 h 274838"/>
                <a:gd name="connsiteX5" fmla="*/ 221847 w 222361"/>
                <a:gd name="connsiteY5" fmla="*/ 126853 h 274838"/>
                <a:gd name="connsiteX6" fmla="*/ 111937 w 222361"/>
                <a:gd name="connsiteY6" fmla="*/ 274628 h 274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2361" h="274838">
                  <a:moveTo>
                    <a:pt x="110730" y="274628"/>
                  </a:moveTo>
                  <a:lnTo>
                    <a:pt x="110730" y="274628"/>
                  </a:lnTo>
                  <a:cubicBezTo>
                    <a:pt x="49358" y="274628"/>
                    <a:pt x="-451" y="163639"/>
                    <a:pt x="-514" y="126853"/>
                  </a:cubicBezTo>
                  <a:lnTo>
                    <a:pt x="-514" y="-210"/>
                  </a:lnTo>
                  <a:lnTo>
                    <a:pt x="221847" y="-210"/>
                  </a:lnTo>
                  <a:lnTo>
                    <a:pt x="221847" y="126853"/>
                  </a:lnTo>
                  <a:cubicBezTo>
                    <a:pt x="221847" y="163448"/>
                    <a:pt x="172991" y="274438"/>
                    <a:pt x="111937" y="274628"/>
                  </a:cubicBez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 7"/>
            <p:cNvSpPr/>
            <p:nvPr/>
          </p:nvSpPr>
          <p:spPr>
            <a:xfrm>
              <a:off x="4572555" y="3764605"/>
              <a:ext cx="121406" cy="141542"/>
            </a:xfrm>
            <a:custGeom>
              <a:avLst/>
              <a:gdLst>
                <a:gd name="connsiteX0" fmla="*/ 77312 w 107228"/>
                <a:gd name="connsiteY0" fmla="*/ 27741 h 125013"/>
                <a:gd name="connsiteX1" fmla="*/ -514 w 107228"/>
                <a:gd name="connsiteY1" fmla="*/ 46801 h 125013"/>
                <a:gd name="connsiteX2" fmla="*/ 94783 w 107228"/>
                <a:gd name="connsiteY2" fmla="*/ 110332 h 125013"/>
                <a:gd name="connsiteX3" fmla="*/ 77312 w 107228"/>
                <a:gd name="connsiteY3" fmla="*/ 27741 h 125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228" h="125013">
                  <a:moveTo>
                    <a:pt x="77312" y="27741"/>
                  </a:moveTo>
                  <a:cubicBezTo>
                    <a:pt x="41226" y="-26515"/>
                    <a:pt x="-514" y="8364"/>
                    <a:pt x="-514" y="46801"/>
                  </a:cubicBezTo>
                  <a:cubicBezTo>
                    <a:pt x="-514" y="102073"/>
                    <a:pt x="60031" y="149722"/>
                    <a:pt x="94783" y="110332"/>
                  </a:cubicBezTo>
                  <a:cubicBezTo>
                    <a:pt x="129535" y="70943"/>
                    <a:pt x="77312" y="27741"/>
                    <a:pt x="77312" y="2774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 8"/>
            <p:cNvSpPr/>
            <p:nvPr/>
          </p:nvSpPr>
          <p:spPr>
            <a:xfrm>
              <a:off x="5034066" y="3764605"/>
              <a:ext cx="121425" cy="141542"/>
            </a:xfrm>
            <a:custGeom>
              <a:avLst/>
              <a:gdLst>
                <a:gd name="connsiteX0" fmla="*/ 28968 w 107245"/>
                <a:gd name="connsiteY0" fmla="*/ 27741 h 125013"/>
                <a:gd name="connsiteX1" fmla="*/ 106731 w 107245"/>
                <a:gd name="connsiteY1" fmla="*/ 46801 h 125013"/>
                <a:gd name="connsiteX2" fmla="*/ 11433 w 107245"/>
                <a:gd name="connsiteY2" fmla="*/ 110332 h 125013"/>
                <a:gd name="connsiteX3" fmla="*/ 28968 w 107245"/>
                <a:gd name="connsiteY3" fmla="*/ 27741 h 125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245" h="125013">
                  <a:moveTo>
                    <a:pt x="28968" y="27741"/>
                  </a:moveTo>
                  <a:cubicBezTo>
                    <a:pt x="64927" y="-26515"/>
                    <a:pt x="106731" y="8364"/>
                    <a:pt x="106731" y="46801"/>
                  </a:cubicBezTo>
                  <a:cubicBezTo>
                    <a:pt x="106731" y="102073"/>
                    <a:pt x="46249" y="149722"/>
                    <a:pt x="11433" y="110332"/>
                  </a:cubicBezTo>
                  <a:cubicBezTo>
                    <a:pt x="-23382" y="70943"/>
                    <a:pt x="28968" y="27741"/>
                    <a:pt x="28968" y="2774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 9"/>
            <p:cNvSpPr/>
            <p:nvPr/>
          </p:nvSpPr>
          <p:spPr>
            <a:xfrm>
              <a:off x="4636485" y="3571274"/>
              <a:ext cx="453974" cy="467243"/>
            </a:xfrm>
            <a:custGeom>
              <a:avLst/>
              <a:gdLst>
                <a:gd name="connsiteX0" fmla="*/ 199817 w 400958"/>
                <a:gd name="connsiteY0" fmla="*/ 412468 h 412678"/>
                <a:gd name="connsiteX1" fmla="*/ 6744 w 400958"/>
                <a:gd name="connsiteY1" fmla="*/ 98113 h 412678"/>
                <a:gd name="connsiteX2" fmla="*/ 393207 w 400958"/>
                <a:gd name="connsiteY2" fmla="*/ 98113 h 412678"/>
                <a:gd name="connsiteX3" fmla="*/ 199817 w 400958"/>
                <a:gd name="connsiteY3" fmla="*/ 412468 h 41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0958" h="412678">
                  <a:moveTo>
                    <a:pt x="199817" y="412468"/>
                  </a:moveTo>
                  <a:cubicBezTo>
                    <a:pt x="57569" y="412468"/>
                    <a:pt x="-26547" y="257387"/>
                    <a:pt x="6744" y="98113"/>
                  </a:cubicBezTo>
                  <a:cubicBezTo>
                    <a:pt x="34063" y="-33016"/>
                    <a:pt x="365762" y="-32953"/>
                    <a:pt x="393207" y="98113"/>
                  </a:cubicBezTo>
                  <a:cubicBezTo>
                    <a:pt x="426434" y="257387"/>
                    <a:pt x="342382" y="412595"/>
                    <a:pt x="199817" y="412468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 10"/>
            <p:cNvSpPr/>
            <p:nvPr/>
          </p:nvSpPr>
          <p:spPr>
            <a:xfrm>
              <a:off x="4757636" y="3487392"/>
              <a:ext cx="367502" cy="234313"/>
            </a:xfrm>
            <a:custGeom>
              <a:avLst/>
              <a:gdLst>
                <a:gd name="connsiteX0" fmla="*/ -514 w 324585"/>
                <a:gd name="connsiteY0" fmla="*/ 31541 h 206950"/>
                <a:gd name="connsiteX1" fmla="*/ 303231 w 324585"/>
                <a:gd name="connsiteY1" fmla="*/ 198693 h 206950"/>
                <a:gd name="connsiteX2" fmla="*/ 184045 w 324585"/>
                <a:gd name="connsiteY2" fmla="*/ 21757 h 206950"/>
                <a:gd name="connsiteX3" fmla="*/ -514 w 324585"/>
                <a:gd name="connsiteY3" fmla="*/ 31541 h 206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585" h="206950">
                  <a:moveTo>
                    <a:pt x="-514" y="31541"/>
                  </a:moveTo>
                  <a:cubicBezTo>
                    <a:pt x="-514" y="165911"/>
                    <a:pt x="253612" y="230650"/>
                    <a:pt x="303231" y="198693"/>
                  </a:cubicBezTo>
                  <a:cubicBezTo>
                    <a:pt x="352849" y="166737"/>
                    <a:pt x="314158" y="52951"/>
                    <a:pt x="184045" y="21757"/>
                  </a:cubicBezTo>
                  <a:cubicBezTo>
                    <a:pt x="53932" y="-9437"/>
                    <a:pt x="-197" y="-8484"/>
                    <a:pt x="-514" y="31541"/>
                  </a:cubicBezTo>
                  <a:close/>
                </a:path>
              </a:pathLst>
            </a:custGeom>
            <a:solidFill>
              <a:srgbClr val="971D0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 11"/>
            <p:cNvSpPr/>
            <p:nvPr/>
          </p:nvSpPr>
          <p:spPr>
            <a:xfrm>
              <a:off x="4592900" y="3508707"/>
              <a:ext cx="173053" cy="238281"/>
            </a:xfrm>
            <a:custGeom>
              <a:avLst/>
              <a:gdLst>
                <a:gd name="connsiteX0" fmla="*/ 145428 w 152844"/>
                <a:gd name="connsiteY0" fmla="*/ 11762 h 210454"/>
                <a:gd name="connsiteX1" fmla="*/ 38759 w 152844"/>
                <a:gd name="connsiteY1" fmla="*/ 209790 h 210454"/>
                <a:gd name="connsiteX2" fmla="*/ 27704 w 152844"/>
                <a:gd name="connsiteY2" fmla="*/ 78089 h 210454"/>
                <a:gd name="connsiteX3" fmla="*/ 145428 w 152844"/>
                <a:gd name="connsiteY3" fmla="*/ 11762 h 210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844" h="210454">
                  <a:moveTo>
                    <a:pt x="145428" y="11762"/>
                  </a:moveTo>
                  <a:cubicBezTo>
                    <a:pt x="177703" y="76501"/>
                    <a:pt x="89076" y="219320"/>
                    <a:pt x="38759" y="209790"/>
                  </a:cubicBezTo>
                  <a:cubicBezTo>
                    <a:pt x="-11559" y="200261"/>
                    <a:pt x="-11622" y="144416"/>
                    <a:pt x="27704" y="78089"/>
                  </a:cubicBezTo>
                  <a:cubicBezTo>
                    <a:pt x="67030" y="11762"/>
                    <a:pt x="130117" y="-18987"/>
                    <a:pt x="145428" y="11762"/>
                  </a:cubicBezTo>
                  <a:close/>
                </a:path>
              </a:pathLst>
            </a:custGeom>
            <a:solidFill>
              <a:srgbClr val="971D0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 12"/>
            <p:cNvSpPr/>
            <p:nvPr/>
          </p:nvSpPr>
          <p:spPr>
            <a:xfrm>
              <a:off x="3612370" y="4281731"/>
              <a:ext cx="915035" cy="627652"/>
            </a:xfrm>
            <a:custGeom>
              <a:avLst/>
              <a:gdLst>
                <a:gd name="connsiteX0" fmla="*/ 797158 w 808176"/>
                <a:gd name="connsiteY0" fmla="*/ 72207 h 554354"/>
                <a:gd name="connsiteX1" fmla="*/ 561011 w 808176"/>
                <a:gd name="connsiteY1" fmla="*/ 325698 h 554354"/>
                <a:gd name="connsiteX2" fmla="*/ 47611 w 808176"/>
                <a:gd name="connsiteY2" fmla="*/ 553523 h 554354"/>
                <a:gd name="connsiteX3" fmla="*/ 47611 w 808176"/>
                <a:gd name="connsiteY3" fmla="*/ 451110 h 554354"/>
                <a:gd name="connsiteX4" fmla="*/ 496844 w 808176"/>
                <a:gd name="connsiteY4" fmla="*/ 243743 h 554354"/>
                <a:gd name="connsiteX5" fmla="*/ 650844 w 808176"/>
                <a:gd name="connsiteY5" fmla="*/ 90123 h 554354"/>
                <a:gd name="connsiteX6" fmla="*/ 699637 w 808176"/>
                <a:gd name="connsiteY6" fmla="*/ 36375 h 554354"/>
                <a:gd name="connsiteX7" fmla="*/ 709866 w 808176"/>
                <a:gd name="connsiteY7" fmla="*/ 18459 h 554354"/>
                <a:gd name="connsiteX8" fmla="*/ 709866 w 808176"/>
                <a:gd name="connsiteY8" fmla="*/ 21000 h 554354"/>
                <a:gd name="connsiteX9" fmla="*/ 797158 w 808176"/>
                <a:gd name="connsiteY9" fmla="*/ 72207 h 554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8176" h="554354">
                  <a:moveTo>
                    <a:pt x="797158" y="72207"/>
                  </a:moveTo>
                  <a:cubicBezTo>
                    <a:pt x="727280" y="164525"/>
                    <a:pt x="648151" y="249460"/>
                    <a:pt x="561011" y="325698"/>
                  </a:cubicBezTo>
                  <a:cubicBezTo>
                    <a:pt x="422385" y="446027"/>
                    <a:pt x="242717" y="563752"/>
                    <a:pt x="47611" y="553523"/>
                  </a:cubicBezTo>
                  <a:cubicBezTo>
                    <a:pt x="-16556" y="548377"/>
                    <a:pt x="-16556" y="446027"/>
                    <a:pt x="47611" y="451110"/>
                  </a:cubicBezTo>
                  <a:cubicBezTo>
                    <a:pt x="219591" y="461339"/>
                    <a:pt x="376197" y="351302"/>
                    <a:pt x="496844" y="243743"/>
                  </a:cubicBezTo>
                  <a:cubicBezTo>
                    <a:pt x="553323" y="197682"/>
                    <a:pt x="602052" y="143871"/>
                    <a:pt x="650844" y="90123"/>
                  </a:cubicBezTo>
                  <a:cubicBezTo>
                    <a:pt x="668824" y="72207"/>
                    <a:pt x="684199" y="54291"/>
                    <a:pt x="699637" y="36375"/>
                  </a:cubicBezTo>
                  <a:cubicBezTo>
                    <a:pt x="703589" y="30727"/>
                    <a:pt x="707013" y="24730"/>
                    <a:pt x="709866" y="18459"/>
                  </a:cubicBezTo>
                  <a:cubicBezTo>
                    <a:pt x="717553" y="10772"/>
                    <a:pt x="702178" y="31165"/>
                    <a:pt x="709866" y="21000"/>
                  </a:cubicBezTo>
                  <a:cubicBezTo>
                    <a:pt x="748366" y="-30206"/>
                    <a:pt x="838199" y="21000"/>
                    <a:pt x="797158" y="72207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 13"/>
            <p:cNvSpPr/>
            <p:nvPr/>
          </p:nvSpPr>
          <p:spPr>
            <a:xfrm>
              <a:off x="5248839" y="3957542"/>
              <a:ext cx="415701" cy="712692"/>
            </a:xfrm>
            <a:custGeom>
              <a:avLst/>
              <a:gdLst>
                <a:gd name="connsiteX0" fmla="*/ 90290 w 367155"/>
                <a:gd name="connsiteY0" fmla="*/ 275691 h 629463"/>
                <a:gd name="connsiteX1" fmla="*/ 229361 w 367155"/>
                <a:gd name="connsiteY1" fmla="*/ 451738 h 629463"/>
                <a:gd name="connsiteX2" fmla="*/ 246959 w 367155"/>
                <a:gd name="connsiteY2" fmla="*/ 471877 h 629463"/>
                <a:gd name="connsiteX3" fmla="*/ 201979 w 367155"/>
                <a:gd name="connsiteY3" fmla="*/ 211016 h 629463"/>
                <a:gd name="connsiteX4" fmla="*/ 194292 w 367155"/>
                <a:gd name="connsiteY4" fmla="*/ 113241 h 629463"/>
                <a:gd name="connsiteX5" fmla="*/ 298420 w 367155"/>
                <a:gd name="connsiteY5" fmla="*/ 6952 h 629463"/>
                <a:gd name="connsiteX6" fmla="*/ 340732 w 367155"/>
                <a:gd name="connsiteY6" fmla="*/ 100280 h 629463"/>
                <a:gd name="connsiteX7" fmla="*/ 314748 w 367155"/>
                <a:gd name="connsiteY7" fmla="*/ 117624 h 629463"/>
                <a:gd name="connsiteX8" fmla="*/ 294544 w 367155"/>
                <a:gd name="connsiteY8" fmla="*/ 135286 h 629463"/>
                <a:gd name="connsiteX9" fmla="*/ 296006 w 367155"/>
                <a:gd name="connsiteY9" fmla="*/ 157077 h 629463"/>
                <a:gd name="connsiteX10" fmla="*/ 320402 w 367155"/>
                <a:gd name="connsiteY10" fmla="*/ 297927 h 629463"/>
                <a:gd name="connsiteX11" fmla="*/ 354518 w 367155"/>
                <a:gd name="connsiteY11" fmla="*/ 572194 h 629463"/>
                <a:gd name="connsiteX12" fmla="*/ 268560 w 367155"/>
                <a:gd name="connsiteY12" fmla="*/ 625243 h 629463"/>
                <a:gd name="connsiteX13" fmla="*/ 170785 w 367155"/>
                <a:gd name="connsiteY13" fmla="*/ 540237 h 629463"/>
                <a:gd name="connsiteX14" fmla="*/ 9668 w 367155"/>
                <a:gd name="connsiteY14" fmla="*/ 340176 h 629463"/>
                <a:gd name="connsiteX15" fmla="*/ 90290 w 367155"/>
                <a:gd name="connsiteY15" fmla="*/ 275437 h 629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67155" h="629463">
                  <a:moveTo>
                    <a:pt x="90290" y="275691"/>
                  </a:moveTo>
                  <a:cubicBezTo>
                    <a:pt x="134762" y="336999"/>
                    <a:pt x="181013" y="394877"/>
                    <a:pt x="229361" y="451738"/>
                  </a:cubicBezTo>
                  <a:cubicBezTo>
                    <a:pt x="235714" y="459997"/>
                    <a:pt x="241432" y="465969"/>
                    <a:pt x="246959" y="471877"/>
                  </a:cubicBezTo>
                  <a:cubicBezTo>
                    <a:pt x="235460" y="384267"/>
                    <a:pt x="213478" y="298626"/>
                    <a:pt x="201979" y="211016"/>
                  </a:cubicBezTo>
                  <a:cubicBezTo>
                    <a:pt x="196325" y="179822"/>
                    <a:pt x="189273" y="146277"/>
                    <a:pt x="194292" y="113241"/>
                  </a:cubicBezTo>
                  <a:cubicBezTo>
                    <a:pt x="199692" y="62923"/>
                    <a:pt x="258395" y="30649"/>
                    <a:pt x="298420" y="6952"/>
                  </a:cubicBezTo>
                  <a:cubicBezTo>
                    <a:pt x="353692" y="-26593"/>
                    <a:pt x="396068" y="66735"/>
                    <a:pt x="340732" y="100280"/>
                  </a:cubicBezTo>
                  <a:cubicBezTo>
                    <a:pt x="351342" y="92593"/>
                    <a:pt x="319449" y="115528"/>
                    <a:pt x="314748" y="117624"/>
                  </a:cubicBezTo>
                  <a:cubicBezTo>
                    <a:pt x="304138" y="125311"/>
                    <a:pt x="296705" y="139924"/>
                    <a:pt x="294544" y="135286"/>
                  </a:cubicBezTo>
                  <a:cubicBezTo>
                    <a:pt x="294544" y="141004"/>
                    <a:pt x="296451" y="145642"/>
                    <a:pt x="296006" y="157077"/>
                  </a:cubicBezTo>
                  <a:cubicBezTo>
                    <a:pt x="303375" y="204409"/>
                    <a:pt x="310682" y="251740"/>
                    <a:pt x="320402" y="297927"/>
                  </a:cubicBezTo>
                  <a:cubicBezTo>
                    <a:pt x="335523" y="381090"/>
                    <a:pt x="369321" y="486744"/>
                    <a:pt x="354518" y="572194"/>
                  </a:cubicBezTo>
                  <a:cubicBezTo>
                    <a:pt x="348165" y="614442"/>
                    <a:pt x="311698" y="639474"/>
                    <a:pt x="268560" y="625243"/>
                  </a:cubicBezTo>
                  <a:cubicBezTo>
                    <a:pt x="230124" y="608915"/>
                    <a:pt x="198358" y="569906"/>
                    <a:pt x="170785" y="540237"/>
                  </a:cubicBezTo>
                  <a:cubicBezTo>
                    <a:pt x="113695" y="476343"/>
                    <a:pt x="59922" y="409571"/>
                    <a:pt x="9668" y="340176"/>
                  </a:cubicBezTo>
                  <a:cubicBezTo>
                    <a:pt x="-28451" y="287127"/>
                    <a:pt x="49821" y="223468"/>
                    <a:pt x="90290" y="275437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 14"/>
            <p:cNvSpPr/>
            <p:nvPr/>
          </p:nvSpPr>
          <p:spPr>
            <a:xfrm>
              <a:off x="4494869" y="4089375"/>
              <a:ext cx="731188" cy="915335"/>
            </a:xfrm>
            <a:custGeom>
              <a:avLst/>
              <a:gdLst>
                <a:gd name="connsiteX0" fmla="*/ -514 w 645799"/>
                <a:gd name="connsiteY0" fmla="*/ 61416 h 808441"/>
                <a:gd name="connsiteX1" fmla="*/ 219877 w 645799"/>
                <a:gd name="connsiteY1" fmla="*/ -210 h 808441"/>
                <a:gd name="connsiteX2" fmla="*/ 333662 w 645799"/>
                <a:gd name="connsiteY2" fmla="*/ 71263 h 808441"/>
                <a:gd name="connsiteX3" fmla="*/ 441666 w 645799"/>
                <a:gd name="connsiteY3" fmla="*/ -210 h 808441"/>
                <a:gd name="connsiteX4" fmla="*/ 481564 w 645799"/>
                <a:gd name="connsiteY4" fmla="*/ 3475 h 808441"/>
                <a:gd name="connsiteX5" fmla="*/ 625527 w 645799"/>
                <a:gd name="connsiteY5" fmla="*/ 23360 h 808441"/>
                <a:gd name="connsiteX6" fmla="*/ 637598 w 645799"/>
                <a:gd name="connsiteY6" fmla="*/ 333459 h 808441"/>
                <a:gd name="connsiteX7" fmla="*/ 645285 w 645799"/>
                <a:gd name="connsiteY7" fmla="*/ 792920 h 808441"/>
                <a:gd name="connsiteX8" fmla="*/ 384488 w 645799"/>
                <a:gd name="connsiteY8" fmla="*/ 808231 h 808441"/>
                <a:gd name="connsiteX9" fmla="*/ 20006 w 645799"/>
                <a:gd name="connsiteY9" fmla="*/ 792920 h 808441"/>
                <a:gd name="connsiteX10" fmla="*/ 27694 w 645799"/>
                <a:gd name="connsiteY10" fmla="*/ 333459 h 808441"/>
                <a:gd name="connsiteX11" fmla="*/ -514 w 645799"/>
                <a:gd name="connsiteY11" fmla="*/ 61416 h 808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45799" h="808441">
                  <a:moveTo>
                    <a:pt x="-514" y="61416"/>
                  </a:moveTo>
                  <a:lnTo>
                    <a:pt x="219877" y="-210"/>
                  </a:lnTo>
                  <a:cubicBezTo>
                    <a:pt x="235252" y="69103"/>
                    <a:pt x="308250" y="71263"/>
                    <a:pt x="333662" y="71263"/>
                  </a:cubicBezTo>
                  <a:cubicBezTo>
                    <a:pt x="365428" y="71263"/>
                    <a:pt x="426292" y="69103"/>
                    <a:pt x="441666" y="-210"/>
                  </a:cubicBezTo>
                  <a:lnTo>
                    <a:pt x="481564" y="3475"/>
                  </a:lnTo>
                  <a:cubicBezTo>
                    <a:pt x="594142" y="14085"/>
                    <a:pt x="625527" y="23360"/>
                    <a:pt x="625527" y="23360"/>
                  </a:cubicBezTo>
                  <a:cubicBezTo>
                    <a:pt x="597382" y="336508"/>
                    <a:pt x="658436" y="258428"/>
                    <a:pt x="637598" y="333459"/>
                  </a:cubicBezTo>
                  <a:cubicBezTo>
                    <a:pt x="581436" y="535045"/>
                    <a:pt x="645285" y="792920"/>
                    <a:pt x="645285" y="792920"/>
                  </a:cubicBezTo>
                  <a:cubicBezTo>
                    <a:pt x="543317" y="808231"/>
                    <a:pt x="455770" y="808231"/>
                    <a:pt x="384488" y="808231"/>
                  </a:cubicBezTo>
                  <a:cubicBezTo>
                    <a:pt x="17401" y="808231"/>
                    <a:pt x="20006" y="792920"/>
                    <a:pt x="20006" y="792920"/>
                  </a:cubicBezTo>
                  <a:cubicBezTo>
                    <a:pt x="20006" y="792920"/>
                    <a:pt x="85889" y="477866"/>
                    <a:pt x="27694" y="333459"/>
                  </a:cubicBezTo>
                  <a:cubicBezTo>
                    <a:pt x="2281" y="269927"/>
                    <a:pt x="-514" y="61416"/>
                    <a:pt x="-514" y="61416"/>
                  </a:cubicBezTo>
                  <a:close/>
                </a:path>
              </a:pathLst>
            </a:custGeom>
            <a:solidFill>
              <a:srgbClr val="BE5ED3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 15"/>
            <p:cNvSpPr/>
            <p:nvPr/>
          </p:nvSpPr>
          <p:spPr>
            <a:xfrm>
              <a:off x="4736560" y="4414867"/>
              <a:ext cx="302114" cy="302114"/>
            </a:xfrm>
            <a:custGeom>
              <a:avLst/>
              <a:gdLst>
                <a:gd name="connsiteX0" fmla="*/ 266833 w 266833"/>
                <a:gd name="connsiteY0" fmla="*/ 133417 h 266833"/>
                <a:gd name="connsiteX1" fmla="*/ 133417 w 266833"/>
                <a:gd name="connsiteY1" fmla="*/ 266833 h 266833"/>
                <a:gd name="connsiteX2" fmla="*/ 0 w 266833"/>
                <a:gd name="connsiteY2" fmla="*/ 133417 h 266833"/>
                <a:gd name="connsiteX3" fmla="*/ 133417 w 266833"/>
                <a:gd name="connsiteY3" fmla="*/ 0 h 266833"/>
                <a:gd name="connsiteX4" fmla="*/ 266833 w 266833"/>
                <a:gd name="connsiteY4" fmla="*/ 133417 h 2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833" h="266833">
                  <a:moveTo>
                    <a:pt x="266833" y="133417"/>
                  </a:moveTo>
                  <a:cubicBezTo>
                    <a:pt x="266833" y="207101"/>
                    <a:pt x="207101" y="266833"/>
                    <a:pt x="133417" y="266833"/>
                  </a:cubicBezTo>
                  <a:cubicBezTo>
                    <a:pt x="59733" y="266833"/>
                    <a:pt x="0" y="207101"/>
                    <a:pt x="0" y="133417"/>
                  </a:cubicBezTo>
                  <a:cubicBezTo>
                    <a:pt x="0" y="59733"/>
                    <a:pt x="59733" y="0"/>
                    <a:pt x="133417" y="0"/>
                  </a:cubicBezTo>
                  <a:cubicBezTo>
                    <a:pt x="207101" y="0"/>
                    <a:pt x="266833" y="59733"/>
                    <a:pt x="266833" y="133417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 16"/>
            <p:cNvSpPr/>
            <p:nvPr/>
          </p:nvSpPr>
          <p:spPr>
            <a:xfrm>
              <a:off x="4808492" y="4501185"/>
              <a:ext cx="28772" cy="57545"/>
            </a:xfrm>
            <a:custGeom>
              <a:avLst/>
              <a:gdLst>
                <a:gd name="connsiteX0" fmla="*/ 25413 w 25412"/>
                <a:gd name="connsiteY0" fmla="*/ 25413 h 50825"/>
                <a:gd name="connsiteX1" fmla="*/ 12706 w 25412"/>
                <a:gd name="connsiteY1" fmla="*/ 50825 h 50825"/>
                <a:gd name="connsiteX2" fmla="*/ 0 w 25412"/>
                <a:gd name="connsiteY2" fmla="*/ 25413 h 50825"/>
                <a:gd name="connsiteX3" fmla="*/ 12706 w 25412"/>
                <a:gd name="connsiteY3" fmla="*/ 0 h 50825"/>
                <a:gd name="connsiteX4" fmla="*/ 25413 w 25412"/>
                <a:gd name="connsiteY4" fmla="*/ 25413 h 50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12" h="50825">
                  <a:moveTo>
                    <a:pt x="25413" y="25413"/>
                  </a:moveTo>
                  <a:cubicBezTo>
                    <a:pt x="25413" y="39448"/>
                    <a:pt x="19724" y="50825"/>
                    <a:pt x="12706" y="50825"/>
                  </a:cubicBezTo>
                  <a:cubicBezTo>
                    <a:pt x="5689" y="50825"/>
                    <a:pt x="0" y="39448"/>
                    <a:pt x="0" y="25413"/>
                  </a:cubicBezTo>
                  <a:cubicBezTo>
                    <a:pt x="0" y="11378"/>
                    <a:pt x="5689" y="0"/>
                    <a:pt x="12706" y="0"/>
                  </a:cubicBezTo>
                  <a:cubicBezTo>
                    <a:pt x="19724" y="0"/>
                    <a:pt x="25413" y="11378"/>
                    <a:pt x="25413" y="25413"/>
                  </a:cubicBez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 17"/>
            <p:cNvSpPr/>
            <p:nvPr/>
          </p:nvSpPr>
          <p:spPr>
            <a:xfrm>
              <a:off x="4937970" y="4501185"/>
              <a:ext cx="28772" cy="57545"/>
            </a:xfrm>
            <a:custGeom>
              <a:avLst/>
              <a:gdLst>
                <a:gd name="connsiteX0" fmla="*/ 25413 w 25412"/>
                <a:gd name="connsiteY0" fmla="*/ 25413 h 50825"/>
                <a:gd name="connsiteX1" fmla="*/ 12706 w 25412"/>
                <a:gd name="connsiteY1" fmla="*/ 50825 h 50825"/>
                <a:gd name="connsiteX2" fmla="*/ 0 w 25412"/>
                <a:gd name="connsiteY2" fmla="*/ 25413 h 50825"/>
                <a:gd name="connsiteX3" fmla="*/ 12706 w 25412"/>
                <a:gd name="connsiteY3" fmla="*/ 0 h 50825"/>
                <a:gd name="connsiteX4" fmla="*/ 25413 w 25412"/>
                <a:gd name="connsiteY4" fmla="*/ 25413 h 50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12" h="50825">
                  <a:moveTo>
                    <a:pt x="25413" y="25413"/>
                  </a:moveTo>
                  <a:cubicBezTo>
                    <a:pt x="25413" y="39448"/>
                    <a:pt x="19724" y="50825"/>
                    <a:pt x="12706" y="50825"/>
                  </a:cubicBezTo>
                  <a:cubicBezTo>
                    <a:pt x="5689" y="50825"/>
                    <a:pt x="0" y="39448"/>
                    <a:pt x="0" y="25413"/>
                  </a:cubicBezTo>
                  <a:cubicBezTo>
                    <a:pt x="0" y="11378"/>
                    <a:pt x="5689" y="0"/>
                    <a:pt x="12706" y="0"/>
                  </a:cubicBezTo>
                  <a:cubicBezTo>
                    <a:pt x="19724" y="0"/>
                    <a:pt x="25413" y="11378"/>
                    <a:pt x="25413" y="25413"/>
                  </a:cubicBez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 18"/>
            <p:cNvSpPr/>
            <p:nvPr/>
          </p:nvSpPr>
          <p:spPr>
            <a:xfrm>
              <a:off x="4809355" y="4601890"/>
              <a:ext cx="156524" cy="64640"/>
            </a:xfrm>
            <a:custGeom>
              <a:avLst/>
              <a:gdLst>
                <a:gd name="connsiteX0" fmla="*/ -514 w 138245"/>
                <a:gd name="connsiteY0" fmla="*/ -210 h 57091"/>
                <a:gd name="connsiteX1" fmla="*/ 81924 w 138245"/>
                <a:gd name="connsiteY1" fmla="*/ 55596 h 57091"/>
                <a:gd name="connsiteX2" fmla="*/ 137731 w 138245"/>
                <a:gd name="connsiteY2" fmla="*/ -210 h 57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8245" h="57091">
                  <a:moveTo>
                    <a:pt x="-514" y="-210"/>
                  </a:moveTo>
                  <a:cubicBezTo>
                    <a:pt x="6836" y="37966"/>
                    <a:pt x="43748" y="62953"/>
                    <a:pt x="81924" y="55596"/>
                  </a:cubicBezTo>
                  <a:cubicBezTo>
                    <a:pt x="110183" y="50152"/>
                    <a:pt x="132286" y="28055"/>
                    <a:pt x="137731" y="-210"/>
                  </a:cubicBezTo>
                  <a:close/>
                </a:path>
              </a:pathLst>
            </a:custGeom>
            <a:solidFill>
              <a:srgbClr val="E27AA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 19"/>
            <p:cNvSpPr/>
            <p:nvPr/>
          </p:nvSpPr>
          <p:spPr>
            <a:xfrm>
              <a:off x="4509837" y="4987374"/>
              <a:ext cx="724245" cy="307437"/>
            </a:xfrm>
            <a:custGeom>
              <a:avLst/>
              <a:gdLst>
                <a:gd name="connsiteX0" fmla="*/ 6214 w 639667"/>
                <a:gd name="connsiteY0" fmla="*/ -210 h 271534"/>
                <a:gd name="connsiteX1" fmla="*/ 632637 w 639667"/>
                <a:gd name="connsiteY1" fmla="*/ -210 h 271534"/>
                <a:gd name="connsiteX2" fmla="*/ 537657 w 639667"/>
                <a:gd name="connsiteY2" fmla="*/ 271325 h 271534"/>
                <a:gd name="connsiteX3" fmla="*/ 101194 w 639667"/>
                <a:gd name="connsiteY3" fmla="*/ 271325 h 271534"/>
                <a:gd name="connsiteX4" fmla="*/ 5897 w 639667"/>
                <a:gd name="connsiteY4" fmla="*/ -210 h 271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9667" h="271534">
                  <a:moveTo>
                    <a:pt x="6214" y="-210"/>
                  </a:moveTo>
                  <a:cubicBezTo>
                    <a:pt x="295029" y="15101"/>
                    <a:pt x="632637" y="-210"/>
                    <a:pt x="632637" y="-210"/>
                  </a:cubicBezTo>
                  <a:cubicBezTo>
                    <a:pt x="632637" y="-210"/>
                    <a:pt x="676283" y="271325"/>
                    <a:pt x="537657" y="271325"/>
                  </a:cubicBezTo>
                  <a:lnTo>
                    <a:pt x="101194" y="271325"/>
                  </a:lnTo>
                  <a:cubicBezTo>
                    <a:pt x="-37432" y="271325"/>
                    <a:pt x="5897" y="-210"/>
                    <a:pt x="5897" y="-210"/>
                  </a:cubicBez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 20"/>
            <p:cNvSpPr/>
            <p:nvPr/>
          </p:nvSpPr>
          <p:spPr>
            <a:xfrm>
              <a:off x="5524719" y="5246473"/>
              <a:ext cx="230304" cy="183920"/>
            </a:xfrm>
            <a:custGeom>
              <a:avLst/>
              <a:gdLst>
                <a:gd name="connsiteX0" fmla="*/ 27630 w 203409"/>
                <a:gd name="connsiteY0" fmla="*/ -210 h 162442"/>
                <a:gd name="connsiteX1" fmla="*/ 202787 w 203409"/>
                <a:gd name="connsiteY1" fmla="*/ 97057 h 162442"/>
                <a:gd name="connsiteX2" fmla="*/ -514 w 203409"/>
                <a:gd name="connsiteY2" fmla="*/ 161034 h 162442"/>
                <a:gd name="connsiteX3" fmla="*/ 27630 w 203409"/>
                <a:gd name="connsiteY3" fmla="*/ -210 h 162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3409" h="162442">
                  <a:moveTo>
                    <a:pt x="27630" y="-210"/>
                  </a:moveTo>
                  <a:cubicBezTo>
                    <a:pt x="27630" y="-210"/>
                    <a:pt x="207933" y="20247"/>
                    <a:pt x="202787" y="97057"/>
                  </a:cubicBezTo>
                  <a:cubicBezTo>
                    <a:pt x="200246" y="176408"/>
                    <a:pt x="-514" y="161034"/>
                    <a:pt x="-514" y="161034"/>
                  </a:cubicBezTo>
                  <a:lnTo>
                    <a:pt x="27630" y="-210"/>
                  </a:ln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 21"/>
            <p:cNvSpPr/>
            <p:nvPr/>
          </p:nvSpPr>
          <p:spPr>
            <a:xfrm>
              <a:off x="4100646" y="5006258"/>
              <a:ext cx="1488236" cy="437236"/>
            </a:xfrm>
            <a:custGeom>
              <a:avLst/>
              <a:gdLst>
                <a:gd name="connsiteX0" fmla="*/ 1313924 w 1314438"/>
                <a:gd name="connsiteY0" fmla="*/ 208966 h 386175"/>
                <a:gd name="connsiteX1" fmla="*/ 2820 w 1314438"/>
                <a:gd name="connsiteY1" fmla="*/ 90797 h 386175"/>
                <a:gd name="connsiteX2" fmla="*/ 1293403 w 1314438"/>
                <a:gd name="connsiteY2" fmla="*/ 385966 h 386175"/>
                <a:gd name="connsiteX3" fmla="*/ 1313924 w 1314438"/>
                <a:gd name="connsiteY3" fmla="*/ 208712 h 386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4438" h="386175">
                  <a:moveTo>
                    <a:pt x="1313924" y="208966"/>
                  </a:moveTo>
                  <a:cubicBezTo>
                    <a:pt x="1313924" y="208966"/>
                    <a:pt x="82361" y="-168603"/>
                    <a:pt x="2820" y="90797"/>
                  </a:cubicBezTo>
                  <a:cubicBezTo>
                    <a:pt x="-76722" y="347847"/>
                    <a:pt x="1293403" y="385966"/>
                    <a:pt x="1293403" y="385966"/>
                  </a:cubicBezTo>
                  <a:lnTo>
                    <a:pt x="1313924" y="208712"/>
                  </a:lnTo>
                  <a:close/>
                </a:path>
              </a:pathLst>
            </a:custGeom>
            <a:solidFill>
              <a:srgbClr val="1E216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 22"/>
            <p:cNvSpPr/>
            <p:nvPr/>
          </p:nvSpPr>
          <p:spPr>
            <a:xfrm>
              <a:off x="4002665" y="5286755"/>
              <a:ext cx="235837" cy="184637"/>
            </a:xfrm>
            <a:custGeom>
              <a:avLst/>
              <a:gdLst>
                <a:gd name="connsiteX0" fmla="*/ 169282 w 208296"/>
                <a:gd name="connsiteY0" fmla="*/ -210 h 163075"/>
                <a:gd name="connsiteX1" fmla="*/ -94 w 208296"/>
                <a:gd name="connsiteY1" fmla="*/ 109382 h 163075"/>
                <a:gd name="connsiteX2" fmla="*/ 207782 w 208296"/>
                <a:gd name="connsiteY2" fmla="*/ 157857 h 163075"/>
                <a:gd name="connsiteX3" fmla="*/ 169282 w 208296"/>
                <a:gd name="connsiteY3" fmla="*/ -210 h 163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8296" h="163075">
                  <a:moveTo>
                    <a:pt x="169282" y="-210"/>
                  </a:moveTo>
                  <a:cubicBezTo>
                    <a:pt x="169282" y="-210"/>
                    <a:pt x="-10322" y="32890"/>
                    <a:pt x="-94" y="109382"/>
                  </a:cubicBezTo>
                  <a:cubicBezTo>
                    <a:pt x="10135" y="185874"/>
                    <a:pt x="207782" y="157857"/>
                    <a:pt x="207782" y="157857"/>
                  </a:cubicBezTo>
                  <a:lnTo>
                    <a:pt x="169282" y="-210"/>
                  </a:ln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 23"/>
            <p:cNvSpPr/>
            <p:nvPr/>
          </p:nvSpPr>
          <p:spPr>
            <a:xfrm>
              <a:off x="4163334" y="4959760"/>
              <a:ext cx="1475212" cy="524448"/>
            </a:xfrm>
            <a:custGeom>
              <a:avLst/>
              <a:gdLst>
                <a:gd name="connsiteX0" fmla="*/ -514 w 1302935"/>
                <a:gd name="connsiteY0" fmla="*/ 288407 h 463202"/>
                <a:gd name="connsiteX1" fmla="*/ 1297439 w 1302935"/>
                <a:gd name="connsiteY1" fmla="*/ 75449 h 463202"/>
                <a:gd name="connsiteX2" fmla="*/ 30298 w 1302935"/>
                <a:gd name="connsiteY2" fmla="*/ 462992 h 463202"/>
                <a:gd name="connsiteX3" fmla="*/ -514 w 1302935"/>
                <a:gd name="connsiteY3" fmla="*/ 288535 h 463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2935" h="463202">
                  <a:moveTo>
                    <a:pt x="-514" y="288407"/>
                  </a:moveTo>
                  <a:cubicBezTo>
                    <a:pt x="-514" y="288407"/>
                    <a:pt x="1197376" y="-178551"/>
                    <a:pt x="1297439" y="75449"/>
                  </a:cubicBezTo>
                  <a:cubicBezTo>
                    <a:pt x="1394896" y="326908"/>
                    <a:pt x="30298" y="462992"/>
                    <a:pt x="30298" y="462992"/>
                  </a:cubicBezTo>
                  <a:lnTo>
                    <a:pt x="-514" y="288535"/>
                  </a:lnTo>
                  <a:close/>
                </a:path>
              </a:pathLst>
            </a:custGeom>
            <a:solidFill>
              <a:srgbClr val="2A3072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 24"/>
            <p:cNvSpPr/>
            <p:nvPr/>
          </p:nvSpPr>
          <p:spPr>
            <a:xfrm>
              <a:off x="4197069" y="4159220"/>
              <a:ext cx="334881" cy="457055"/>
            </a:xfrm>
            <a:custGeom>
              <a:avLst/>
              <a:gdLst>
                <a:gd name="connsiteX0" fmla="*/ 262507 w 295773"/>
                <a:gd name="connsiteY0" fmla="*/ -210 h 403680"/>
                <a:gd name="connsiteX1" fmla="*/ -514 w 295773"/>
                <a:gd name="connsiteY1" fmla="*/ 206522 h 403680"/>
                <a:gd name="connsiteX2" fmla="*/ 151962 w 295773"/>
                <a:gd name="connsiteY2" fmla="*/ 403470 h 403680"/>
                <a:gd name="connsiteX3" fmla="*/ 290969 w 295773"/>
                <a:gd name="connsiteY3" fmla="*/ 272468 h 403680"/>
                <a:gd name="connsiteX4" fmla="*/ 262507 w 295773"/>
                <a:gd name="connsiteY4" fmla="*/ -210 h 403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5773" h="403680">
                  <a:moveTo>
                    <a:pt x="262507" y="-210"/>
                  </a:moveTo>
                  <a:cubicBezTo>
                    <a:pt x="262507" y="-210"/>
                    <a:pt x="113843" y="47693"/>
                    <a:pt x="-514" y="206522"/>
                  </a:cubicBezTo>
                  <a:lnTo>
                    <a:pt x="151962" y="403470"/>
                  </a:lnTo>
                  <a:cubicBezTo>
                    <a:pt x="151962" y="403470"/>
                    <a:pt x="278326" y="317766"/>
                    <a:pt x="290969" y="272468"/>
                  </a:cubicBezTo>
                  <a:cubicBezTo>
                    <a:pt x="309393" y="206395"/>
                    <a:pt x="262507" y="-210"/>
                    <a:pt x="262507" y="-210"/>
                  </a:cubicBezTo>
                  <a:close/>
                </a:path>
              </a:pathLst>
            </a:custGeom>
            <a:solidFill>
              <a:srgbClr val="BE5ED3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 25"/>
            <p:cNvSpPr/>
            <p:nvPr/>
          </p:nvSpPr>
          <p:spPr>
            <a:xfrm>
              <a:off x="5168201" y="4116061"/>
              <a:ext cx="316452" cy="449862"/>
            </a:xfrm>
            <a:custGeom>
              <a:avLst/>
              <a:gdLst>
                <a:gd name="connsiteX0" fmla="*/ 30827 w 279496"/>
                <a:gd name="connsiteY0" fmla="*/ -210 h 397327"/>
                <a:gd name="connsiteX1" fmla="*/ 278982 w 279496"/>
                <a:gd name="connsiteY1" fmla="*/ 203092 h 397327"/>
                <a:gd name="connsiteX2" fmla="*/ 134892 w 279496"/>
                <a:gd name="connsiteY2" fmla="*/ 397117 h 397327"/>
                <a:gd name="connsiteX3" fmla="*/ 3508 w 279496"/>
                <a:gd name="connsiteY3" fmla="*/ 268148 h 397327"/>
                <a:gd name="connsiteX4" fmla="*/ 30827 w 279496"/>
                <a:gd name="connsiteY4" fmla="*/ -210 h 397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9496" h="397327">
                  <a:moveTo>
                    <a:pt x="30827" y="-210"/>
                  </a:moveTo>
                  <a:cubicBezTo>
                    <a:pt x="30827" y="-210"/>
                    <a:pt x="161575" y="21899"/>
                    <a:pt x="278982" y="203092"/>
                  </a:cubicBezTo>
                  <a:lnTo>
                    <a:pt x="134892" y="397117"/>
                  </a:lnTo>
                  <a:cubicBezTo>
                    <a:pt x="134892" y="397117"/>
                    <a:pt x="15452" y="312747"/>
                    <a:pt x="3508" y="268148"/>
                  </a:cubicBezTo>
                  <a:cubicBezTo>
                    <a:pt x="-13899" y="203155"/>
                    <a:pt x="30827" y="-210"/>
                    <a:pt x="30827" y="-210"/>
                  </a:cubicBezTo>
                  <a:close/>
                </a:path>
              </a:pathLst>
            </a:custGeom>
            <a:solidFill>
              <a:srgbClr val="BE5ED3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 26"/>
            <p:cNvSpPr/>
            <p:nvPr/>
          </p:nvSpPr>
          <p:spPr>
            <a:xfrm>
              <a:off x="3207781" y="3560975"/>
              <a:ext cx="1486066" cy="1759003"/>
            </a:xfrm>
            <a:custGeom>
              <a:avLst/>
              <a:gdLst>
                <a:gd name="connsiteX0" fmla="*/ 933471 w 1312521"/>
                <a:gd name="connsiteY0" fmla="*/ 872704 h 1553585"/>
                <a:gd name="connsiteX1" fmla="*/ 1030738 w 1312521"/>
                <a:gd name="connsiteY1" fmla="*/ 1006121 h 1553585"/>
                <a:gd name="connsiteX2" fmla="*/ 1002848 w 1312521"/>
                <a:gd name="connsiteY2" fmla="*/ 1177656 h 1553585"/>
                <a:gd name="connsiteX3" fmla="*/ 831211 w 1312521"/>
                <a:gd name="connsiteY3" fmla="*/ 1152962 h 1553585"/>
                <a:gd name="connsiteX4" fmla="*/ 830677 w 1312521"/>
                <a:gd name="connsiteY4" fmla="*/ 1152244 h 1553585"/>
                <a:gd name="connsiteX5" fmla="*/ 674897 w 1312521"/>
                <a:gd name="connsiteY5" fmla="*/ 940874 h 1553585"/>
                <a:gd name="connsiteX6" fmla="*/ 674008 w 1312521"/>
                <a:gd name="connsiteY6" fmla="*/ 935220 h 1553585"/>
                <a:gd name="connsiteX7" fmla="*/ 669942 w 1312521"/>
                <a:gd name="connsiteY7" fmla="*/ 931217 h 1553585"/>
                <a:gd name="connsiteX8" fmla="*/ 695354 w 1312521"/>
                <a:gd name="connsiteY8" fmla="*/ 758792 h 1553585"/>
                <a:gd name="connsiteX9" fmla="*/ 761046 w 1312521"/>
                <a:gd name="connsiteY9" fmla="*/ 359495 h 1553585"/>
                <a:gd name="connsiteX10" fmla="*/ 364075 w 1312521"/>
                <a:gd name="connsiteY10" fmla="*/ 301001 h 1553585"/>
                <a:gd name="connsiteX11" fmla="*/ 362321 w 1312521"/>
                <a:gd name="connsiteY11" fmla="*/ 302316 h 1553585"/>
                <a:gd name="connsiteX12" fmla="*/ 248727 w 1312521"/>
                <a:gd name="connsiteY12" fmla="*/ 557015 h 1553585"/>
                <a:gd name="connsiteX13" fmla="*/ 137946 w 1312521"/>
                <a:gd name="connsiteY13" fmla="*/ 696670 h 1553585"/>
                <a:gd name="connsiteX14" fmla="*/ 136910 w 1312521"/>
                <a:gd name="connsiteY14" fmla="*/ 696785 h 1553585"/>
                <a:gd name="connsiteX15" fmla="*/ 2668 w 1312521"/>
                <a:gd name="connsiteY15" fmla="*/ 586557 h 1553585"/>
                <a:gd name="connsiteX16" fmla="*/ 216389 w 1312521"/>
                <a:gd name="connsiteY16" fmla="*/ 102509 h 1553585"/>
                <a:gd name="connsiteX17" fmla="*/ 960282 w 1312521"/>
                <a:gd name="connsiteY17" fmla="*/ 215786 h 1553585"/>
                <a:gd name="connsiteX18" fmla="*/ 933471 w 1312521"/>
                <a:gd name="connsiteY18" fmla="*/ 872704 h 1553585"/>
                <a:gd name="connsiteX19" fmla="*/ 1259071 w 1312521"/>
                <a:gd name="connsiteY19" fmla="*/ 1318824 h 1553585"/>
                <a:gd name="connsiteX20" fmla="*/ 1287153 w 1312521"/>
                <a:gd name="connsiteY20" fmla="*/ 1357388 h 1553585"/>
                <a:gd name="connsiteX21" fmla="*/ 1259199 w 1312521"/>
                <a:gd name="connsiteY21" fmla="*/ 1528923 h 1553585"/>
                <a:gd name="connsiteX22" fmla="*/ 1087644 w 1312521"/>
                <a:gd name="connsiteY22" fmla="*/ 1504260 h 1553585"/>
                <a:gd name="connsiteX23" fmla="*/ 1087091 w 1312521"/>
                <a:gd name="connsiteY23" fmla="*/ 1503511 h 1553585"/>
                <a:gd name="connsiteX24" fmla="*/ 1061678 w 1312521"/>
                <a:gd name="connsiteY24" fmla="*/ 1465391 h 1553585"/>
                <a:gd name="connsiteX25" fmla="*/ 1087091 w 1312521"/>
                <a:gd name="connsiteY25" fmla="*/ 1292967 h 1553585"/>
                <a:gd name="connsiteX26" fmla="*/ 1259199 w 1312521"/>
                <a:gd name="connsiteY26" fmla="*/ 1318379 h 1553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312521" h="1553585">
                  <a:moveTo>
                    <a:pt x="933471" y="872704"/>
                  </a:moveTo>
                  <a:lnTo>
                    <a:pt x="1030738" y="1006121"/>
                  </a:lnTo>
                  <a:cubicBezTo>
                    <a:pt x="1071971" y="1062410"/>
                    <a:pt x="1061551" y="1137187"/>
                    <a:pt x="1002848" y="1177656"/>
                  </a:cubicBezTo>
                  <a:cubicBezTo>
                    <a:pt x="948630" y="1218234"/>
                    <a:pt x="871788" y="1207179"/>
                    <a:pt x="831211" y="1152962"/>
                  </a:cubicBezTo>
                  <a:cubicBezTo>
                    <a:pt x="831033" y="1152720"/>
                    <a:pt x="830855" y="1152485"/>
                    <a:pt x="830677" y="1152244"/>
                  </a:cubicBezTo>
                  <a:lnTo>
                    <a:pt x="674897" y="940874"/>
                  </a:lnTo>
                  <a:cubicBezTo>
                    <a:pt x="673246" y="937633"/>
                    <a:pt x="676486" y="935982"/>
                    <a:pt x="674008" y="935220"/>
                  </a:cubicBezTo>
                  <a:cubicBezTo>
                    <a:pt x="671530" y="934457"/>
                    <a:pt x="671594" y="934457"/>
                    <a:pt x="669942" y="931217"/>
                  </a:cubicBezTo>
                  <a:cubicBezTo>
                    <a:pt x="630362" y="878168"/>
                    <a:pt x="642369" y="798499"/>
                    <a:pt x="695354" y="758792"/>
                  </a:cubicBezTo>
                  <a:cubicBezTo>
                    <a:pt x="824769" y="665400"/>
                    <a:pt x="855010" y="486495"/>
                    <a:pt x="761046" y="359495"/>
                  </a:cubicBezTo>
                  <a:cubicBezTo>
                    <a:pt x="667578" y="233721"/>
                    <a:pt x="489849" y="207534"/>
                    <a:pt x="364075" y="301001"/>
                  </a:cubicBezTo>
                  <a:cubicBezTo>
                    <a:pt x="363490" y="301439"/>
                    <a:pt x="362906" y="301878"/>
                    <a:pt x="362321" y="302316"/>
                  </a:cubicBezTo>
                  <a:cubicBezTo>
                    <a:pt x="281636" y="360797"/>
                    <a:pt x="238326" y="457912"/>
                    <a:pt x="248727" y="557015"/>
                  </a:cubicBezTo>
                  <a:cubicBezTo>
                    <a:pt x="256700" y="626169"/>
                    <a:pt x="207101" y="688697"/>
                    <a:pt x="137946" y="696670"/>
                  </a:cubicBezTo>
                  <a:cubicBezTo>
                    <a:pt x="137603" y="696708"/>
                    <a:pt x="137254" y="696747"/>
                    <a:pt x="136910" y="696785"/>
                  </a:cubicBezTo>
                  <a:cubicBezTo>
                    <a:pt x="68106" y="701741"/>
                    <a:pt x="9847" y="656252"/>
                    <a:pt x="2668" y="586557"/>
                  </a:cubicBezTo>
                  <a:cubicBezTo>
                    <a:pt x="-18056" y="398554"/>
                    <a:pt x="63493" y="213855"/>
                    <a:pt x="216389" y="102509"/>
                  </a:cubicBezTo>
                  <a:cubicBezTo>
                    <a:pt x="453375" y="-70456"/>
                    <a:pt x="785519" y="-19878"/>
                    <a:pt x="960282" y="215786"/>
                  </a:cubicBezTo>
                  <a:cubicBezTo>
                    <a:pt x="1106405" y="415975"/>
                    <a:pt x="1089251" y="688017"/>
                    <a:pt x="933471" y="872704"/>
                  </a:cubicBezTo>
                  <a:close/>
                  <a:moveTo>
                    <a:pt x="1259071" y="1318824"/>
                  </a:moveTo>
                  <a:lnTo>
                    <a:pt x="1287153" y="1357388"/>
                  </a:lnTo>
                  <a:cubicBezTo>
                    <a:pt x="1328321" y="1413677"/>
                    <a:pt x="1317902" y="1488454"/>
                    <a:pt x="1259199" y="1528923"/>
                  </a:cubicBezTo>
                  <a:cubicBezTo>
                    <a:pt x="1205012" y="1569488"/>
                    <a:pt x="1128209" y="1558440"/>
                    <a:pt x="1087644" y="1504260"/>
                  </a:cubicBezTo>
                  <a:cubicBezTo>
                    <a:pt x="1087460" y="1504013"/>
                    <a:pt x="1087275" y="1503758"/>
                    <a:pt x="1087091" y="1503511"/>
                  </a:cubicBezTo>
                  <a:lnTo>
                    <a:pt x="1061678" y="1465391"/>
                  </a:lnTo>
                  <a:cubicBezTo>
                    <a:pt x="1019684" y="1411517"/>
                    <a:pt x="1034106" y="1332610"/>
                    <a:pt x="1087091" y="1292967"/>
                  </a:cubicBezTo>
                  <a:cubicBezTo>
                    <a:pt x="1141671" y="1252592"/>
                    <a:pt x="1218621" y="1263958"/>
                    <a:pt x="1259199" y="1318379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 27"/>
            <p:cNvSpPr/>
            <p:nvPr/>
          </p:nvSpPr>
          <p:spPr>
            <a:xfrm>
              <a:off x="6164723" y="1962102"/>
              <a:ext cx="703194" cy="564027"/>
            </a:xfrm>
            <a:custGeom>
              <a:avLst/>
              <a:gdLst>
                <a:gd name="connsiteX0" fmla="*/ 577794 w 621074"/>
                <a:gd name="connsiteY0" fmla="*/ 416455 h 498159"/>
                <a:gd name="connsiteX1" fmla="*/ 538976 w 621074"/>
                <a:gd name="connsiteY1" fmla="*/ 192061 h 498159"/>
                <a:gd name="connsiteX2" fmla="*/ 398317 w 621074"/>
                <a:gd name="connsiteY2" fmla="*/ 31135 h 498159"/>
                <a:gd name="connsiteX3" fmla="*/ 10265 w 621074"/>
                <a:gd name="connsiteY3" fmla="*/ 121159 h 498159"/>
                <a:gd name="connsiteX4" fmla="*/ 38156 w 621074"/>
                <a:gd name="connsiteY4" fmla="*/ 265504 h 498159"/>
                <a:gd name="connsiteX5" fmla="*/ 65983 w 621074"/>
                <a:gd name="connsiteY5" fmla="*/ 440152 h 498159"/>
                <a:gd name="connsiteX6" fmla="*/ 577794 w 621074"/>
                <a:gd name="connsiteY6" fmla="*/ 416455 h 498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1074" h="498159">
                  <a:moveTo>
                    <a:pt x="577794" y="416455"/>
                  </a:moveTo>
                  <a:cubicBezTo>
                    <a:pt x="667819" y="254576"/>
                    <a:pt x="596536" y="161629"/>
                    <a:pt x="538976" y="192061"/>
                  </a:cubicBezTo>
                  <a:cubicBezTo>
                    <a:pt x="538976" y="192061"/>
                    <a:pt x="530399" y="91617"/>
                    <a:pt x="398317" y="31135"/>
                  </a:cubicBezTo>
                  <a:cubicBezTo>
                    <a:pt x="245841" y="-38750"/>
                    <a:pt x="48893" y="15633"/>
                    <a:pt x="10265" y="121159"/>
                  </a:cubicBezTo>
                  <a:cubicBezTo>
                    <a:pt x="-25186" y="218554"/>
                    <a:pt x="38156" y="265504"/>
                    <a:pt x="38156" y="265504"/>
                  </a:cubicBezTo>
                  <a:cubicBezTo>
                    <a:pt x="38156" y="265504"/>
                    <a:pt x="-1043" y="335388"/>
                    <a:pt x="65983" y="440152"/>
                  </a:cubicBezTo>
                  <a:cubicBezTo>
                    <a:pt x="133009" y="544916"/>
                    <a:pt x="537515" y="488945"/>
                    <a:pt x="577794" y="416455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 28"/>
            <p:cNvSpPr/>
            <p:nvPr/>
          </p:nvSpPr>
          <p:spPr>
            <a:xfrm>
              <a:off x="6390997" y="2695691"/>
              <a:ext cx="273341" cy="276362"/>
            </a:xfrm>
            <a:custGeom>
              <a:avLst/>
              <a:gdLst>
                <a:gd name="connsiteX0" fmla="*/ 120196 w 241420"/>
                <a:gd name="connsiteY0" fmla="*/ 243879 h 244088"/>
                <a:gd name="connsiteX1" fmla="*/ 120196 w 241420"/>
                <a:gd name="connsiteY1" fmla="*/ 243879 h 244088"/>
                <a:gd name="connsiteX2" fmla="*/ -514 w 241420"/>
                <a:gd name="connsiteY2" fmla="*/ 160017 h 244088"/>
                <a:gd name="connsiteX3" fmla="*/ -514 w 241420"/>
                <a:gd name="connsiteY3" fmla="*/ -210 h 244088"/>
                <a:gd name="connsiteX4" fmla="*/ 240906 w 241420"/>
                <a:gd name="connsiteY4" fmla="*/ -210 h 244088"/>
                <a:gd name="connsiteX5" fmla="*/ 240906 w 241420"/>
                <a:gd name="connsiteY5" fmla="*/ 160335 h 244088"/>
                <a:gd name="connsiteX6" fmla="*/ 120958 w 241420"/>
                <a:gd name="connsiteY6" fmla="*/ 243752 h 244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1420" h="244088">
                  <a:moveTo>
                    <a:pt x="120196" y="243879"/>
                  </a:moveTo>
                  <a:lnTo>
                    <a:pt x="120196" y="243879"/>
                  </a:lnTo>
                  <a:cubicBezTo>
                    <a:pt x="53551" y="243879"/>
                    <a:pt x="-514" y="206332"/>
                    <a:pt x="-514" y="160017"/>
                  </a:cubicBezTo>
                  <a:lnTo>
                    <a:pt x="-514" y="-210"/>
                  </a:lnTo>
                  <a:lnTo>
                    <a:pt x="240906" y="-210"/>
                  </a:lnTo>
                  <a:lnTo>
                    <a:pt x="240906" y="160335"/>
                  </a:lnTo>
                  <a:cubicBezTo>
                    <a:pt x="240906" y="206395"/>
                    <a:pt x="187222" y="243752"/>
                    <a:pt x="120958" y="243752"/>
                  </a:cubicBez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 29"/>
            <p:cNvSpPr/>
            <p:nvPr/>
          </p:nvSpPr>
          <p:spPr>
            <a:xfrm>
              <a:off x="6190954" y="2434905"/>
              <a:ext cx="140645" cy="163868"/>
            </a:xfrm>
            <a:custGeom>
              <a:avLst/>
              <a:gdLst>
                <a:gd name="connsiteX0" fmla="*/ 89827 w 124220"/>
                <a:gd name="connsiteY0" fmla="*/ 32284 h 144731"/>
                <a:gd name="connsiteX1" fmla="*/ -514 w 124220"/>
                <a:gd name="connsiteY1" fmla="*/ 54139 h 144731"/>
                <a:gd name="connsiteX2" fmla="*/ 109904 w 124220"/>
                <a:gd name="connsiteY2" fmla="*/ 127518 h 144731"/>
                <a:gd name="connsiteX3" fmla="*/ 89827 w 124220"/>
                <a:gd name="connsiteY3" fmla="*/ 32221 h 14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220" h="144731">
                  <a:moveTo>
                    <a:pt x="89827" y="32284"/>
                  </a:moveTo>
                  <a:cubicBezTo>
                    <a:pt x="47960" y="-30739"/>
                    <a:pt x="-514" y="9730"/>
                    <a:pt x="-514" y="54139"/>
                  </a:cubicBezTo>
                  <a:cubicBezTo>
                    <a:pt x="-514" y="118306"/>
                    <a:pt x="69752" y="173579"/>
                    <a:pt x="109904" y="127518"/>
                  </a:cubicBezTo>
                  <a:cubicBezTo>
                    <a:pt x="150056" y="81458"/>
                    <a:pt x="89827" y="32221"/>
                    <a:pt x="89827" y="3222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 30"/>
            <p:cNvSpPr/>
            <p:nvPr/>
          </p:nvSpPr>
          <p:spPr>
            <a:xfrm>
              <a:off x="6727091" y="2434905"/>
              <a:ext cx="140816" cy="163868"/>
            </a:xfrm>
            <a:custGeom>
              <a:avLst/>
              <a:gdLst>
                <a:gd name="connsiteX0" fmla="*/ 33579 w 124371"/>
                <a:gd name="connsiteY0" fmla="*/ 32284 h 144731"/>
                <a:gd name="connsiteX1" fmla="*/ 123857 w 124371"/>
                <a:gd name="connsiteY1" fmla="*/ 54139 h 144731"/>
                <a:gd name="connsiteX2" fmla="*/ 13439 w 124371"/>
                <a:gd name="connsiteY2" fmla="*/ 127518 h 144731"/>
                <a:gd name="connsiteX3" fmla="*/ 33579 w 124371"/>
                <a:gd name="connsiteY3" fmla="*/ 32221 h 14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371" h="144731">
                  <a:moveTo>
                    <a:pt x="33579" y="32284"/>
                  </a:moveTo>
                  <a:cubicBezTo>
                    <a:pt x="75319" y="-30739"/>
                    <a:pt x="123857" y="9730"/>
                    <a:pt x="123857" y="54139"/>
                  </a:cubicBezTo>
                  <a:cubicBezTo>
                    <a:pt x="123857" y="118306"/>
                    <a:pt x="53972" y="173579"/>
                    <a:pt x="13439" y="127518"/>
                  </a:cubicBezTo>
                  <a:cubicBezTo>
                    <a:pt x="-27095" y="81458"/>
                    <a:pt x="33579" y="32221"/>
                    <a:pt x="33579" y="3222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 31"/>
            <p:cNvSpPr/>
            <p:nvPr/>
          </p:nvSpPr>
          <p:spPr>
            <a:xfrm>
              <a:off x="6265196" y="2209296"/>
              <a:ext cx="527030" cy="543940"/>
            </a:xfrm>
            <a:custGeom>
              <a:avLst/>
              <a:gdLst>
                <a:gd name="connsiteX0" fmla="*/ 232068 w 465483"/>
                <a:gd name="connsiteY0" fmla="*/ 480209 h 480418"/>
                <a:gd name="connsiteX1" fmla="*/ 7928 w 465483"/>
                <a:gd name="connsiteY1" fmla="*/ 114266 h 480418"/>
                <a:gd name="connsiteX2" fmla="*/ 456589 w 465483"/>
                <a:gd name="connsiteY2" fmla="*/ 114266 h 480418"/>
                <a:gd name="connsiteX3" fmla="*/ 232068 w 465483"/>
                <a:gd name="connsiteY3" fmla="*/ 480209 h 480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5483" h="480418">
                  <a:moveTo>
                    <a:pt x="232068" y="480209"/>
                  </a:moveTo>
                  <a:cubicBezTo>
                    <a:pt x="66886" y="480209"/>
                    <a:pt x="-30763" y="299588"/>
                    <a:pt x="7928" y="114266"/>
                  </a:cubicBezTo>
                  <a:cubicBezTo>
                    <a:pt x="39694" y="-38527"/>
                    <a:pt x="424696" y="-38210"/>
                    <a:pt x="456589" y="114266"/>
                  </a:cubicBezTo>
                  <a:cubicBezTo>
                    <a:pt x="495153" y="299588"/>
                    <a:pt x="397251" y="480209"/>
                    <a:pt x="232068" y="480209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 32"/>
            <p:cNvSpPr/>
            <p:nvPr/>
          </p:nvSpPr>
          <p:spPr>
            <a:xfrm>
              <a:off x="6255890" y="2082565"/>
              <a:ext cx="448236" cy="230262"/>
            </a:xfrm>
            <a:custGeom>
              <a:avLst/>
              <a:gdLst>
                <a:gd name="connsiteX0" fmla="*/ 386663 w 395890"/>
                <a:gd name="connsiteY0" fmla="*/ 112221 h 203372"/>
                <a:gd name="connsiteX1" fmla="*/ 250388 w 395890"/>
                <a:gd name="connsiteY1" fmla="*/ 153708 h 203372"/>
                <a:gd name="connsiteX2" fmla="*/ 94799 w 395890"/>
                <a:gd name="connsiteY2" fmla="*/ 202246 h 203372"/>
                <a:gd name="connsiteX3" fmla="*/ 66146 w 395890"/>
                <a:gd name="connsiteY3" fmla="*/ 31028 h 203372"/>
                <a:gd name="connsiteX4" fmla="*/ 386663 w 395890"/>
                <a:gd name="connsiteY4" fmla="*/ 112221 h 203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5890" h="203372">
                  <a:moveTo>
                    <a:pt x="386663" y="112221"/>
                  </a:moveTo>
                  <a:cubicBezTo>
                    <a:pt x="344034" y="208472"/>
                    <a:pt x="250388" y="153708"/>
                    <a:pt x="250388" y="153708"/>
                  </a:cubicBezTo>
                  <a:cubicBezTo>
                    <a:pt x="207091" y="190022"/>
                    <a:pt x="151062" y="207500"/>
                    <a:pt x="94799" y="202246"/>
                  </a:cubicBezTo>
                  <a:cubicBezTo>
                    <a:pt x="581" y="192970"/>
                    <a:pt x="-48592" y="79439"/>
                    <a:pt x="66146" y="31028"/>
                  </a:cubicBezTo>
                  <a:cubicBezTo>
                    <a:pt x="180884" y="-17383"/>
                    <a:pt x="446701" y="-22784"/>
                    <a:pt x="386663" y="112221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 33"/>
            <p:cNvSpPr/>
            <p:nvPr/>
          </p:nvSpPr>
          <p:spPr>
            <a:xfrm>
              <a:off x="5999615" y="5296537"/>
              <a:ext cx="484830" cy="136671"/>
            </a:xfrm>
            <a:custGeom>
              <a:avLst/>
              <a:gdLst>
                <a:gd name="connsiteX0" fmla="*/ 415046 w 428211"/>
                <a:gd name="connsiteY0" fmla="*/ -210 h 120710"/>
                <a:gd name="connsiteX1" fmla="*/ 150755 w 428211"/>
                <a:gd name="connsiteY1" fmla="*/ -210 h 120710"/>
                <a:gd name="connsiteX2" fmla="*/ -514 w 428211"/>
                <a:gd name="connsiteY2" fmla="*/ 107794 h 120710"/>
                <a:gd name="connsiteX3" fmla="*/ -514 w 428211"/>
                <a:gd name="connsiteY3" fmla="*/ 120500 h 120710"/>
                <a:gd name="connsiteX4" fmla="*/ 425148 w 428211"/>
                <a:gd name="connsiteY4" fmla="*/ 120500 h 120710"/>
                <a:gd name="connsiteX5" fmla="*/ 414856 w 428211"/>
                <a:gd name="connsiteY5" fmla="*/ -210 h 120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8211" h="120710">
                  <a:moveTo>
                    <a:pt x="415046" y="-210"/>
                  </a:moveTo>
                  <a:lnTo>
                    <a:pt x="150755" y="-210"/>
                  </a:lnTo>
                  <a:cubicBezTo>
                    <a:pt x="150755" y="-210"/>
                    <a:pt x="14924" y="76981"/>
                    <a:pt x="-514" y="107794"/>
                  </a:cubicBezTo>
                  <a:lnTo>
                    <a:pt x="-514" y="120500"/>
                  </a:lnTo>
                  <a:lnTo>
                    <a:pt x="425148" y="120500"/>
                  </a:lnTo>
                  <a:cubicBezTo>
                    <a:pt x="425148" y="120500"/>
                    <a:pt x="435377" y="30412"/>
                    <a:pt x="414856" y="-210"/>
                  </a:cubicBezTo>
                  <a:close/>
                </a:path>
              </a:pathLst>
            </a:custGeom>
            <a:solidFill>
              <a:srgbClr val="00065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 34"/>
            <p:cNvSpPr/>
            <p:nvPr/>
          </p:nvSpPr>
          <p:spPr>
            <a:xfrm>
              <a:off x="5999255" y="5433496"/>
              <a:ext cx="483023" cy="22802"/>
            </a:xfrm>
            <a:custGeom>
              <a:avLst/>
              <a:gdLst>
                <a:gd name="connsiteX0" fmla="*/ 426615 w 426615"/>
                <a:gd name="connsiteY0" fmla="*/ 0 h 20139"/>
                <a:gd name="connsiteX1" fmla="*/ 0 w 426615"/>
                <a:gd name="connsiteY1" fmla="*/ 0 h 20139"/>
                <a:gd name="connsiteX2" fmla="*/ 0 w 426615"/>
                <a:gd name="connsiteY2" fmla="*/ 20140 h 20139"/>
                <a:gd name="connsiteX3" fmla="*/ 426615 w 426615"/>
                <a:gd name="connsiteY3" fmla="*/ 20140 h 20139"/>
                <a:gd name="connsiteX4" fmla="*/ 426615 w 426615"/>
                <a:gd name="connsiteY4" fmla="*/ 0 h 20139"/>
                <a:gd name="connsiteX5" fmla="*/ 426615 w 426615"/>
                <a:gd name="connsiteY5" fmla="*/ 0 h 2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6615" h="20139">
                  <a:moveTo>
                    <a:pt x="426615" y="0"/>
                  </a:moveTo>
                  <a:lnTo>
                    <a:pt x="0" y="0"/>
                  </a:lnTo>
                  <a:lnTo>
                    <a:pt x="0" y="20140"/>
                  </a:lnTo>
                  <a:lnTo>
                    <a:pt x="426615" y="20140"/>
                  </a:lnTo>
                  <a:lnTo>
                    <a:pt x="426615" y="0"/>
                  </a:lnTo>
                  <a:lnTo>
                    <a:pt x="426615" y="0"/>
                  </a:ln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 35"/>
            <p:cNvSpPr/>
            <p:nvPr/>
          </p:nvSpPr>
          <p:spPr>
            <a:xfrm>
              <a:off x="6140242" y="3782441"/>
              <a:ext cx="395626" cy="1526181"/>
            </a:xfrm>
            <a:custGeom>
              <a:avLst/>
              <a:gdLst>
                <a:gd name="connsiteX0" fmla="*/ 348910 w 349424"/>
                <a:gd name="connsiteY0" fmla="*/ -210 h 1347952"/>
                <a:gd name="connsiteX1" fmla="*/ 17656 w 349424"/>
                <a:gd name="connsiteY1" fmla="*/ -210 h 1347952"/>
                <a:gd name="connsiteX2" fmla="*/ -514 w 349424"/>
                <a:gd name="connsiteY2" fmla="*/ 1347742 h 1347952"/>
                <a:gd name="connsiteX3" fmla="*/ 305200 w 349424"/>
                <a:gd name="connsiteY3" fmla="*/ 1347742 h 1347952"/>
                <a:gd name="connsiteX4" fmla="*/ 346369 w 349424"/>
                <a:gd name="connsiteY4" fmla="*/ 202583 h 1347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424" h="1347952">
                  <a:moveTo>
                    <a:pt x="348910" y="-210"/>
                  </a:moveTo>
                  <a:lnTo>
                    <a:pt x="17656" y="-210"/>
                  </a:lnTo>
                  <a:lnTo>
                    <a:pt x="-514" y="1347742"/>
                  </a:lnTo>
                  <a:lnTo>
                    <a:pt x="305200" y="1347742"/>
                  </a:lnTo>
                  <a:cubicBezTo>
                    <a:pt x="305200" y="1347742"/>
                    <a:pt x="303548" y="602833"/>
                    <a:pt x="346369" y="202583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 36"/>
            <p:cNvSpPr/>
            <p:nvPr/>
          </p:nvSpPr>
          <p:spPr>
            <a:xfrm>
              <a:off x="6583298" y="5296537"/>
              <a:ext cx="484866" cy="136671"/>
            </a:xfrm>
            <a:custGeom>
              <a:avLst/>
              <a:gdLst>
                <a:gd name="connsiteX0" fmla="*/ 12168 w 428243"/>
                <a:gd name="connsiteY0" fmla="*/ -210 h 120710"/>
                <a:gd name="connsiteX1" fmla="*/ 276460 w 428243"/>
                <a:gd name="connsiteY1" fmla="*/ -210 h 120710"/>
                <a:gd name="connsiteX2" fmla="*/ 427729 w 428243"/>
                <a:gd name="connsiteY2" fmla="*/ 107794 h 120710"/>
                <a:gd name="connsiteX3" fmla="*/ 427729 w 428243"/>
                <a:gd name="connsiteY3" fmla="*/ 120500 h 120710"/>
                <a:gd name="connsiteX4" fmla="*/ 2067 w 428243"/>
                <a:gd name="connsiteY4" fmla="*/ 120500 h 120710"/>
                <a:gd name="connsiteX5" fmla="*/ 12295 w 428243"/>
                <a:gd name="connsiteY5" fmla="*/ -210 h 120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8243" h="120710">
                  <a:moveTo>
                    <a:pt x="12168" y="-210"/>
                  </a:moveTo>
                  <a:lnTo>
                    <a:pt x="276460" y="-210"/>
                  </a:lnTo>
                  <a:cubicBezTo>
                    <a:pt x="276460" y="-210"/>
                    <a:pt x="412354" y="76981"/>
                    <a:pt x="427729" y="107794"/>
                  </a:cubicBezTo>
                  <a:lnTo>
                    <a:pt x="427729" y="120500"/>
                  </a:lnTo>
                  <a:lnTo>
                    <a:pt x="2067" y="120500"/>
                  </a:lnTo>
                  <a:cubicBezTo>
                    <a:pt x="2067" y="120500"/>
                    <a:pt x="-8226" y="30412"/>
                    <a:pt x="12295" y="-210"/>
                  </a:cubicBezTo>
                  <a:close/>
                </a:path>
              </a:pathLst>
            </a:custGeom>
            <a:solidFill>
              <a:srgbClr val="00065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 37"/>
            <p:cNvSpPr/>
            <p:nvPr/>
          </p:nvSpPr>
          <p:spPr>
            <a:xfrm>
              <a:off x="6585142" y="5433496"/>
              <a:ext cx="483023" cy="22802"/>
            </a:xfrm>
            <a:custGeom>
              <a:avLst/>
              <a:gdLst>
                <a:gd name="connsiteX0" fmla="*/ 0 w 426615"/>
                <a:gd name="connsiteY0" fmla="*/ 0 h 20139"/>
                <a:gd name="connsiteX1" fmla="*/ 426615 w 426615"/>
                <a:gd name="connsiteY1" fmla="*/ 0 h 20139"/>
                <a:gd name="connsiteX2" fmla="*/ 426615 w 426615"/>
                <a:gd name="connsiteY2" fmla="*/ 20140 h 20139"/>
                <a:gd name="connsiteX3" fmla="*/ 0 w 426615"/>
                <a:gd name="connsiteY3" fmla="*/ 20140 h 20139"/>
                <a:gd name="connsiteX4" fmla="*/ 0 w 426615"/>
                <a:gd name="connsiteY4" fmla="*/ 0 h 20139"/>
                <a:gd name="connsiteX5" fmla="*/ 0 w 426615"/>
                <a:gd name="connsiteY5" fmla="*/ 0 h 2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6615" h="20139">
                  <a:moveTo>
                    <a:pt x="0" y="0"/>
                  </a:moveTo>
                  <a:lnTo>
                    <a:pt x="426615" y="0"/>
                  </a:lnTo>
                  <a:lnTo>
                    <a:pt x="426615" y="20140"/>
                  </a:lnTo>
                  <a:lnTo>
                    <a:pt x="0" y="2014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 38"/>
            <p:cNvSpPr/>
            <p:nvPr/>
          </p:nvSpPr>
          <p:spPr>
            <a:xfrm>
              <a:off x="6531551" y="3782441"/>
              <a:ext cx="395698" cy="1526181"/>
            </a:xfrm>
            <a:custGeom>
              <a:avLst/>
              <a:gdLst>
                <a:gd name="connsiteX0" fmla="*/ -514 w 349488"/>
                <a:gd name="connsiteY0" fmla="*/ -210 h 1347952"/>
                <a:gd name="connsiteX1" fmla="*/ 330803 w 349488"/>
                <a:gd name="connsiteY1" fmla="*/ -210 h 1347952"/>
                <a:gd name="connsiteX2" fmla="*/ 348974 w 349488"/>
                <a:gd name="connsiteY2" fmla="*/ 1347742 h 1347952"/>
                <a:gd name="connsiteX3" fmla="*/ 43259 w 349488"/>
                <a:gd name="connsiteY3" fmla="*/ 1347742 h 1347952"/>
                <a:gd name="connsiteX4" fmla="*/ 2408 w 349488"/>
                <a:gd name="connsiteY4" fmla="*/ 202583 h 1347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488" h="1347952">
                  <a:moveTo>
                    <a:pt x="-514" y="-210"/>
                  </a:moveTo>
                  <a:lnTo>
                    <a:pt x="330803" y="-210"/>
                  </a:lnTo>
                  <a:lnTo>
                    <a:pt x="348974" y="1347742"/>
                  </a:lnTo>
                  <a:lnTo>
                    <a:pt x="43259" y="1347742"/>
                  </a:lnTo>
                  <a:cubicBezTo>
                    <a:pt x="43259" y="1347742"/>
                    <a:pt x="44911" y="602833"/>
                    <a:pt x="2408" y="202583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 39"/>
            <p:cNvSpPr/>
            <p:nvPr/>
          </p:nvSpPr>
          <p:spPr>
            <a:xfrm>
              <a:off x="6096076" y="2836102"/>
              <a:ext cx="877570" cy="1154292"/>
            </a:xfrm>
            <a:custGeom>
              <a:avLst/>
              <a:gdLst>
                <a:gd name="connsiteX0" fmla="*/ 259966 w 775086"/>
                <a:gd name="connsiteY0" fmla="*/ -210 h 1019493"/>
                <a:gd name="connsiteX1" fmla="*/ 380676 w 775086"/>
                <a:gd name="connsiteY1" fmla="*/ 81873 h 1019493"/>
                <a:gd name="connsiteX2" fmla="*/ 383217 w 775086"/>
                <a:gd name="connsiteY2" fmla="*/ 81873 h 1019493"/>
                <a:gd name="connsiteX3" fmla="*/ 501132 w 775086"/>
                <a:gd name="connsiteY3" fmla="*/ -210 h 1019493"/>
                <a:gd name="connsiteX4" fmla="*/ 703735 w 775086"/>
                <a:gd name="connsiteY4" fmla="*/ 40832 h 1019493"/>
                <a:gd name="connsiteX5" fmla="*/ 774573 w 775086"/>
                <a:gd name="connsiteY5" fmla="*/ 943109 h 1019493"/>
                <a:gd name="connsiteX6" fmla="*/ -514 w 775086"/>
                <a:gd name="connsiteY6" fmla="*/ 924050 h 1019493"/>
                <a:gd name="connsiteX7" fmla="*/ 66893 w 775086"/>
                <a:gd name="connsiteY7" fmla="*/ 30603 h 1019493"/>
                <a:gd name="connsiteX8" fmla="*/ 260029 w 775086"/>
                <a:gd name="connsiteY8" fmla="*/ -210 h 1019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75086" h="1019493">
                  <a:moveTo>
                    <a:pt x="259966" y="-210"/>
                  </a:moveTo>
                  <a:cubicBezTo>
                    <a:pt x="277882" y="79268"/>
                    <a:pt x="372734" y="81873"/>
                    <a:pt x="380676" y="81873"/>
                  </a:cubicBezTo>
                  <a:lnTo>
                    <a:pt x="383217" y="81873"/>
                  </a:lnTo>
                  <a:cubicBezTo>
                    <a:pt x="390904" y="81873"/>
                    <a:pt x="480611" y="79268"/>
                    <a:pt x="501132" y="-210"/>
                  </a:cubicBezTo>
                  <a:lnTo>
                    <a:pt x="703735" y="40832"/>
                  </a:lnTo>
                  <a:lnTo>
                    <a:pt x="774573" y="943109"/>
                  </a:lnTo>
                  <a:cubicBezTo>
                    <a:pt x="615743" y="1025700"/>
                    <a:pt x="132394" y="1069347"/>
                    <a:pt x="-514" y="924050"/>
                  </a:cubicBezTo>
                  <a:lnTo>
                    <a:pt x="66893" y="30603"/>
                  </a:lnTo>
                  <a:lnTo>
                    <a:pt x="260029" y="-210"/>
                  </a:lnTo>
                  <a:close/>
                </a:path>
              </a:pathLst>
            </a:custGeom>
            <a:solidFill>
              <a:srgbClr val="00065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 40"/>
            <p:cNvSpPr/>
            <p:nvPr/>
          </p:nvSpPr>
          <p:spPr>
            <a:xfrm>
              <a:off x="5368249" y="3005839"/>
              <a:ext cx="792980" cy="422613"/>
            </a:xfrm>
            <a:custGeom>
              <a:avLst/>
              <a:gdLst>
                <a:gd name="connsiteX0" fmla="*/ 698477 w 700375"/>
                <a:gd name="connsiteY0" fmla="*/ 67344 h 373260"/>
                <a:gd name="connsiteX1" fmla="*/ 582976 w 700375"/>
                <a:gd name="connsiteY1" fmla="*/ 238880 h 373260"/>
                <a:gd name="connsiteX2" fmla="*/ 51470 w 700375"/>
                <a:gd name="connsiteY2" fmla="*/ 369755 h 373260"/>
                <a:gd name="connsiteX3" fmla="*/ 51470 w 700375"/>
                <a:gd name="connsiteY3" fmla="*/ 261751 h 373260"/>
                <a:gd name="connsiteX4" fmla="*/ 505786 w 700375"/>
                <a:gd name="connsiteY4" fmla="*/ 161816 h 373260"/>
                <a:gd name="connsiteX5" fmla="*/ 580181 w 700375"/>
                <a:gd name="connsiteY5" fmla="*/ 74714 h 373260"/>
                <a:gd name="connsiteX6" fmla="*/ 587932 w 700375"/>
                <a:gd name="connsiteY6" fmla="*/ 56798 h 373260"/>
                <a:gd name="connsiteX7" fmla="*/ 587932 w 700375"/>
                <a:gd name="connsiteY7" fmla="*/ 59339 h 373260"/>
                <a:gd name="connsiteX8" fmla="*/ 590474 w 700375"/>
                <a:gd name="connsiteY8" fmla="*/ 51652 h 373260"/>
                <a:gd name="connsiteX9" fmla="*/ 593015 w 700375"/>
                <a:gd name="connsiteY9" fmla="*/ 38945 h 373260"/>
                <a:gd name="connsiteX10" fmla="*/ 698287 w 700375"/>
                <a:gd name="connsiteY10" fmla="*/ 67154 h 37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00375" h="373260">
                  <a:moveTo>
                    <a:pt x="698477" y="67344"/>
                  </a:moveTo>
                  <a:cubicBezTo>
                    <a:pt x="683039" y="133989"/>
                    <a:pt x="634310" y="195488"/>
                    <a:pt x="582976" y="238880"/>
                  </a:cubicBezTo>
                  <a:cubicBezTo>
                    <a:pt x="439014" y="362068"/>
                    <a:pt x="233933" y="382525"/>
                    <a:pt x="51470" y="369755"/>
                  </a:cubicBezTo>
                  <a:cubicBezTo>
                    <a:pt x="-17843" y="364609"/>
                    <a:pt x="-17843" y="256986"/>
                    <a:pt x="51470" y="261751"/>
                  </a:cubicBezTo>
                  <a:cubicBezTo>
                    <a:pt x="202930" y="274457"/>
                    <a:pt x="385139" y="264356"/>
                    <a:pt x="505786" y="161816"/>
                  </a:cubicBezTo>
                  <a:cubicBezTo>
                    <a:pt x="541681" y="131066"/>
                    <a:pt x="559660" y="110609"/>
                    <a:pt x="580181" y="74714"/>
                  </a:cubicBezTo>
                  <a:cubicBezTo>
                    <a:pt x="582284" y="68545"/>
                    <a:pt x="584876" y="62554"/>
                    <a:pt x="587932" y="56798"/>
                  </a:cubicBezTo>
                  <a:cubicBezTo>
                    <a:pt x="593015" y="46506"/>
                    <a:pt x="582786" y="69504"/>
                    <a:pt x="587932" y="59339"/>
                  </a:cubicBezTo>
                  <a:cubicBezTo>
                    <a:pt x="587932" y="56798"/>
                    <a:pt x="590474" y="54193"/>
                    <a:pt x="590474" y="51652"/>
                  </a:cubicBezTo>
                  <a:cubicBezTo>
                    <a:pt x="591077" y="47370"/>
                    <a:pt x="591928" y="43132"/>
                    <a:pt x="593015" y="38945"/>
                  </a:cubicBezTo>
                  <a:cubicBezTo>
                    <a:pt x="610994" y="-30241"/>
                    <a:pt x="713725" y="509"/>
                    <a:pt x="698287" y="67154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 41"/>
            <p:cNvSpPr/>
            <p:nvPr/>
          </p:nvSpPr>
          <p:spPr>
            <a:xfrm>
              <a:off x="5555003" y="2870989"/>
              <a:ext cx="617392" cy="613005"/>
            </a:xfrm>
            <a:custGeom>
              <a:avLst/>
              <a:gdLst>
                <a:gd name="connsiteX0" fmla="*/ 14860 w 545292"/>
                <a:gd name="connsiteY0" fmla="*/ 541208 h 541418"/>
                <a:gd name="connsiteX1" fmla="*/ 534550 w 545292"/>
                <a:gd name="connsiteY1" fmla="*/ 283332 h 541418"/>
                <a:gd name="connsiteX2" fmla="*/ 544778 w 545292"/>
                <a:gd name="connsiteY2" fmla="*/ -210 h 541418"/>
                <a:gd name="connsiteX3" fmla="*/ 544778 w 545292"/>
                <a:gd name="connsiteY3" fmla="*/ -210 h 541418"/>
                <a:gd name="connsiteX4" fmla="*/ 356661 w 545292"/>
                <a:gd name="connsiteY4" fmla="*/ 143562 h 541418"/>
                <a:gd name="connsiteX5" fmla="*/ -514 w 545292"/>
                <a:gd name="connsiteY5" fmla="*/ 353662 h 541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5292" h="541418">
                  <a:moveTo>
                    <a:pt x="14860" y="541208"/>
                  </a:moveTo>
                  <a:cubicBezTo>
                    <a:pt x="14860" y="541208"/>
                    <a:pt x="369367" y="543812"/>
                    <a:pt x="534550" y="283332"/>
                  </a:cubicBezTo>
                  <a:lnTo>
                    <a:pt x="544778" y="-210"/>
                  </a:lnTo>
                  <a:lnTo>
                    <a:pt x="544778" y="-210"/>
                  </a:lnTo>
                  <a:cubicBezTo>
                    <a:pt x="544778" y="-210"/>
                    <a:pt x="471018" y="3793"/>
                    <a:pt x="356661" y="143562"/>
                  </a:cubicBezTo>
                  <a:cubicBezTo>
                    <a:pt x="285251" y="230855"/>
                    <a:pt x="140653" y="363890"/>
                    <a:pt x="-514" y="353662"/>
                  </a:cubicBez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 42"/>
            <p:cNvSpPr/>
            <p:nvPr/>
          </p:nvSpPr>
          <p:spPr>
            <a:xfrm>
              <a:off x="4621893" y="1105990"/>
              <a:ext cx="1140920" cy="1998720"/>
            </a:xfrm>
            <a:custGeom>
              <a:avLst/>
              <a:gdLst>
                <a:gd name="connsiteX0" fmla="*/ 596690 w 1007682"/>
                <a:gd name="connsiteY0" fmla="*/ 1042540 h 1765307"/>
                <a:gd name="connsiteX1" fmla="*/ 596690 w 1007682"/>
                <a:gd name="connsiteY1" fmla="*/ 1209120 h 1765307"/>
                <a:gd name="connsiteX2" fmla="*/ 479747 w 1007682"/>
                <a:gd name="connsiteY2" fmla="*/ 1332124 h 1765307"/>
                <a:gd name="connsiteX3" fmla="*/ 473502 w 1007682"/>
                <a:gd name="connsiteY3" fmla="*/ 1332118 h 1765307"/>
                <a:gd name="connsiteX4" fmla="*/ 350314 w 1007682"/>
                <a:gd name="connsiteY4" fmla="*/ 1209120 h 1765307"/>
                <a:gd name="connsiteX5" fmla="*/ 350314 w 1007682"/>
                <a:gd name="connsiteY5" fmla="*/ 945209 h 1765307"/>
                <a:gd name="connsiteX6" fmla="*/ 352855 w 1007682"/>
                <a:gd name="connsiteY6" fmla="*/ 940063 h 1765307"/>
                <a:gd name="connsiteX7" fmla="*/ 350314 w 1007682"/>
                <a:gd name="connsiteY7" fmla="*/ 934981 h 1765307"/>
                <a:gd name="connsiteX8" fmla="*/ 473502 w 1007682"/>
                <a:gd name="connsiteY8" fmla="*/ 811983 h 1765307"/>
                <a:gd name="connsiteX9" fmla="*/ 760983 w 1007682"/>
                <a:gd name="connsiteY9" fmla="*/ 530157 h 1765307"/>
                <a:gd name="connsiteX10" fmla="*/ 473502 w 1007682"/>
                <a:gd name="connsiteY10" fmla="*/ 245725 h 1765307"/>
                <a:gd name="connsiteX11" fmla="*/ 229667 w 1007682"/>
                <a:gd name="connsiteY11" fmla="*/ 384097 h 1765307"/>
                <a:gd name="connsiteX12" fmla="*/ 62134 w 1007682"/>
                <a:gd name="connsiteY12" fmla="*/ 430888 h 1765307"/>
                <a:gd name="connsiteX13" fmla="*/ 15343 w 1007682"/>
                <a:gd name="connsiteY13" fmla="*/ 263355 h 1765307"/>
                <a:gd name="connsiteX14" fmla="*/ 16645 w 1007682"/>
                <a:gd name="connsiteY14" fmla="*/ 261100 h 1765307"/>
                <a:gd name="connsiteX15" fmla="*/ 473502 w 1007682"/>
                <a:gd name="connsiteY15" fmla="*/ -206 h 1765307"/>
                <a:gd name="connsiteX16" fmla="*/ 1007168 w 1007682"/>
                <a:gd name="connsiteY16" fmla="*/ 530157 h 1765307"/>
                <a:gd name="connsiteX17" fmla="*/ 596499 w 1007682"/>
                <a:gd name="connsiteY17" fmla="*/ 1042540 h 1765307"/>
                <a:gd name="connsiteX18" fmla="*/ 596690 w 1007682"/>
                <a:gd name="connsiteY18" fmla="*/ 1595965 h 1765307"/>
                <a:gd name="connsiteX19" fmla="*/ 596690 w 1007682"/>
                <a:gd name="connsiteY19" fmla="*/ 1642089 h 1765307"/>
                <a:gd name="connsiteX20" fmla="*/ 473502 w 1007682"/>
                <a:gd name="connsiteY20" fmla="*/ 1765086 h 1765307"/>
                <a:gd name="connsiteX21" fmla="*/ 350314 w 1007682"/>
                <a:gd name="connsiteY21" fmla="*/ 1645221 h 1765307"/>
                <a:gd name="connsiteX22" fmla="*/ 350314 w 1007682"/>
                <a:gd name="connsiteY22" fmla="*/ 1642089 h 1765307"/>
                <a:gd name="connsiteX23" fmla="*/ 350314 w 1007682"/>
                <a:gd name="connsiteY23" fmla="*/ 1595965 h 1765307"/>
                <a:gd name="connsiteX24" fmla="*/ 473502 w 1007682"/>
                <a:gd name="connsiteY24" fmla="*/ 1473031 h 1765307"/>
                <a:gd name="connsiteX25" fmla="*/ 596690 w 1007682"/>
                <a:gd name="connsiteY25" fmla="*/ 1592769 h 1765307"/>
                <a:gd name="connsiteX26" fmla="*/ 596690 w 1007682"/>
                <a:gd name="connsiteY26" fmla="*/ 1595965 h 1765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07682" h="1765307">
                  <a:moveTo>
                    <a:pt x="596690" y="1042540"/>
                  </a:moveTo>
                  <a:lnTo>
                    <a:pt x="596690" y="1209120"/>
                  </a:lnTo>
                  <a:cubicBezTo>
                    <a:pt x="598361" y="1275377"/>
                    <a:pt x="546004" y="1330447"/>
                    <a:pt x="479747" y="1332124"/>
                  </a:cubicBezTo>
                  <a:cubicBezTo>
                    <a:pt x="477663" y="1332175"/>
                    <a:pt x="475579" y="1332175"/>
                    <a:pt x="473502" y="1332118"/>
                  </a:cubicBezTo>
                  <a:cubicBezTo>
                    <a:pt x="405529" y="1332156"/>
                    <a:pt x="350384" y="1277093"/>
                    <a:pt x="350314" y="1209120"/>
                  </a:cubicBezTo>
                  <a:lnTo>
                    <a:pt x="350314" y="945209"/>
                  </a:lnTo>
                  <a:cubicBezTo>
                    <a:pt x="350314" y="942668"/>
                    <a:pt x="352855" y="942668"/>
                    <a:pt x="352855" y="940063"/>
                  </a:cubicBezTo>
                  <a:cubicBezTo>
                    <a:pt x="350314" y="937522"/>
                    <a:pt x="350314" y="937522"/>
                    <a:pt x="350314" y="934981"/>
                  </a:cubicBezTo>
                  <a:cubicBezTo>
                    <a:pt x="350314" y="870941"/>
                    <a:pt x="406793" y="811983"/>
                    <a:pt x="473502" y="811983"/>
                  </a:cubicBezTo>
                  <a:cubicBezTo>
                    <a:pt x="632649" y="811983"/>
                    <a:pt x="760983" y="686445"/>
                    <a:pt x="760983" y="530157"/>
                  </a:cubicBezTo>
                  <a:cubicBezTo>
                    <a:pt x="760983" y="368723"/>
                    <a:pt x="632649" y="245725"/>
                    <a:pt x="473502" y="245725"/>
                  </a:cubicBezTo>
                  <a:cubicBezTo>
                    <a:pt x="373636" y="246094"/>
                    <a:pt x="281198" y="298552"/>
                    <a:pt x="229667" y="384097"/>
                  </a:cubicBezTo>
                  <a:cubicBezTo>
                    <a:pt x="196326" y="443283"/>
                    <a:pt x="121320" y="464230"/>
                    <a:pt x="62134" y="430888"/>
                  </a:cubicBezTo>
                  <a:cubicBezTo>
                    <a:pt x="2948" y="397547"/>
                    <a:pt x="-17999" y="322541"/>
                    <a:pt x="15343" y="263355"/>
                  </a:cubicBezTo>
                  <a:cubicBezTo>
                    <a:pt x="15769" y="262599"/>
                    <a:pt x="16201" y="261850"/>
                    <a:pt x="16645" y="261100"/>
                  </a:cubicBezTo>
                  <a:cubicBezTo>
                    <a:pt x="111346" y="98668"/>
                    <a:pt x="285480" y="-930"/>
                    <a:pt x="473502" y="-206"/>
                  </a:cubicBezTo>
                  <a:cubicBezTo>
                    <a:pt x="766129" y="-206"/>
                    <a:pt x="1007168" y="235497"/>
                    <a:pt x="1007168" y="530157"/>
                  </a:cubicBezTo>
                  <a:cubicBezTo>
                    <a:pt x="1007168" y="778693"/>
                    <a:pt x="832647" y="988792"/>
                    <a:pt x="596499" y="1042540"/>
                  </a:cubicBezTo>
                  <a:close/>
                  <a:moveTo>
                    <a:pt x="596690" y="1595965"/>
                  </a:moveTo>
                  <a:lnTo>
                    <a:pt x="596690" y="1642089"/>
                  </a:lnTo>
                  <a:cubicBezTo>
                    <a:pt x="596690" y="1713816"/>
                    <a:pt x="545356" y="1765086"/>
                    <a:pt x="473502" y="1765086"/>
                  </a:cubicBezTo>
                  <a:cubicBezTo>
                    <a:pt x="406387" y="1766001"/>
                    <a:pt x="351235" y="1712336"/>
                    <a:pt x="350314" y="1645221"/>
                  </a:cubicBezTo>
                  <a:cubicBezTo>
                    <a:pt x="350301" y="1644179"/>
                    <a:pt x="350301" y="1643131"/>
                    <a:pt x="350314" y="1642089"/>
                  </a:cubicBezTo>
                  <a:lnTo>
                    <a:pt x="350314" y="1595965"/>
                  </a:lnTo>
                  <a:cubicBezTo>
                    <a:pt x="351305" y="1528386"/>
                    <a:pt x="405923" y="1473882"/>
                    <a:pt x="473502" y="1473031"/>
                  </a:cubicBezTo>
                  <a:cubicBezTo>
                    <a:pt x="540585" y="1472078"/>
                    <a:pt x="595737" y="1525686"/>
                    <a:pt x="596690" y="1592769"/>
                  </a:cubicBezTo>
                  <a:cubicBezTo>
                    <a:pt x="596703" y="1593830"/>
                    <a:pt x="596703" y="1594897"/>
                    <a:pt x="596690" y="1595965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 43"/>
            <p:cNvSpPr/>
            <p:nvPr/>
          </p:nvSpPr>
          <p:spPr>
            <a:xfrm>
              <a:off x="6447837" y="2687348"/>
              <a:ext cx="549892" cy="723736"/>
            </a:xfrm>
            <a:custGeom>
              <a:avLst/>
              <a:gdLst>
                <a:gd name="connsiteX0" fmla="*/ 104936 w 485675"/>
                <a:gd name="connsiteY0" fmla="*/ 49599 h 639217"/>
                <a:gd name="connsiteX1" fmla="*/ 228188 w 485675"/>
                <a:gd name="connsiteY1" fmla="*/ 397943 h 639217"/>
                <a:gd name="connsiteX2" fmla="*/ 282126 w 485675"/>
                <a:gd name="connsiteY2" fmla="*/ 492733 h 639217"/>
                <a:gd name="connsiteX3" fmla="*/ 305252 w 485675"/>
                <a:gd name="connsiteY3" fmla="*/ 523482 h 639217"/>
                <a:gd name="connsiteX4" fmla="*/ 315544 w 485675"/>
                <a:gd name="connsiteY4" fmla="*/ 533711 h 639217"/>
                <a:gd name="connsiteX5" fmla="*/ 294959 w 485675"/>
                <a:gd name="connsiteY5" fmla="*/ 533711 h 639217"/>
                <a:gd name="connsiteX6" fmla="*/ 310398 w 485675"/>
                <a:gd name="connsiteY6" fmla="*/ 513253 h 639217"/>
                <a:gd name="connsiteX7" fmla="*/ 341210 w 485675"/>
                <a:gd name="connsiteY7" fmla="*/ 456837 h 639217"/>
                <a:gd name="connsiteX8" fmla="*/ 379711 w 485675"/>
                <a:gd name="connsiteY8" fmla="*/ 308300 h 639217"/>
                <a:gd name="connsiteX9" fmla="*/ 484982 w 485675"/>
                <a:gd name="connsiteY9" fmla="*/ 308300 h 639217"/>
                <a:gd name="connsiteX10" fmla="*/ 364272 w 485675"/>
                <a:gd name="connsiteY10" fmla="*/ 613252 h 639217"/>
                <a:gd name="connsiteX11" fmla="*/ 179395 w 485675"/>
                <a:gd name="connsiteY11" fmla="*/ 528692 h 639217"/>
                <a:gd name="connsiteX12" fmla="*/ 53602 w 485675"/>
                <a:gd name="connsiteY12" fmla="*/ 267449 h 639217"/>
                <a:gd name="connsiteX13" fmla="*/ -336 w 485675"/>
                <a:gd name="connsiteY13" fmla="*/ 49726 h 639217"/>
                <a:gd name="connsiteX14" fmla="*/ 104936 w 485675"/>
                <a:gd name="connsiteY14" fmla="*/ 49726 h 639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85675" h="639217">
                  <a:moveTo>
                    <a:pt x="104936" y="49599"/>
                  </a:moveTo>
                  <a:cubicBezTo>
                    <a:pt x="115228" y="172533"/>
                    <a:pt x="174312" y="290384"/>
                    <a:pt x="228188" y="397943"/>
                  </a:cubicBezTo>
                  <a:cubicBezTo>
                    <a:pt x="246167" y="431234"/>
                    <a:pt x="261605" y="461983"/>
                    <a:pt x="282126" y="492733"/>
                  </a:cubicBezTo>
                  <a:lnTo>
                    <a:pt x="305252" y="523482"/>
                  </a:lnTo>
                  <a:cubicBezTo>
                    <a:pt x="307793" y="528565"/>
                    <a:pt x="320626" y="536188"/>
                    <a:pt x="315544" y="533711"/>
                  </a:cubicBezTo>
                  <a:cubicBezTo>
                    <a:pt x="297564" y="541398"/>
                    <a:pt x="290131" y="541398"/>
                    <a:pt x="294959" y="533711"/>
                  </a:cubicBezTo>
                  <a:cubicBezTo>
                    <a:pt x="302647" y="528565"/>
                    <a:pt x="305252" y="521004"/>
                    <a:pt x="310398" y="513253"/>
                  </a:cubicBezTo>
                  <a:cubicBezTo>
                    <a:pt x="322596" y="495566"/>
                    <a:pt x="332951" y="476659"/>
                    <a:pt x="341210" y="456837"/>
                  </a:cubicBezTo>
                  <a:cubicBezTo>
                    <a:pt x="364145" y="410497"/>
                    <a:pt x="377233" y="359932"/>
                    <a:pt x="379711" y="308300"/>
                  </a:cubicBezTo>
                  <a:cubicBezTo>
                    <a:pt x="382252" y="241719"/>
                    <a:pt x="490129" y="241719"/>
                    <a:pt x="484982" y="308300"/>
                  </a:cubicBezTo>
                  <a:cubicBezTo>
                    <a:pt x="479837" y="410777"/>
                    <a:pt x="441336" y="541398"/>
                    <a:pt x="364272" y="613252"/>
                  </a:cubicBezTo>
                  <a:cubicBezTo>
                    <a:pt x="287208" y="685107"/>
                    <a:pt x="218149" y="590190"/>
                    <a:pt x="179395" y="528692"/>
                  </a:cubicBezTo>
                  <a:cubicBezTo>
                    <a:pt x="128061" y="446736"/>
                    <a:pt x="92102" y="357156"/>
                    <a:pt x="53602" y="267449"/>
                  </a:cubicBezTo>
                  <a:cubicBezTo>
                    <a:pt x="25185" y="197869"/>
                    <a:pt x="7014" y="124528"/>
                    <a:pt x="-336" y="49726"/>
                  </a:cubicBezTo>
                  <a:cubicBezTo>
                    <a:pt x="-5419" y="-16855"/>
                    <a:pt x="99853" y="-16855"/>
                    <a:pt x="104936" y="49726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 44"/>
            <p:cNvSpPr/>
            <p:nvPr/>
          </p:nvSpPr>
          <p:spPr>
            <a:xfrm>
              <a:off x="6450484" y="2821356"/>
              <a:ext cx="595677" cy="626971"/>
            </a:xfrm>
            <a:custGeom>
              <a:avLst/>
              <a:gdLst>
                <a:gd name="connsiteX0" fmla="*/ 391667 w 526113"/>
                <a:gd name="connsiteY0" fmla="*/ 53983 h 553753"/>
                <a:gd name="connsiteX1" fmla="*/ 525083 w 526113"/>
                <a:gd name="connsiteY1" fmla="*/ 215734 h 553753"/>
                <a:gd name="connsiteX2" fmla="*/ 273815 w 526113"/>
                <a:gd name="connsiteY2" fmla="*/ 552135 h 553753"/>
                <a:gd name="connsiteX3" fmla="*/ -514 w 526113"/>
                <a:gd name="connsiteY3" fmla="*/ 53983 h 553753"/>
                <a:gd name="connsiteX4" fmla="*/ 137540 w 526113"/>
                <a:gd name="connsiteY4" fmla="*/ -210 h 553753"/>
                <a:gd name="connsiteX5" fmla="*/ 299037 w 526113"/>
                <a:gd name="connsiteY5" fmla="*/ 364398 h 553753"/>
                <a:gd name="connsiteX6" fmla="*/ 391667 w 526113"/>
                <a:gd name="connsiteY6" fmla="*/ 53983 h 553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6113" h="553753">
                  <a:moveTo>
                    <a:pt x="391667" y="53983"/>
                  </a:moveTo>
                  <a:cubicBezTo>
                    <a:pt x="391667" y="53983"/>
                    <a:pt x="535248" y="69357"/>
                    <a:pt x="525083" y="215734"/>
                  </a:cubicBezTo>
                  <a:cubicBezTo>
                    <a:pt x="514791" y="364653"/>
                    <a:pt x="391667" y="572656"/>
                    <a:pt x="273815" y="552135"/>
                  </a:cubicBezTo>
                  <a:cubicBezTo>
                    <a:pt x="155837" y="529009"/>
                    <a:pt x="27630" y="187463"/>
                    <a:pt x="-514" y="53983"/>
                  </a:cubicBezTo>
                  <a:lnTo>
                    <a:pt x="137540" y="-210"/>
                  </a:lnTo>
                  <a:cubicBezTo>
                    <a:pt x="137540" y="-210"/>
                    <a:pt x="275975" y="356711"/>
                    <a:pt x="299037" y="364398"/>
                  </a:cubicBezTo>
                  <a:lnTo>
                    <a:pt x="391667" y="53983"/>
                  </a:ln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 45"/>
            <p:cNvSpPr/>
            <p:nvPr/>
          </p:nvSpPr>
          <p:spPr>
            <a:xfrm>
              <a:off x="8263601" y="2004798"/>
              <a:ext cx="273214" cy="237195"/>
            </a:xfrm>
            <a:custGeom>
              <a:avLst/>
              <a:gdLst>
                <a:gd name="connsiteX0" fmla="*/ -513 w 241308"/>
                <a:gd name="connsiteY0" fmla="*/ 130082 h 209495"/>
                <a:gd name="connsiteX1" fmla="*/ 215813 w 241308"/>
                <a:gd name="connsiteY1" fmla="*/ 56513 h 209495"/>
                <a:gd name="connsiteX2" fmla="*/ 122294 w 241308"/>
                <a:gd name="connsiteY2" fmla="*/ 208608 h 209495"/>
                <a:gd name="connsiteX3" fmla="*/ 21470 w 241308"/>
                <a:gd name="connsiteY3" fmla="*/ 130972 h 2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308" h="209495">
                  <a:moveTo>
                    <a:pt x="-513" y="130082"/>
                  </a:moveTo>
                  <a:cubicBezTo>
                    <a:pt x="-1084" y="1177"/>
                    <a:pt x="150439" y="-48188"/>
                    <a:pt x="215813" y="56513"/>
                  </a:cubicBezTo>
                  <a:cubicBezTo>
                    <a:pt x="281187" y="161213"/>
                    <a:pt x="207046" y="216104"/>
                    <a:pt x="122294" y="208608"/>
                  </a:cubicBezTo>
                  <a:cubicBezTo>
                    <a:pt x="37543" y="201111"/>
                    <a:pt x="21470" y="130972"/>
                    <a:pt x="21470" y="130972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 46"/>
            <p:cNvSpPr/>
            <p:nvPr/>
          </p:nvSpPr>
          <p:spPr>
            <a:xfrm>
              <a:off x="8197929" y="2105151"/>
              <a:ext cx="197911" cy="239513"/>
            </a:xfrm>
            <a:custGeom>
              <a:avLst/>
              <a:gdLst>
                <a:gd name="connsiteX0" fmla="*/ -514 w 174799"/>
                <a:gd name="connsiteY0" fmla="*/ 24739 h 211542"/>
                <a:gd name="connsiteX1" fmla="*/ 166701 w 174799"/>
                <a:gd name="connsiteY1" fmla="*/ 92020 h 211542"/>
                <a:gd name="connsiteX2" fmla="*/ 160348 w 174799"/>
                <a:gd name="connsiteY2" fmla="*/ 211332 h 21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4799" h="211542">
                  <a:moveTo>
                    <a:pt x="-514" y="24739"/>
                  </a:moveTo>
                  <a:cubicBezTo>
                    <a:pt x="35890" y="-41461"/>
                    <a:pt x="146498" y="39161"/>
                    <a:pt x="166701" y="92020"/>
                  </a:cubicBezTo>
                  <a:cubicBezTo>
                    <a:pt x="186904" y="144878"/>
                    <a:pt x="160348" y="211332"/>
                    <a:pt x="160348" y="211332"/>
                  </a:cubicBez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 47"/>
            <p:cNvSpPr/>
            <p:nvPr/>
          </p:nvSpPr>
          <p:spPr>
            <a:xfrm>
              <a:off x="7774250" y="2086348"/>
              <a:ext cx="652587" cy="579300"/>
            </a:xfrm>
            <a:custGeom>
              <a:avLst/>
              <a:gdLst>
                <a:gd name="connsiteX0" fmla="*/ -514 w 576377"/>
                <a:gd name="connsiteY0" fmla="*/ 291788 h 511649"/>
                <a:gd name="connsiteX1" fmla="*/ 355898 w 576377"/>
                <a:gd name="connsiteY1" fmla="*/ 7992 h 511649"/>
                <a:gd name="connsiteX2" fmla="*/ 556976 w 576377"/>
                <a:gd name="connsiteY2" fmla="*/ 175842 h 511649"/>
                <a:gd name="connsiteX3" fmla="*/ 473114 w 576377"/>
                <a:gd name="connsiteY3" fmla="*/ 482701 h 511649"/>
                <a:gd name="connsiteX4" fmla="*/ -514 w 576377"/>
                <a:gd name="connsiteY4" fmla="*/ 291661 h 511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6377" h="511649">
                  <a:moveTo>
                    <a:pt x="-514" y="291788"/>
                  </a:moveTo>
                  <a:cubicBezTo>
                    <a:pt x="10667" y="33341"/>
                    <a:pt x="203739" y="-24473"/>
                    <a:pt x="355898" y="7992"/>
                  </a:cubicBezTo>
                  <a:cubicBezTo>
                    <a:pt x="508056" y="40456"/>
                    <a:pt x="556976" y="175842"/>
                    <a:pt x="556976" y="175842"/>
                  </a:cubicBezTo>
                  <a:cubicBezTo>
                    <a:pt x="556976" y="175842"/>
                    <a:pt x="635247" y="359195"/>
                    <a:pt x="473114" y="482701"/>
                  </a:cubicBezTo>
                  <a:cubicBezTo>
                    <a:pt x="310981" y="606206"/>
                    <a:pt x="-514" y="291661"/>
                    <a:pt x="-514" y="291661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 48"/>
            <p:cNvSpPr/>
            <p:nvPr/>
          </p:nvSpPr>
          <p:spPr>
            <a:xfrm>
              <a:off x="7926027" y="2682959"/>
              <a:ext cx="248884" cy="276290"/>
            </a:xfrm>
            <a:custGeom>
              <a:avLst/>
              <a:gdLst>
                <a:gd name="connsiteX0" fmla="*/ 109395 w 219819"/>
                <a:gd name="connsiteY0" fmla="*/ 243815 h 244025"/>
                <a:gd name="connsiteX1" fmla="*/ 109395 w 219819"/>
                <a:gd name="connsiteY1" fmla="*/ 243815 h 244025"/>
                <a:gd name="connsiteX2" fmla="*/ -514 w 219819"/>
                <a:gd name="connsiteY2" fmla="*/ 160906 h 244025"/>
                <a:gd name="connsiteX3" fmla="*/ -514 w 219819"/>
                <a:gd name="connsiteY3" fmla="*/ -210 h 244025"/>
                <a:gd name="connsiteX4" fmla="*/ 219305 w 219819"/>
                <a:gd name="connsiteY4" fmla="*/ -210 h 244025"/>
                <a:gd name="connsiteX5" fmla="*/ 219305 w 219819"/>
                <a:gd name="connsiteY5" fmla="*/ 160017 h 244025"/>
                <a:gd name="connsiteX6" fmla="*/ 110602 w 219819"/>
                <a:gd name="connsiteY6" fmla="*/ 243815 h 244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819" h="244025">
                  <a:moveTo>
                    <a:pt x="109395" y="243815"/>
                  </a:moveTo>
                  <a:lnTo>
                    <a:pt x="109395" y="243815"/>
                  </a:lnTo>
                  <a:cubicBezTo>
                    <a:pt x="48976" y="243815"/>
                    <a:pt x="-197" y="206967"/>
                    <a:pt x="-514" y="160906"/>
                  </a:cubicBezTo>
                  <a:lnTo>
                    <a:pt x="-514" y="-210"/>
                  </a:lnTo>
                  <a:lnTo>
                    <a:pt x="219305" y="-210"/>
                  </a:lnTo>
                  <a:lnTo>
                    <a:pt x="219305" y="160017"/>
                  </a:lnTo>
                  <a:cubicBezTo>
                    <a:pt x="219305" y="206014"/>
                    <a:pt x="170958" y="243498"/>
                    <a:pt x="110602" y="243815"/>
                  </a:cubicBez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 49"/>
            <p:cNvSpPr/>
            <p:nvPr/>
          </p:nvSpPr>
          <p:spPr>
            <a:xfrm>
              <a:off x="7730087" y="2415564"/>
              <a:ext cx="132524" cy="169000"/>
            </a:xfrm>
            <a:custGeom>
              <a:avLst/>
              <a:gdLst>
                <a:gd name="connsiteX0" fmla="*/ 93764 w 117048"/>
                <a:gd name="connsiteY0" fmla="*/ 41043 h 149264"/>
                <a:gd name="connsiteX1" fmla="*/ 1072 w 117048"/>
                <a:gd name="connsiteY1" fmla="*/ 45490 h 149264"/>
                <a:gd name="connsiteX2" fmla="*/ 95670 w 117048"/>
                <a:gd name="connsiteY2" fmla="*/ 138183 h 149264"/>
                <a:gd name="connsiteX3" fmla="*/ 93764 w 117048"/>
                <a:gd name="connsiteY3" fmla="*/ 41043 h 149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7048" h="149264">
                  <a:moveTo>
                    <a:pt x="93764" y="41043"/>
                  </a:moveTo>
                  <a:cubicBezTo>
                    <a:pt x="64540" y="-28842"/>
                    <a:pt x="9394" y="2098"/>
                    <a:pt x="1072" y="45490"/>
                  </a:cubicBezTo>
                  <a:cubicBezTo>
                    <a:pt x="-10936" y="108450"/>
                    <a:pt x="47640" y="175857"/>
                    <a:pt x="95670" y="138183"/>
                  </a:cubicBezTo>
                  <a:cubicBezTo>
                    <a:pt x="143700" y="100509"/>
                    <a:pt x="93764" y="41043"/>
                    <a:pt x="93764" y="41043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 50"/>
            <p:cNvSpPr/>
            <p:nvPr/>
          </p:nvSpPr>
          <p:spPr>
            <a:xfrm>
              <a:off x="8248927" y="2523567"/>
              <a:ext cx="148402" cy="155616"/>
            </a:xfrm>
            <a:custGeom>
              <a:avLst/>
              <a:gdLst>
                <a:gd name="connsiteX0" fmla="*/ 44850 w 131071"/>
                <a:gd name="connsiteY0" fmla="*/ 23606 h 137443"/>
                <a:gd name="connsiteX1" fmla="*/ 129474 w 131071"/>
                <a:gd name="connsiteY1" fmla="*/ 61725 h 137443"/>
                <a:gd name="connsiteX2" fmla="*/ 7430 w 131071"/>
                <a:gd name="connsiteY2" fmla="*/ 113122 h 137443"/>
                <a:gd name="connsiteX3" fmla="*/ 44850 w 131071"/>
                <a:gd name="connsiteY3" fmla="*/ 23479 h 137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071" h="137443">
                  <a:moveTo>
                    <a:pt x="44850" y="23606"/>
                  </a:moveTo>
                  <a:cubicBezTo>
                    <a:pt x="97708" y="-30396"/>
                    <a:pt x="137734" y="18397"/>
                    <a:pt x="129474" y="61725"/>
                  </a:cubicBezTo>
                  <a:cubicBezTo>
                    <a:pt x="117466" y="124685"/>
                    <a:pt x="38115" y="165790"/>
                    <a:pt x="7430" y="113122"/>
                  </a:cubicBezTo>
                  <a:cubicBezTo>
                    <a:pt x="-23256" y="60455"/>
                    <a:pt x="44850" y="23479"/>
                    <a:pt x="44850" y="23479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 51"/>
            <p:cNvSpPr/>
            <p:nvPr/>
          </p:nvSpPr>
          <p:spPr>
            <a:xfrm>
              <a:off x="7809723" y="2240589"/>
              <a:ext cx="532212" cy="546181"/>
            </a:xfrm>
            <a:custGeom>
              <a:avLst/>
              <a:gdLst>
                <a:gd name="connsiteX0" fmla="*/ 180923 w 470060"/>
                <a:gd name="connsiteY0" fmla="*/ 478301 h 482397"/>
                <a:gd name="connsiteX1" fmla="*/ 29463 w 470060"/>
                <a:gd name="connsiteY1" fmla="*/ 77479 h 482397"/>
                <a:gd name="connsiteX2" fmla="*/ 469484 w 470060"/>
                <a:gd name="connsiteY2" fmla="*/ 161341 h 482397"/>
                <a:gd name="connsiteX3" fmla="*/ 180923 w 470060"/>
                <a:gd name="connsiteY3" fmla="*/ 478301 h 482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0060" h="482397">
                  <a:moveTo>
                    <a:pt x="180923" y="478301"/>
                  </a:moveTo>
                  <a:cubicBezTo>
                    <a:pt x="19045" y="447488"/>
                    <a:pt x="-42962" y="252065"/>
                    <a:pt x="29463" y="77479"/>
                  </a:cubicBezTo>
                  <a:cubicBezTo>
                    <a:pt x="89247" y="-66293"/>
                    <a:pt x="466880" y="5688"/>
                    <a:pt x="469484" y="161341"/>
                  </a:cubicBezTo>
                  <a:cubicBezTo>
                    <a:pt x="472788" y="350348"/>
                    <a:pt x="342929" y="509304"/>
                    <a:pt x="180923" y="47830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 52"/>
            <p:cNvSpPr/>
            <p:nvPr/>
          </p:nvSpPr>
          <p:spPr>
            <a:xfrm>
              <a:off x="7789201" y="2165401"/>
              <a:ext cx="375782" cy="560573"/>
            </a:xfrm>
            <a:custGeom>
              <a:avLst/>
              <a:gdLst>
                <a:gd name="connsiteX0" fmla="*/ 331384 w 331898"/>
                <a:gd name="connsiteY0" fmla="*/ 36709 h 495109"/>
                <a:gd name="connsiteX1" fmla="*/ 61184 w 331898"/>
                <a:gd name="connsiteY1" fmla="*/ 494899 h 495109"/>
                <a:gd name="connsiteX2" fmla="*/ 61184 w 331898"/>
                <a:gd name="connsiteY2" fmla="*/ 494899 h 495109"/>
                <a:gd name="connsiteX3" fmla="*/ 42633 w 331898"/>
                <a:gd name="connsiteY3" fmla="*/ 73430 h 495109"/>
                <a:gd name="connsiteX4" fmla="*/ 331384 w 331898"/>
                <a:gd name="connsiteY4" fmla="*/ 36709 h 495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898" h="495109">
                  <a:moveTo>
                    <a:pt x="331384" y="36709"/>
                  </a:moveTo>
                  <a:cubicBezTo>
                    <a:pt x="45491" y="74002"/>
                    <a:pt x="40409" y="335308"/>
                    <a:pt x="61184" y="494899"/>
                  </a:cubicBezTo>
                  <a:lnTo>
                    <a:pt x="61184" y="494899"/>
                  </a:lnTo>
                  <a:cubicBezTo>
                    <a:pt x="61184" y="494899"/>
                    <a:pt x="-64292" y="213962"/>
                    <a:pt x="42633" y="73430"/>
                  </a:cubicBezTo>
                  <a:cubicBezTo>
                    <a:pt x="149556" y="-67102"/>
                    <a:pt x="331384" y="36709"/>
                    <a:pt x="331384" y="36709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 53"/>
            <p:cNvSpPr/>
            <p:nvPr/>
          </p:nvSpPr>
          <p:spPr>
            <a:xfrm>
              <a:off x="7703109" y="2838260"/>
              <a:ext cx="683282" cy="765140"/>
            </a:xfrm>
            <a:custGeom>
              <a:avLst/>
              <a:gdLst>
                <a:gd name="connsiteX0" fmla="*/ 602973 w 603487"/>
                <a:gd name="connsiteY0" fmla="*/ 61225 h 675786"/>
                <a:gd name="connsiteX1" fmla="*/ 415491 w 603487"/>
                <a:gd name="connsiteY1" fmla="*/ -210 h 675786"/>
                <a:gd name="connsiteX2" fmla="*/ 302532 w 603487"/>
                <a:gd name="connsiteY2" fmla="*/ 86828 h 675786"/>
                <a:gd name="connsiteX3" fmla="*/ 299927 w 603487"/>
                <a:gd name="connsiteY3" fmla="*/ 86828 h 675786"/>
                <a:gd name="connsiteX4" fmla="*/ 197260 w 603487"/>
                <a:gd name="connsiteY4" fmla="*/ -210 h 675786"/>
                <a:gd name="connsiteX5" fmla="*/ -514 w 603487"/>
                <a:gd name="connsiteY5" fmla="*/ 61225 h 675786"/>
                <a:gd name="connsiteX6" fmla="*/ 24898 w 603487"/>
                <a:gd name="connsiteY6" fmla="*/ 268529 h 675786"/>
                <a:gd name="connsiteX7" fmla="*/ 50311 w 603487"/>
                <a:gd name="connsiteY7" fmla="*/ 406774 h 675786"/>
                <a:gd name="connsiteX8" fmla="*/ 88811 w 603487"/>
                <a:gd name="connsiteY8" fmla="*/ 675577 h 675786"/>
                <a:gd name="connsiteX9" fmla="*/ 512504 w 603487"/>
                <a:gd name="connsiteY9" fmla="*/ 675577 h 675786"/>
                <a:gd name="connsiteX10" fmla="*/ 553609 w 603487"/>
                <a:gd name="connsiteY10" fmla="*/ 406774 h 675786"/>
                <a:gd name="connsiteX11" fmla="*/ 576735 w 603487"/>
                <a:gd name="connsiteY11" fmla="*/ 268529 h 675786"/>
                <a:gd name="connsiteX12" fmla="*/ 602147 w 603487"/>
                <a:gd name="connsiteY12" fmla="*/ 61225 h 675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03487" h="675786">
                  <a:moveTo>
                    <a:pt x="602973" y="61225"/>
                  </a:moveTo>
                  <a:lnTo>
                    <a:pt x="415491" y="-210"/>
                  </a:lnTo>
                  <a:cubicBezTo>
                    <a:pt x="400116" y="66308"/>
                    <a:pt x="315365" y="86828"/>
                    <a:pt x="302532" y="86828"/>
                  </a:cubicBezTo>
                  <a:lnTo>
                    <a:pt x="299927" y="86828"/>
                  </a:lnTo>
                  <a:cubicBezTo>
                    <a:pt x="287220" y="86828"/>
                    <a:pt x="212634" y="66308"/>
                    <a:pt x="197260" y="-210"/>
                  </a:cubicBezTo>
                  <a:lnTo>
                    <a:pt x="-514" y="61225"/>
                  </a:lnTo>
                  <a:lnTo>
                    <a:pt x="24898" y="268529"/>
                  </a:lnTo>
                  <a:cubicBezTo>
                    <a:pt x="24898" y="268529"/>
                    <a:pt x="9460" y="347880"/>
                    <a:pt x="50311" y="406774"/>
                  </a:cubicBezTo>
                  <a:cubicBezTo>
                    <a:pt x="88811" y="463063"/>
                    <a:pt x="88811" y="675577"/>
                    <a:pt x="88811" y="675577"/>
                  </a:cubicBezTo>
                  <a:lnTo>
                    <a:pt x="512504" y="675577"/>
                  </a:lnTo>
                  <a:cubicBezTo>
                    <a:pt x="512504" y="675577"/>
                    <a:pt x="512504" y="463063"/>
                    <a:pt x="553609" y="406774"/>
                  </a:cubicBezTo>
                  <a:cubicBezTo>
                    <a:pt x="592109" y="347880"/>
                    <a:pt x="576735" y="268529"/>
                    <a:pt x="576735" y="268529"/>
                  </a:cubicBezTo>
                  <a:lnTo>
                    <a:pt x="602147" y="61225"/>
                  </a:ln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 54"/>
            <p:cNvSpPr/>
            <p:nvPr/>
          </p:nvSpPr>
          <p:spPr>
            <a:xfrm>
              <a:off x="7668222" y="2246131"/>
              <a:ext cx="203061" cy="147805"/>
            </a:xfrm>
            <a:custGeom>
              <a:avLst/>
              <a:gdLst>
                <a:gd name="connsiteX0" fmla="*/ -514 w 179347"/>
                <a:gd name="connsiteY0" fmla="*/ 71186 h 130544"/>
                <a:gd name="connsiteX1" fmla="*/ 171784 w 179347"/>
                <a:gd name="connsiteY1" fmla="*/ 4287 h 130544"/>
                <a:gd name="connsiteX2" fmla="*/ 43195 w 179347"/>
                <a:gd name="connsiteY2" fmla="*/ 130334 h 130544"/>
                <a:gd name="connsiteX3" fmla="*/ -514 w 179347"/>
                <a:gd name="connsiteY3" fmla="*/ 71186 h 130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9347" h="130544">
                  <a:moveTo>
                    <a:pt x="-514" y="71186"/>
                  </a:moveTo>
                  <a:cubicBezTo>
                    <a:pt x="-514" y="71186"/>
                    <a:pt x="146053" y="-21379"/>
                    <a:pt x="171784" y="4287"/>
                  </a:cubicBezTo>
                  <a:cubicBezTo>
                    <a:pt x="197196" y="27477"/>
                    <a:pt x="153804" y="73728"/>
                    <a:pt x="43195" y="130334"/>
                  </a:cubicBezTo>
                  <a:lnTo>
                    <a:pt x="-514" y="71186"/>
                  </a:ln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 55"/>
            <p:cNvSpPr/>
            <p:nvPr/>
          </p:nvSpPr>
          <p:spPr>
            <a:xfrm>
              <a:off x="7253337" y="2273163"/>
              <a:ext cx="519616" cy="812040"/>
            </a:xfrm>
            <a:custGeom>
              <a:avLst/>
              <a:gdLst>
                <a:gd name="connsiteX0" fmla="*/ 396859 w 458935"/>
                <a:gd name="connsiteY0" fmla="*/ 560775 h 717209"/>
                <a:gd name="connsiteX1" fmla="*/ 147942 w 458935"/>
                <a:gd name="connsiteY1" fmla="*/ 358426 h 717209"/>
                <a:gd name="connsiteX2" fmla="*/ 458421 w 458935"/>
                <a:gd name="connsiteY2" fmla="*/ 107349 h 717209"/>
                <a:gd name="connsiteX3" fmla="*/ 409628 w 458935"/>
                <a:gd name="connsiteY3" fmla="*/ -210 h 717209"/>
                <a:gd name="connsiteX4" fmla="*/ 4297 w 458935"/>
                <a:gd name="connsiteY4" fmla="*/ 348134 h 717209"/>
                <a:gd name="connsiteX5" fmla="*/ 417253 w 458935"/>
                <a:gd name="connsiteY5" fmla="*/ 716999 h 717209"/>
                <a:gd name="connsiteX6" fmla="*/ 396732 w 458935"/>
                <a:gd name="connsiteY6" fmla="*/ 560775 h 717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8935" h="717209">
                  <a:moveTo>
                    <a:pt x="396859" y="560775"/>
                  </a:moveTo>
                  <a:cubicBezTo>
                    <a:pt x="396859" y="560775"/>
                    <a:pt x="158234" y="399404"/>
                    <a:pt x="147942" y="358426"/>
                  </a:cubicBezTo>
                  <a:cubicBezTo>
                    <a:pt x="137713" y="320307"/>
                    <a:pt x="458421" y="107349"/>
                    <a:pt x="458421" y="107349"/>
                  </a:cubicBezTo>
                  <a:lnTo>
                    <a:pt x="409628" y="-210"/>
                  </a:lnTo>
                  <a:cubicBezTo>
                    <a:pt x="409628" y="-210"/>
                    <a:pt x="47879" y="230346"/>
                    <a:pt x="4297" y="348134"/>
                  </a:cubicBezTo>
                  <a:cubicBezTo>
                    <a:pt x="-41891" y="465986"/>
                    <a:pt x="255691" y="696542"/>
                    <a:pt x="417253" y="716999"/>
                  </a:cubicBezTo>
                  <a:lnTo>
                    <a:pt x="396732" y="560775"/>
                  </a:ln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 56"/>
            <p:cNvSpPr/>
            <p:nvPr/>
          </p:nvSpPr>
          <p:spPr>
            <a:xfrm>
              <a:off x="7861504" y="4281217"/>
              <a:ext cx="152998" cy="1017478"/>
            </a:xfrm>
            <a:custGeom>
              <a:avLst/>
              <a:gdLst>
                <a:gd name="connsiteX0" fmla="*/ 126555 w 135131"/>
                <a:gd name="connsiteY0" fmla="*/ 898656 h 898656"/>
                <a:gd name="connsiteX1" fmla="*/ 0 w 135131"/>
                <a:gd name="connsiteY1" fmla="*/ 898656 h 898656"/>
                <a:gd name="connsiteX2" fmla="*/ 0 w 135131"/>
                <a:gd name="connsiteY2" fmla="*/ 0 h 898656"/>
                <a:gd name="connsiteX3" fmla="*/ 135132 w 135131"/>
                <a:gd name="connsiteY3" fmla="*/ 0 h 898656"/>
                <a:gd name="connsiteX4" fmla="*/ 126555 w 135131"/>
                <a:gd name="connsiteY4" fmla="*/ 898656 h 898656"/>
                <a:gd name="connsiteX5" fmla="*/ 126555 w 135131"/>
                <a:gd name="connsiteY5" fmla="*/ 898656 h 898656"/>
                <a:gd name="connsiteX6" fmla="*/ 126555 w 135131"/>
                <a:gd name="connsiteY6" fmla="*/ 898656 h 898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131" h="898656">
                  <a:moveTo>
                    <a:pt x="126555" y="898656"/>
                  </a:moveTo>
                  <a:lnTo>
                    <a:pt x="0" y="898656"/>
                  </a:lnTo>
                  <a:lnTo>
                    <a:pt x="0" y="0"/>
                  </a:lnTo>
                  <a:lnTo>
                    <a:pt x="135132" y="0"/>
                  </a:lnTo>
                  <a:lnTo>
                    <a:pt x="126555" y="898656"/>
                  </a:lnTo>
                  <a:lnTo>
                    <a:pt x="126555" y="898656"/>
                  </a:lnTo>
                  <a:lnTo>
                    <a:pt x="126555" y="898656"/>
                  </a:ln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 57"/>
            <p:cNvSpPr/>
            <p:nvPr/>
          </p:nvSpPr>
          <p:spPr>
            <a:xfrm>
              <a:off x="7703109" y="5287978"/>
              <a:ext cx="316405" cy="123506"/>
            </a:xfrm>
            <a:custGeom>
              <a:avLst/>
              <a:gdLst>
                <a:gd name="connsiteX0" fmla="*/ 264603 w 279455"/>
                <a:gd name="connsiteY0" fmla="*/ -210 h 109083"/>
                <a:gd name="connsiteX1" fmla="*/ 138493 w 279455"/>
                <a:gd name="connsiteY1" fmla="*/ -210 h 109083"/>
                <a:gd name="connsiteX2" fmla="*/ -514 w 279455"/>
                <a:gd name="connsiteY2" fmla="*/ 96168 h 109083"/>
                <a:gd name="connsiteX3" fmla="*/ -514 w 279455"/>
                <a:gd name="connsiteY3" fmla="*/ 108874 h 109083"/>
                <a:gd name="connsiteX4" fmla="*/ 277500 w 279455"/>
                <a:gd name="connsiteY4" fmla="*/ 108874 h 109083"/>
                <a:gd name="connsiteX5" fmla="*/ 264794 w 279455"/>
                <a:gd name="connsiteY5" fmla="*/ -210 h 109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9455" h="109083">
                  <a:moveTo>
                    <a:pt x="264603" y="-210"/>
                  </a:moveTo>
                  <a:lnTo>
                    <a:pt x="138493" y="-210"/>
                  </a:lnTo>
                  <a:cubicBezTo>
                    <a:pt x="138493" y="-210"/>
                    <a:pt x="12382" y="68277"/>
                    <a:pt x="-514" y="96168"/>
                  </a:cubicBezTo>
                  <a:lnTo>
                    <a:pt x="-514" y="108874"/>
                  </a:lnTo>
                  <a:lnTo>
                    <a:pt x="277500" y="108874"/>
                  </a:lnTo>
                  <a:cubicBezTo>
                    <a:pt x="277500" y="108874"/>
                    <a:pt x="285251" y="27681"/>
                    <a:pt x="264794" y="-210"/>
                  </a:cubicBez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 58"/>
            <p:cNvSpPr/>
            <p:nvPr/>
          </p:nvSpPr>
          <p:spPr>
            <a:xfrm>
              <a:off x="7703109" y="5411484"/>
              <a:ext cx="314126" cy="18773"/>
            </a:xfrm>
            <a:custGeom>
              <a:avLst/>
              <a:gdLst>
                <a:gd name="connsiteX0" fmla="*/ 0 w 277442"/>
                <a:gd name="connsiteY0" fmla="*/ 0 h 16581"/>
                <a:gd name="connsiteX1" fmla="*/ 277443 w 277442"/>
                <a:gd name="connsiteY1" fmla="*/ 0 h 16581"/>
                <a:gd name="connsiteX2" fmla="*/ 277443 w 277442"/>
                <a:gd name="connsiteY2" fmla="*/ 16582 h 16581"/>
                <a:gd name="connsiteX3" fmla="*/ 0 w 277442"/>
                <a:gd name="connsiteY3" fmla="*/ 16582 h 16581"/>
                <a:gd name="connsiteX4" fmla="*/ 0 w 277442"/>
                <a:gd name="connsiteY4" fmla="*/ 0 h 16581"/>
                <a:gd name="connsiteX5" fmla="*/ 0 w 277442"/>
                <a:gd name="connsiteY5" fmla="*/ 0 h 16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7442" h="16581">
                  <a:moveTo>
                    <a:pt x="0" y="0"/>
                  </a:moveTo>
                  <a:lnTo>
                    <a:pt x="277443" y="0"/>
                  </a:lnTo>
                  <a:lnTo>
                    <a:pt x="277443" y="16582"/>
                  </a:lnTo>
                  <a:lnTo>
                    <a:pt x="0" y="1658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 59"/>
            <p:cNvSpPr/>
            <p:nvPr/>
          </p:nvSpPr>
          <p:spPr>
            <a:xfrm>
              <a:off x="8074926" y="4281217"/>
              <a:ext cx="154366" cy="1017478"/>
            </a:xfrm>
            <a:custGeom>
              <a:avLst/>
              <a:gdLst>
                <a:gd name="connsiteX0" fmla="*/ 8704 w 136339"/>
                <a:gd name="connsiteY0" fmla="*/ 898656 h 898656"/>
                <a:gd name="connsiteX1" fmla="*/ 136339 w 136339"/>
                <a:gd name="connsiteY1" fmla="*/ 898656 h 898656"/>
                <a:gd name="connsiteX2" fmla="*/ 136339 w 136339"/>
                <a:gd name="connsiteY2" fmla="*/ 0 h 898656"/>
                <a:gd name="connsiteX3" fmla="*/ 0 w 136339"/>
                <a:gd name="connsiteY3" fmla="*/ 0 h 898656"/>
                <a:gd name="connsiteX4" fmla="*/ 8704 w 136339"/>
                <a:gd name="connsiteY4" fmla="*/ 898656 h 898656"/>
                <a:gd name="connsiteX5" fmla="*/ 8704 w 136339"/>
                <a:gd name="connsiteY5" fmla="*/ 898656 h 898656"/>
                <a:gd name="connsiteX6" fmla="*/ 8704 w 136339"/>
                <a:gd name="connsiteY6" fmla="*/ 898656 h 898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6339" h="898656">
                  <a:moveTo>
                    <a:pt x="8704" y="898656"/>
                  </a:moveTo>
                  <a:lnTo>
                    <a:pt x="136339" y="898656"/>
                  </a:lnTo>
                  <a:lnTo>
                    <a:pt x="136339" y="0"/>
                  </a:lnTo>
                  <a:lnTo>
                    <a:pt x="0" y="0"/>
                  </a:lnTo>
                  <a:lnTo>
                    <a:pt x="8704" y="898656"/>
                  </a:lnTo>
                  <a:lnTo>
                    <a:pt x="8704" y="898656"/>
                  </a:lnTo>
                  <a:lnTo>
                    <a:pt x="8704" y="898656"/>
                  </a:ln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 60"/>
            <p:cNvSpPr/>
            <p:nvPr/>
          </p:nvSpPr>
          <p:spPr>
            <a:xfrm>
              <a:off x="8073764" y="5287978"/>
              <a:ext cx="312627" cy="123506"/>
            </a:xfrm>
            <a:custGeom>
              <a:avLst/>
              <a:gdLst>
                <a:gd name="connsiteX0" fmla="*/ 11376 w 276118"/>
                <a:gd name="connsiteY0" fmla="*/ -210 h 109083"/>
                <a:gd name="connsiteX1" fmla="*/ 139646 w 276118"/>
                <a:gd name="connsiteY1" fmla="*/ -210 h 109083"/>
                <a:gd name="connsiteX2" fmla="*/ 275604 w 276118"/>
                <a:gd name="connsiteY2" fmla="*/ 96168 h 109083"/>
                <a:gd name="connsiteX3" fmla="*/ 275604 w 276118"/>
                <a:gd name="connsiteY3" fmla="*/ 108874 h 109083"/>
                <a:gd name="connsiteX4" fmla="*/ 1147 w 276118"/>
                <a:gd name="connsiteY4" fmla="*/ 108874 h 109083"/>
                <a:gd name="connsiteX5" fmla="*/ 11376 w 276118"/>
                <a:gd name="connsiteY5" fmla="*/ -210 h 109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6118" h="109083">
                  <a:moveTo>
                    <a:pt x="11376" y="-210"/>
                  </a:moveTo>
                  <a:lnTo>
                    <a:pt x="139646" y="-210"/>
                  </a:lnTo>
                  <a:cubicBezTo>
                    <a:pt x="139646" y="-210"/>
                    <a:pt x="262771" y="68277"/>
                    <a:pt x="275604" y="96168"/>
                  </a:cubicBezTo>
                  <a:lnTo>
                    <a:pt x="275604" y="108874"/>
                  </a:lnTo>
                  <a:lnTo>
                    <a:pt x="1147" y="108874"/>
                  </a:lnTo>
                  <a:cubicBezTo>
                    <a:pt x="1147" y="108874"/>
                    <a:pt x="-6604" y="27681"/>
                    <a:pt x="11376" y="-210"/>
                  </a:cubicBez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 61"/>
            <p:cNvSpPr/>
            <p:nvPr/>
          </p:nvSpPr>
          <p:spPr>
            <a:xfrm>
              <a:off x="8074926" y="5411484"/>
              <a:ext cx="311393" cy="18773"/>
            </a:xfrm>
            <a:custGeom>
              <a:avLst/>
              <a:gdLst>
                <a:gd name="connsiteX0" fmla="*/ 0 w 275028"/>
                <a:gd name="connsiteY0" fmla="*/ 0 h 16581"/>
                <a:gd name="connsiteX1" fmla="*/ 275029 w 275028"/>
                <a:gd name="connsiteY1" fmla="*/ 0 h 16581"/>
                <a:gd name="connsiteX2" fmla="*/ 275029 w 275028"/>
                <a:gd name="connsiteY2" fmla="*/ 16582 h 16581"/>
                <a:gd name="connsiteX3" fmla="*/ 0 w 275028"/>
                <a:gd name="connsiteY3" fmla="*/ 16582 h 16581"/>
                <a:gd name="connsiteX4" fmla="*/ 0 w 275028"/>
                <a:gd name="connsiteY4" fmla="*/ 0 h 16581"/>
                <a:gd name="connsiteX5" fmla="*/ 0 w 275028"/>
                <a:gd name="connsiteY5" fmla="*/ 0 h 16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5028" h="16581">
                  <a:moveTo>
                    <a:pt x="0" y="0"/>
                  </a:moveTo>
                  <a:lnTo>
                    <a:pt x="275029" y="0"/>
                  </a:lnTo>
                  <a:lnTo>
                    <a:pt x="275029" y="16582"/>
                  </a:lnTo>
                  <a:lnTo>
                    <a:pt x="0" y="1658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 62"/>
            <p:cNvSpPr/>
            <p:nvPr/>
          </p:nvSpPr>
          <p:spPr>
            <a:xfrm>
              <a:off x="7564855" y="3584555"/>
              <a:ext cx="961084" cy="1110846"/>
            </a:xfrm>
            <a:custGeom>
              <a:avLst/>
              <a:gdLst>
                <a:gd name="connsiteX0" fmla="*/ 635502 w 848847"/>
                <a:gd name="connsiteY0" fmla="*/ -210 h 981120"/>
                <a:gd name="connsiteX1" fmla="*/ 212380 w 848847"/>
                <a:gd name="connsiteY1" fmla="*/ -210 h 981120"/>
                <a:gd name="connsiteX2" fmla="*/ -514 w 848847"/>
                <a:gd name="connsiteY2" fmla="*/ 980910 h 981120"/>
                <a:gd name="connsiteX3" fmla="*/ 848334 w 848847"/>
                <a:gd name="connsiteY3" fmla="*/ 980910 h 981120"/>
                <a:gd name="connsiteX4" fmla="*/ 635502 w 848847"/>
                <a:gd name="connsiteY4" fmla="*/ -210 h 981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8847" h="981120">
                  <a:moveTo>
                    <a:pt x="635502" y="-210"/>
                  </a:moveTo>
                  <a:lnTo>
                    <a:pt x="212380" y="-210"/>
                  </a:lnTo>
                  <a:cubicBezTo>
                    <a:pt x="12319" y="253281"/>
                    <a:pt x="-514" y="980910"/>
                    <a:pt x="-514" y="980910"/>
                  </a:cubicBezTo>
                  <a:lnTo>
                    <a:pt x="848334" y="980910"/>
                  </a:lnTo>
                  <a:cubicBezTo>
                    <a:pt x="848334" y="980910"/>
                    <a:pt x="838104" y="253281"/>
                    <a:pt x="635502" y="-210"/>
                  </a:cubicBez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 63"/>
            <p:cNvSpPr/>
            <p:nvPr/>
          </p:nvSpPr>
          <p:spPr>
            <a:xfrm>
              <a:off x="6993099" y="2948350"/>
              <a:ext cx="1467130" cy="1769867"/>
            </a:xfrm>
            <a:custGeom>
              <a:avLst/>
              <a:gdLst>
                <a:gd name="connsiteX0" fmla="*/ 927593 w 1295797"/>
                <a:gd name="connsiteY0" fmla="*/ 878849 h 1563180"/>
                <a:gd name="connsiteX1" fmla="*/ 1022891 w 1295797"/>
                <a:gd name="connsiteY1" fmla="*/ 1014617 h 1563180"/>
                <a:gd name="connsiteX2" fmla="*/ 992077 w 1295797"/>
                <a:gd name="connsiteY2" fmla="*/ 1186152 h 1563180"/>
                <a:gd name="connsiteX3" fmla="*/ 821876 w 1295797"/>
                <a:gd name="connsiteY3" fmla="*/ 1157900 h 1563180"/>
                <a:gd name="connsiteX4" fmla="*/ 820161 w 1295797"/>
                <a:gd name="connsiteY4" fmla="*/ 1155403 h 1563180"/>
                <a:gd name="connsiteX5" fmla="*/ 668447 w 1295797"/>
                <a:gd name="connsiteY5" fmla="*/ 940348 h 1563180"/>
                <a:gd name="connsiteX6" fmla="*/ 668447 w 1295797"/>
                <a:gd name="connsiteY6" fmla="*/ 935202 h 1563180"/>
                <a:gd name="connsiteX7" fmla="*/ 663300 w 1295797"/>
                <a:gd name="connsiteY7" fmla="*/ 932661 h 1563180"/>
                <a:gd name="connsiteX8" fmla="*/ 694114 w 1295797"/>
                <a:gd name="connsiteY8" fmla="*/ 761125 h 1563180"/>
                <a:gd name="connsiteX9" fmla="*/ 765968 w 1295797"/>
                <a:gd name="connsiteY9" fmla="*/ 364243 h 1563180"/>
                <a:gd name="connsiteX10" fmla="*/ 368196 w 1295797"/>
                <a:gd name="connsiteY10" fmla="*/ 297661 h 1563180"/>
                <a:gd name="connsiteX11" fmla="*/ 250154 w 1295797"/>
                <a:gd name="connsiteY11" fmla="*/ 551153 h 1563180"/>
                <a:gd name="connsiteX12" fmla="*/ 134780 w 1295797"/>
                <a:gd name="connsiteY12" fmla="*/ 686793 h 1563180"/>
                <a:gd name="connsiteX13" fmla="*/ 1364 w 1295797"/>
                <a:gd name="connsiteY13" fmla="*/ 574152 h 1563180"/>
                <a:gd name="connsiteX14" fmla="*/ 224614 w 1295797"/>
                <a:gd name="connsiteY14" fmla="*/ 95313 h 1563180"/>
                <a:gd name="connsiteX15" fmla="*/ 966156 w 1295797"/>
                <a:gd name="connsiteY15" fmla="*/ 223329 h 1563180"/>
                <a:gd name="connsiteX16" fmla="*/ 927657 w 1295797"/>
                <a:gd name="connsiteY16" fmla="*/ 878849 h 1563180"/>
                <a:gd name="connsiteX17" fmla="*/ 1245823 w 1295797"/>
                <a:gd name="connsiteY17" fmla="*/ 1332149 h 1563180"/>
                <a:gd name="connsiteX18" fmla="*/ 1271236 w 1295797"/>
                <a:gd name="connsiteY18" fmla="*/ 1367980 h 1563180"/>
                <a:gd name="connsiteX19" fmla="*/ 1242965 w 1295797"/>
                <a:gd name="connsiteY19" fmla="*/ 1542121 h 1563180"/>
                <a:gd name="connsiteX20" fmla="*/ 1068506 w 1295797"/>
                <a:gd name="connsiteY20" fmla="*/ 1511371 h 1563180"/>
                <a:gd name="connsiteX21" fmla="*/ 1043093 w 1295797"/>
                <a:gd name="connsiteY21" fmla="*/ 1473252 h 1563180"/>
                <a:gd name="connsiteX22" fmla="*/ 1073906 w 1295797"/>
                <a:gd name="connsiteY22" fmla="*/ 1301717 h 1563180"/>
                <a:gd name="connsiteX23" fmla="*/ 1242583 w 1295797"/>
                <a:gd name="connsiteY23" fmla="*/ 1327847 h 1563180"/>
                <a:gd name="connsiteX24" fmla="*/ 1245823 w 1295797"/>
                <a:gd name="connsiteY24" fmla="*/ 1332466 h 1563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95797" h="1563180">
                  <a:moveTo>
                    <a:pt x="927593" y="878849"/>
                  </a:moveTo>
                  <a:lnTo>
                    <a:pt x="1022891" y="1014617"/>
                  </a:lnTo>
                  <a:cubicBezTo>
                    <a:pt x="1063932" y="1070906"/>
                    <a:pt x="1051098" y="1145174"/>
                    <a:pt x="992077" y="1186152"/>
                  </a:cubicBezTo>
                  <a:cubicBezTo>
                    <a:pt x="937313" y="1225345"/>
                    <a:pt x="861075" y="1212696"/>
                    <a:pt x="821876" y="1157900"/>
                  </a:cubicBezTo>
                  <a:cubicBezTo>
                    <a:pt x="821305" y="1157074"/>
                    <a:pt x="820732" y="1156242"/>
                    <a:pt x="820161" y="1155403"/>
                  </a:cubicBezTo>
                  <a:lnTo>
                    <a:pt x="668447" y="940348"/>
                  </a:lnTo>
                  <a:lnTo>
                    <a:pt x="668447" y="935202"/>
                  </a:lnTo>
                  <a:cubicBezTo>
                    <a:pt x="663300" y="935202"/>
                    <a:pt x="663300" y="935202"/>
                    <a:pt x="663300" y="932661"/>
                  </a:cubicBezTo>
                  <a:cubicBezTo>
                    <a:pt x="624801" y="878849"/>
                    <a:pt x="640239" y="799244"/>
                    <a:pt x="694114" y="761125"/>
                  </a:cubicBezTo>
                  <a:cubicBezTo>
                    <a:pt x="822384" y="668941"/>
                    <a:pt x="855738" y="492259"/>
                    <a:pt x="765968" y="364243"/>
                  </a:cubicBezTo>
                  <a:cubicBezTo>
                    <a:pt x="673593" y="233621"/>
                    <a:pt x="499135" y="208018"/>
                    <a:pt x="368196" y="297661"/>
                  </a:cubicBezTo>
                  <a:cubicBezTo>
                    <a:pt x="283572" y="359096"/>
                    <a:pt x="239926" y="456491"/>
                    <a:pt x="250154" y="551153"/>
                  </a:cubicBezTo>
                  <a:cubicBezTo>
                    <a:pt x="255618" y="620421"/>
                    <a:pt x="204030" y="681056"/>
                    <a:pt x="134780" y="686793"/>
                  </a:cubicBezTo>
                  <a:cubicBezTo>
                    <a:pt x="65467" y="691939"/>
                    <a:pt x="9051" y="643274"/>
                    <a:pt x="1364" y="574152"/>
                  </a:cubicBezTo>
                  <a:cubicBezTo>
                    <a:pt x="-14456" y="386231"/>
                    <a:pt x="70486" y="204003"/>
                    <a:pt x="224614" y="95313"/>
                  </a:cubicBezTo>
                  <a:cubicBezTo>
                    <a:pt x="466035" y="-71140"/>
                    <a:pt x="799386" y="-14788"/>
                    <a:pt x="966156" y="223329"/>
                  </a:cubicBezTo>
                  <a:cubicBezTo>
                    <a:pt x="1107832" y="424058"/>
                    <a:pt x="1091822" y="696081"/>
                    <a:pt x="927657" y="878849"/>
                  </a:cubicBezTo>
                  <a:close/>
                  <a:moveTo>
                    <a:pt x="1245823" y="1332149"/>
                  </a:moveTo>
                  <a:lnTo>
                    <a:pt x="1271236" y="1367980"/>
                  </a:lnTo>
                  <a:cubicBezTo>
                    <a:pt x="1312277" y="1426874"/>
                    <a:pt x="1299444" y="1501397"/>
                    <a:pt x="1242965" y="1542121"/>
                  </a:cubicBezTo>
                  <a:cubicBezTo>
                    <a:pt x="1189089" y="1577953"/>
                    <a:pt x="1109548" y="1567533"/>
                    <a:pt x="1068506" y="1511371"/>
                  </a:cubicBezTo>
                  <a:lnTo>
                    <a:pt x="1043093" y="1473252"/>
                  </a:lnTo>
                  <a:cubicBezTo>
                    <a:pt x="1004593" y="1419505"/>
                    <a:pt x="1019968" y="1339836"/>
                    <a:pt x="1073906" y="1301717"/>
                  </a:cubicBezTo>
                  <a:cubicBezTo>
                    <a:pt x="1127718" y="1262346"/>
                    <a:pt x="1203257" y="1274049"/>
                    <a:pt x="1242583" y="1327847"/>
                  </a:cubicBezTo>
                  <a:cubicBezTo>
                    <a:pt x="1243727" y="1329359"/>
                    <a:pt x="1244806" y="1330903"/>
                    <a:pt x="1245823" y="1332466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 64"/>
            <p:cNvSpPr/>
            <p:nvPr/>
          </p:nvSpPr>
          <p:spPr>
            <a:xfrm>
              <a:off x="8074926" y="2908035"/>
              <a:ext cx="512041" cy="826857"/>
            </a:xfrm>
            <a:custGeom>
              <a:avLst/>
              <a:gdLst>
                <a:gd name="connsiteX0" fmla="*/ 274260 w 452244"/>
                <a:gd name="connsiteY0" fmla="*/ -210 h 730296"/>
                <a:gd name="connsiteX1" fmla="*/ 451387 w 452244"/>
                <a:gd name="connsiteY1" fmla="*/ 381616 h 730296"/>
                <a:gd name="connsiteX2" fmla="*/ 43132 w 452244"/>
                <a:gd name="connsiteY2" fmla="*/ 730087 h 730296"/>
                <a:gd name="connsiteX3" fmla="*/ -514 w 452244"/>
                <a:gd name="connsiteY3" fmla="*/ 558551 h 730296"/>
                <a:gd name="connsiteX4" fmla="*/ 315302 w 452244"/>
                <a:gd name="connsiteY4" fmla="*/ 366368 h 730296"/>
                <a:gd name="connsiteX5" fmla="*/ 248594 w 452244"/>
                <a:gd name="connsiteY5" fmla="*/ 207539 h 730296"/>
                <a:gd name="connsiteX6" fmla="*/ 274007 w 452244"/>
                <a:gd name="connsiteY6" fmla="*/ -19 h 730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2244" h="730296">
                  <a:moveTo>
                    <a:pt x="274260" y="-210"/>
                  </a:moveTo>
                  <a:cubicBezTo>
                    <a:pt x="274260" y="-210"/>
                    <a:pt x="438553" y="292036"/>
                    <a:pt x="451387" y="381616"/>
                  </a:cubicBezTo>
                  <a:cubicBezTo>
                    <a:pt x="464093" y="473864"/>
                    <a:pt x="120196" y="717317"/>
                    <a:pt x="43132" y="730087"/>
                  </a:cubicBezTo>
                  <a:lnTo>
                    <a:pt x="-514" y="558551"/>
                  </a:lnTo>
                  <a:cubicBezTo>
                    <a:pt x="-514" y="558551"/>
                    <a:pt x="284489" y="425135"/>
                    <a:pt x="315302" y="366368"/>
                  </a:cubicBezTo>
                  <a:lnTo>
                    <a:pt x="248594" y="207539"/>
                  </a:lnTo>
                  <a:lnTo>
                    <a:pt x="274007" y="-19"/>
                  </a:ln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 65"/>
            <p:cNvSpPr/>
            <p:nvPr/>
          </p:nvSpPr>
          <p:spPr>
            <a:xfrm>
              <a:off x="8008236" y="3573622"/>
              <a:ext cx="101648" cy="117572"/>
            </a:xfrm>
            <a:custGeom>
              <a:avLst/>
              <a:gdLst>
                <a:gd name="connsiteX0" fmla="*/ 66265 w 89777"/>
                <a:gd name="connsiteY0" fmla="*/ 362 h 103842"/>
                <a:gd name="connsiteX1" fmla="*/ 5147 w 89777"/>
                <a:gd name="connsiteY1" fmla="*/ 15800 h 103842"/>
                <a:gd name="connsiteX2" fmla="*/ 89263 w 89777"/>
                <a:gd name="connsiteY2" fmla="*/ 95596 h 103842"/>
                <a:gd name="connsiteX3" fmla="*/ 66265 w 89777"/>
                <a:gd name="connsiteY3" fmla="*/ 298 h 103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777" h="103842">
                  <a:moveTo>
                    <a:pt x="66265" y="362"/>
                  </a:moveTo>
                  <a:cubicBezTo>
                    <a:pt x="66265" y="362"/>
                    <a:pt x="15439" y="-4784"/>
                    <a:pt x="5147" y="15800"/>
                  </a:cubicBezTo>
                  <a:cubicBezTo>
                    <a:pt x="-5145" y="36384"/>
                    <a:pt x="-12705" y="131555"/>
                    <a:pt x="89263" y="95596"/>
                  </a:cubicBezTo>
                  <a:lnTo>
                    <a:pt x="66265" y="298"/>
                  </a:ln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 67"/>
            <p:cNvSpPr/>
            <p:nvPr/>
          </p:nvSpPr>
          <p:spPr>
            <a:xfrm rot="19901924">
              <a:off x="4001212" y="2597109"/>
              <a:ext cx="340051" cy="595716"/>
            </a:xfrm>
            <a:custGeom>
              <a:avLst/>
              <a:gdLst>
                <a:gd name="connsiteX0" fmla="*/ 596690 w 1007682"/>
                <a:gd name="connsiteY0" fmla="*/ 1042540 h 1765307"/>
                <a:gd name="connsiteX1" fmla="*/ 596690 w 1007682"/>
                <a:gd name="connsiteY1" fmla="*/ 1209120 h 1765307"/>
                <a:gd name="connsiteX2" fmla="*/ 479747 w 1007682"/>
                <a:gd name="connsiteY2" fmla="*/ 1332124 h 1765307"/>
                <a:gd name="connsiteX3" fmla="*/ 473502 w 1007682"/>
                <a:gd name="connsiteY3" fmla="*/ 1332118 h 1765307"/>
                <a:gd name="connsiteX4" fmla="*/ 350314 w 1007682"/>
                <a:gd name="connsiteY4" fmla="*/ 1209120 h 1765307"/>
                <a:gd name="connsiteX5" fmla="*/ 350314 w 1007682"/>
                <a:gd name="connsiteY5" fmla="*/ 945209 h 1765307"/>
                <a:gd name="connsiteX6" fmla="*/ 352855 w 1007682"/>
                <a:gd name="connsiteY6" fmla="*/ 940063 h 1765307"/>
                <a:gd name="connsiteX7" fmla="*/ 350314 w 1007682"/>
                <a:gd name="connsiteY7" fmla="*/ 934981 h 1765307"/>
                <a:gd name="connsiteX8" fmla="*/ 473502 w 1007682"/>
                <a:gd name="connsiteY8" fmla="*/ 811983 h 1765307"/>
                <a:gd name="connsiteX9" fmla="*/ 760983 w 1007682"/>
                <a:gd name="connsiteY9" fmla="*/ 530157 h 1765307"/>
                <a:gd name="connsiteX10" fmla="*/ 473502 w 1007682"/>
                <a:gd name="connsiteY10" fmla="*/ 245725 h 1765307"/>
                <a:gd name="connsiteX11" fmla="*/ 229667 w 1007682"/>
                <a:gd name="connsiteY11" fmla="*/ 384097 h 1765307"/>
                <a:gd name="connsiteX12" fmla="*/ 62134 w 1007682"/>
                <a:gd name="connsiteY12" fmla="*/ 430888 h 1765307"/>
                <a:gd name="connsiteX13" fmla="*/ 15343 w 1007682"/>
                <a:gd name="connsiteY13" fmla="*/ 263355 h 1765307"/>
                <a:gd name="connsiteX14" fmla="*/ 16645 w 1007682"/>
                <a:gd name="connsiteY14" fmla="*/ 261100 h 1765307"/>
                <a:gd name="connsiteX15" fmla="*/ 473502 w 1007682"/>
                <a:gd name="connsiteY15" fmla="*/ -206 h 1765307"/>
                <a:gd name="connsiteX16" fmla="*/ 1007168 w 1007682"/>
                <a:gd name="connsiteY16" fmla="*/ 530157 h 1765307"/>
                <a:gd name="connsiteX17" fmla="*/ 596499 w 1007682"/>
                <a:gd name="connsiteY17" fmla="*/ 1042540 h 1765307"/>
                <a:gd name="connsiteX18" fmla="*/ 596690 w 1007682"/>
                <a:gd name="connsiteY18" fmla="*/ 1595965 h 1765307"/>
                <a:gd name="connsiteX19" fmla="*/ 596690 w 1007682"/>
                <a:gd name="connsiteY19" fmla="*/ 1642089 h 1765307"/>
                <a:gd name="connsiteX20" fmla="*/ 473502 w 1007682"/>
                <a:gd name="connsiteY20" fmla="*/ 1765086 h 1765307"/>
                <a:gd name="connsiteX21" fmla="*/ 350314 w 1007682"/>
                <a:gd name="connsiteY21" fmla="*/ 1645221 h 1765307"/>
                <a:gd name="connsiteX22" fmla="*/ 350314 w 1007682"/>
                <a:gd name="connsiteY22" fmla="*/ 1642089 h 1765307"/>
                <a:gd name="connsiteX23" fmla="*/ 350314 w 1007682"/>
                <a:gd name="connsiteY23" fmla="*/ 1595965 h 1765307"/>
                <a:gd name="connsiteX24" fmla="*/ 473502 w 1007682"/>
                <a:gd name="connsiteY24" fmla="*/ 1473031 h 1765307"/>
                <a:gd name="connsiteX25" fmla="*/ 596690 w 1007682"/>
                <a:gd name="connsiteY25" fmla="*/ 1592769 h 1765307"/>
                <a:gd name="connsiteX26" fmla="*/ 596690 w 1007682"/>
                <a:gd name="connsiteY26" fmla="*/ 1595965 h 1765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07682" h="1765307">
                  <a:moveTo>
                    <a:pt x="596690" y="1042540"/>
                  </a:moveTo>
                  <a:lnTo>
                    <a:pt x="596690" y="1209120"/>
                  </a:lnTo>
                  <a:cubicBezTo>
                    <a:pt x="598361" y="1275377"/>
                    <a:pt x="546004" y="1330447"/>
                    <a:pt x="479747" y="1332124"/>
                  </a:cubicBezTo>
                  <a:cubicBezTo>
                    <a:pt x="477663" y="1332175"/>
                    <a:pt x="475579" y="1332175"/>
                    <a:pt x="473502" y="1332118"/>
                  </a:cubicBezTo>
                  <a:cubicBezTo>
                    <a:pt x="405529" y="1332156"/>
                    <a:pt x="350384" y="1277093"/>
                    <a:pt x="350314" y="1209120"/>
                  </a:cubicBezTo>
                  <a:lnTo>
                    <a:pt x="350314" y="945209"/>
                  </a:lnTo>
                  <a:cubicBezTo>
                    <a:pt x="350314" y="942668"/>
                    <a:pt x="352855" y="942668"/>
                    <a:pt x="352855" y="940063"/>
                  </a:cubicBezTo>
                  <a:cubicBezTo>
                    <a:pt x="350314" y="937522"/>
                    <a:pt x="350314" y="937522"/>
                    <a:pt x="350314" y="934981"/>
                  </a:cubicBezTo>
                  <a:cubicBezTo>
                    <a:pt x="350314" y="870941"/>
                    <a:pt x="406793" y="811983"/>
                    <a:pt x="473502" y="811983"/>
                  </a:cubicBezTo>
                  <a:cubicBezTo>
                    <a:pt x="632649" y="811983"/>
                    <a:pt x="760983" y="686445"/>
                    <a:pt x="760983" y="530157"/>
                  </a:cubicBezTo>
                  <a:cubicBezTo>
                    <a:pt x="760983" y="368723"/>
                    <a:pt x="632649" y="245725"/>
                    <a:pt x="473502" y="245725"/>
                  </a:cubicBezTo>
                  <a:cubicBezTo>
                    <a:pt x="373636" y="246094"/>
                    <a:pt x="281198" y="298552"/>
                    <a:pt x="229667" y="384097"/>
                  </a:cubicBezTo>
                  <a:cubicBezTo>
                    <a:pt x="196326" y="443283"/>
                    <a:pt x="121320" y="464230"/>
                    <a:pt x="62134" y="430888"/>
                  </a:cubicBezTo>
                  <a:cubicBezTo>
                    <a:pt x="2948" y="397547"/>
                    <a:pt x="-17999" y="322541"/>
                    <a:pt x="15343" y="263355"/>
                  </a:cubicBezTo>
                  <a:cubicBezTo>
                    <a:pt x="15769" y="262599"/>
                    <a:pt x="16201" y="261850"/>
                    <a:pt x="16645" y="261100"/>
                  </a:cubicBezTo>
                  <a:cubicBezTo>
                    <a:pt x="111346" y="98668"/>
                    <a:pt x="285480" y="-930"/>
                    <a:pt x="473502" y="-206"/>
                  </a:cubicBezTo>
                  <a:cubicBezTo>
                    <a:pt x="766129" y="-206"/>
                    <a:pt x="1007168" y="235497"/>
                    <a:pt x="1007168" y="530157"/>
                  </a:cubicBezTo>
                  <a:cubicBezTo>
                    <a:pt x="1007168" y="778693"/>
                    <a:pt x="832647" y="988792"/>
                    <a:pt x="596499" y="1042540"/>
                  </a:cubicBezTo>
                  <a:close/>
                  <a:moveTo>
                    <a:pt x="596690" y="1595965"/>
                  </a:moveTo>
                  <a:lnTo>
                    <a:pt x="596690" y="1642089"/>
                  </a:lnTo>
                  <a:cubicBezTo>
                    <a:pt x="596690" y="1713816"/>
                    <a:pt x="545356" y="1765086"/>
                    <a:pt x="473502" y="1765086"/>
                  </a:cubicBezTo>
                  <a:cubicBezTo>
                    <a:pt x="406387" y="1766001"/>
                    <a:pt x="351235" y="1712336"/>
                    <a:pt x="350314" y="1645221"/>
                  </a:cubicBezTo>
                  <a:cubicBezTo>
                    <a:pt x="350301" y="1644179"/>
                    <a:pt x="350301" y="1643131"/>
                    <a:pt x="350314" y="1642089"/>
                  </a:cubicBezTo>
                  <a:lnTo>
                    <a:pt x="350314" y="1595965"/>
                  </a:lnTo>
                  <a:cubicBezTo>
                    <a:pt x="351305" y="1528386"/>
                    <a:pt x="405923" y="1473882"/>
                    <a:pt x="473502" y="1473031"/>
                  </a:cubicBezTo>
                  <a:cubicBezTo>
                    <a:pt x="540585" y="1472078"/>
                    <a:pt x="595737" y="1525686"/>
                    <a:pt x="596690" y="1592769"/>
                  </a:cubicBezTo>
                  <a:cubicBezTo>
                    <a:pt x="596703" y="1593830"/>
                    <a:pt x="596703" y="1594897"/>
                    <a:pt x="596690" y="1595965"/>
                  </a:cubicBezTo>
                  <a:close/>
                </a:path>
              </a:pathLst>
            </a:custGeom>
            <a:solidFill>
              <a:srgbClr val="D0D4DA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pic>
        <p:nvPicPr>
          <p:cNvPr id="74" name="图片 7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3035" y="299594"/>
            <a:ext cx="1837445" cy="501494"/>
          </a:xfrm>
          <a:prstGeom prst="rect">
            <a:avLst/>
          </a:prstGeom>
        </p:spPr>
      </p:pic>
      <p:sp>
        <p:nvSpPr>
          <p:cNvPr id="2" name="文本框 1"/>
          <p:cNvSpPr txBox="1"/>
          <p:nvPr/>
        </p:nvSpPr>
        <p:spPr>
          <a:xfrm>
            <a:off x="716280" y="3216910"/>
            <a:ext cx="10600690" cy="42354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l">
              <a:lnSpc>
                <a:spcPct val="120000"/>
              </a:lnSpc>
            </a:pPr>
            <a:r>
              <a:rPr lang="zh-CN" altLang="en-US" kern="600" spc="16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如果需要通过模型识别微信支付交易是否</a:t>
            </a:r>
            <a:r>
              <a:rPr lang="zh-CN" altLang="en-US" b="1" kern="600" spc="160" dirty="0" smtClean="0">
                <a:solidFill>
                  <a:srgbClr val="F05A23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被骗</a:t>
            </a:r>
            <a:r>
              <a:rPr lang="zh-CN" altLang="en-US" kern="600" spc="16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，如何通过寻找相似样本，扩大被骗样本量？</a:t>
            </a:r>
            <a:endParaRPr lang="zh-CN" altLang="en-US" kern="600" spc="160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小样本解决之招式四：觅迹同源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-</a:t>
            </a: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相似样本寻觅</a:t>
            </a:r>
            <a:endParaRPr lang="zh-CN" altLang="en-US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938530" y="112522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sz="1800" dirty="0" smtClean="0"/>
              <a:t>相似样本训练后的评估</a:t>
            </a:r>
            <a:endParaRPr lang="zh-CN" altLang="en-US" sz="1800" dirty="0" smtClean="0"/>
          </a:p>
        </p:txBody>
      </p:sp>
      <p:grpSp>
        <p:nvGrpSpPr>
          <p:cNvPr id="3" name="组合 2"/>
          <p:cNvGrpSpPr/>
          <p:nvPr/>
        </p:nvGrpSpPr>
        <p:grpSpPr>
          <a:xfrm>
            <a:off x="450215" y="1061720"/>
            <a:ext cx="389255" cy="427990"/>
            <a:chOff x="450391" y="1977754"/>
            <a:chExt cx="465233" cy="511985"/>
          </a:xfrm>
        </p:grpSpPr>
        <p:sp>
          <p:nvSpPr>
            <p:cNvPr id="488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89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0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1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2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3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5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6" name="文本框 5"/>
          <p:cNvSpPr txBox="1"/>
          <p:nvPr/>
        </p:nvSpPr>
        <p:spPr>
          <a:xfrm>
            <a:off x="1254760" y="2805430"/>
            <a:ext cx="1504950" cy="862965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p>
            <a:pPr marL="106045" indent="0">
              <a:buFont typeface="Arial" panose="020B0604020202090204" pitchFamily="34" charset="0"/>
              <a:buNone/>
            </a:pPr>
            <a:endParaRPr lang="zh-CN" altLang="en-US" sz="1800" b="1" dirty="0" smtClean="0"/>
          </a:p>
        </p:txBody>
      </p:sp>
      <p:sp>
        <p:nvSpPr>
          <p:cNvPr id="28" name="文本框 27"/>
          <p:cNvSpPr txBox="1"/>
          <p:nvPr/>
        </p:nvSpPr>
        <p:spPr>
          <a:xfrm>
            <a:off x="3171825" y="1741805"/>
            <a:ext cx="1130935" cy="38481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rmAutofit/>
          </a:bodyPr>
          <a:p>
            <a:pPr marL="106045" indent="0" algn="ctr">
              <a:buFont typeface="Arial" panose="020B0604020202090204" pitchFamily="34" charset="0"/>
              <a:buNone/>
            </a:pPr>
            <a:r>
              <a:rPr lang="zh-CN" altLang="en-US" sz="1800" dirty="0" smtClean="0"/>
              <a:t>训练</a:t>
            </a:r>
            <a:endParaRPr lang="zh-CN" altLang="en-US" sz="1800" dirty="0" smtClean="0"/>
          </a:p>
        </p:txBody>
      </p:sp>
      <p:sp>
        <p:nvSpPr>
          <p:cNvPr id="29" name="文本框 28"/>
          <p:cNvSpPr txBox="1"/>
          <p:nvPr/>
        </p:nvSpPr>
        <p:spPr>
          <a:xfrm>
            <a:off x="2197735" y="3589655"/>
            <a:ext cx="2804795" cy="762635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rmAutofit/>
          </a:bodyPr>
          <a:p>
            <a:pPr marL="106045" indent="0" algn="ctr">
              <a:buFont typeface="Arial" panose="020B0604020202090204" pitchFamily="34" charset="0"/>
              <a:buNone/>
            </a:pPr>
            <a:r>
              <a:rPr lang="zh-CN" altLang="en-US" sz="1800" dirty="0" smtClean="0"/>
              <a:t>处理</a:t>
            </a:r>
            <a:r>
              <a:rPr lang="zh-CN" altLang="en-US" sz="3600" b="1" dirty="0" smtClean="0">
                <a:solidFill>
                  <a:srgbClr val="F05A23"/>
                </a:solidFill>
              </a:rPr>
              <a:t>后</a:t>
            </a:r>
            <a:r>
              <a:rPr lang="zh-CN" altLang="en-US" sz="1800" dirty="0" smtClean="0"/>
              <a:t>的样本（</a:t>
            </a:r>
            <a:r>
              <a:rPr lang="en-US" altLang="zh-CN" sz="1800" dirty="0" smtClean="0"/>
              <a:t>y</a:t>
            </a:r>
            <a:r>
              <a:rPr lang="zh-CN" altLang="en-US" sz="1800" dirty="0" smtClean="0"/>
              <a:t>变量）</a:t>
            </a:r>
            <a:endParaRPr lang="zh-CN" altLang="en-US" sz="1800" dirty="0" smtClean="0"/>
          </a:p>
        </p:txBody>
      </p:sp>
      <p:sp>
        <p:nvSpPr>
          <p:cNvPr id="30" name="文本框 29"/>
          <p:cNvSpPr txBox="1"/>
          <p:nvPr/>
        </p:nvSpPr>
        <p:spPr>
          <a:xfrm>
            <a:off x="7255510" y="5829300"/>
            <a:ext cx="1130935" cy="51816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rmAutofit/>
          </a:bodyPr>
          <a:p>
            <a:pPr marL="106045" indent="0" algn="ctr">
              <a:buFont typeface="Arial" panose="020B0604020202090204" pitchFamily="34" charset="0"/>
              <a:buNone/>
            </a:pPr>
            <a:r>
              <a:rPr lang="zh-CN" altLang="en-US" sz="1800" dirty="0" smtClean="0"/>
              <a:t>评估</a:t>
            </a:r>
            <a:endParaRPr lang="zh-CN" altLang="en-US" sz="1800" dirty="0" smtClean="0"/>
          </a:p>
        </p:txBody>
      </p:sp>
      <p:sp>
        <p:nvSpPr>
          <p:cNvPr id="31" name="文本框 30"/>
          <p:cNvSpPr txBox="1"/>
          <p:nvPr/>
        </p:nvSpPr>
        <p:spPr>
          <a:xfrm>
            <a:off x="6416040" y="3589655"/>
            <a:ext cx="2981325" cy="76327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rmAutofit/>
          </a:bodyPr>
          <a:p>
            <a:pPr marL="106045" indent="0" algn="ctr">
              <a:buFont typeface="Arial" panose="020B0604020202090204" pitchFamily="34" charset="0"/>
              <a:buNone/>
            </a:pPr>
            <a:r>
              <a:rPr lang="zh-CN" altLang="en-US" sz="1800" dirty="0" smtClean="0"/>
              <a:t>处理</a:t>
            </a:r>
            <a:r>
              <a:rPr lang="zh-CN" altLang="en-US" sz="3600" b="1" dirty="0" smtClean="0">
                <a:solidFill>
                  <a:srgbClr val="F05A23"/>
                </a:solidFill>
              </a:rPr>
              <a:t>前</a:t>
            </a:r>
            <a:r>
              <a:rPr lang="zh-CN" altLang="en-US" sz="1800" dirty="0" smtClean="0"/>
              <a:t>的样本（</a:t>
            </a:r>
            <a:r>
              <a:rPr lang="en-US" altLang="zh-CN" sz="1800" dirty="0" smtClean="0"/>
              <a:t>y</a:t>
            </a:r>
            <a:r>
              <a:rPr lang="zh-CN" altLang="en-US" sz="1800" dirty="0" smtClean="0"/>
              <a:t>变量）</a:t>
            </a:r>
            <a:endParaRPr lang="zh-CN" altLang="en-US" sz="1800" dirty="0" smtClean="0"/>
          </a:p>
        </p:txBody>
      </p:sp>
      <p:grpSp>
        <p:nvGrpSpPr>
          <p:cNvPr id="36" name="组合 35"/>
          <p:cNvGrpSpPr/>
          <p:nvPr/>
        </p:nvGrpSpPr>
        <p:grpSpPr>
          <a:xfrm>
            <a:off x="1450975" y="2244725"/>
            <a:ext cx="8808085" cy="3583940"/>
            <a:chOff x="2255" y="2984"/>
            <a:chExt cx="13871" cy="5644"/>
          </a:xfrm>
        </p:grpSpPr>
        <p:cxnSp>
          <p:nvCxnSpPr>
            <p:cNvPr id="33" name="直接连接符 32"/>
            <p:cNvCxnSpPr/>
            <p:nvPr/>
          </p:nvCxnSpPr>
          <p:spPr>
            <a:xfrm flipH="1">
              <a:off x="7356" y="3014"/>
              <a:ext cx="3578" cy="5615"/>
            </a:xfrm>
            <a:prstGeom prst="line">
              <a:avLst/>
            </a:prstGeom>
            <a:ln w="762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直接连接符 33"/>
            <p:cNvCxnSpPr/>
            <p:nvPr/>
          </p:nvCxnSpPr>
          <p:spPr>
            <a:xfrm>
              <a:off x="7426" y="8599"/>
              <a:ext cx="8700" cy="0"/>
            </a:xfrm>
            <a:prstGeom prst="line">
              <a:avLst/>
            </a:prstGeom>
            <a:ln w="762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直接连接符 34"/>
            <p:cNvCxnSpPr/>
            <p:nvPr/>
          </p:nvCxnSpPr>
          <p:spPr>
            <a:xfrm>
              <a:off x="2255" y="2984"/>
              <a:ext cx="8700" cy="0"/>
            </a:xfrm>
            <a:prstGeom prst="line">
              <a:avLst/>
            </a:prstGeom>
            <a:ln w="762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图片 31"/>
          <p:cNvPicPr>
            <a:picLocks noChangeAspect="1"/>
          </p:cNvPicPr>
          <p:nvPr/>
        </p:nvPicPr>
        <p:blipFill rotWithShape="1">
          <a:blip r:embed="rId1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630" r="18268"/>
          <a:stretch>
            <a:fillRect/>
          </a:stretch>
        </p:blipFill>
        <p:spPr>
          <a:xfrm>
            <a:off x="0" y="0"/>
            <a:ext cx="4249207" cy="6858000"/>
          </a:xfrm>
          <a:prstGeom prst="rect">
            <a:avLst/>
          </a:prstGeom>
        </p:spPr>
      </p:pic>
      <p:grpSp>
        <p:nvGrpSpPr>
          <p:cNvPr id="2" name="组合 1"/>
          <p:cNvGrpSpPr/>
          <p:nvPr/>
        </p:nvGrpSpPr>
        <p:grpSpPr>
          <a:xfrm>
            <a:off x="7256615" y="771275"/>
            <a:ext cx="2769615" cy="627943"/>
            <a:chOff x="4927755" y="1844007"/>
            <a:chExt cx="2480513" cy="627942"/>
          </a:xfrm>
        </p:grpSpPr>
        <p:sp>
          <p:nvSpPr>
            <p:cNvPr id="4" name="文本框 8"/>
            <p:cNvSpPr txBox="1"/>
            <p:nvPr/>
          </p:nvSpPr>
          <p:spPr>
            <a:xfrm>
              <a:off x="4927756" y="1844007"/>
              <a:ext cx="2480512" cy="4603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just">
                <a:defRPr/>
              </a:pPr>
              <a:r>
                <a:rPr lang="zh-CN" altLang="en-US" sz="2400" b="1" noProof="0" dirty="0" smtClean="0">
                  <a:solidFill>
                    <a:schemeClr val="bg1"/>
                  </a:solidFill>
                  <a:latin typeface="Arial" panose="020B0604020202090204" pitchFamily="34" charset="0"/>
                  <a:ea typeface="华文楷体" panose="02010600040101010101" pitchFamily="2" charset="-122"/>
                  <a:sym typeface="+mn-lt"/>
                </a:rPr>
                <a:t>食安当前工作梳理</a:t>
              </a:r>
              <a:endParaRPr kumimoji="1" lang="zh-CN" alt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90204" pitchFamily="34" charset="0"/>
                <a:ea typeface="华文楷体" panose="02010600040101010101" pitchFamily="2" charset="-122"/>
                <a:cs typeface="+mn-ea"/>
                <a:sym typeface="+mn-lt"/>
              </a:endParaRPr>
            </a:p>
          </p:txBody>
        </p:sp>
        <p:cxnSp>
          <p:nvCxnSpPr>
            <p:cNvPr id="6" name="直接连接符 5"/>
            <p:cNvCxnSpPr/>
            <p:nvPr/>
          </p:nvCxnSpPr>
          <p:spPr>
            <a:xfrm>
              <a:off x="4927755" y="1892087"/>
              <a:ext cx="0" cy="579862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组合 19"/>
          <p:cNvGrpSpPr/>
          <p:nvPr/>
        </p:nvGrpSpPr>
        <p:grpSpPr>
          <a:xfrm>
            <a:off x="7260367" y="2344755"/>
            <a:ext cx="3046773" cy="627943"/>
            <a:chOff x="4927755" y="1844007"/>
            <a:chExt cx="3046773" cy="627942"/>
          </a:xfrm>
        </p:grpSpPr>
        <p:sp>
          <p:nvSpPr>
            <p:cNvPr id="22" name="文本框 8"/>
            <p:cNvSpPr txBox="1"/>
            <p:nvPr/>
          </p:nvSpPr>
          <p:spPr>
            <a:xfrm>
              <a:off x="4927756" y="1844007"/>
              <a:ext cx="3046772" cy="4603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zh-CN" altLang="en-US" sz="2400" dirty="0" smtClean="0">
                  <a:latin typeface="华文楷体" panose="02010600040101010101" pitchFamily="2" charset="-122"/>
                  <a:ea typeface="华文楷体" panose="02010600040101010101" pitchFamily="2" charset="-122"/>
                  <a:cs typeface="+mn-ea"/>
                  <a:sym typeface="+mn-lt"/>
                </a:rPr>
                <a:t>如何对症下药</a:t>
              </a:r>
              <a:endParaRPr lang="zh-CN" altLang="en-US" sz="2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+mn-ea"/>
                <a:sym typeface="+mn-lt"/>
              </a:endParaRPr>
            </a:p>
          </p:txBody>
        </p:sp>
        <p:cxnSp>
          <p:nvCxnSpPr>
            <p:cNvPr id="24" name="直接连接符 23"/>
            <p:cNvCxnSpPr/>
            <p:nvPr/>
          </p:nvCxnSpPr>
          <p:spPr>
            <a:xfrm>
              <a:off x="4927755" y="1892087"/>
              <a:ext cx="0" cy="579862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" name="组合 28"/>
          <p:cNvGrpSpPr/>
          <p:nvPr/>
        </p:nvGrpSpPr>
        <p:grpSpPr>
          <a:xfrm>
            <a:off x="7256615" y="3841784"/>
            <a:ext cx="3050524" cy="627943"/>
            <a:chOff x="4927755" y="1844007"/>
            <a:chExt cx="2256816" cy="627942"/>
          </a:xfrm>
        </p:grpSpPr>
        <p:sp>
          <p:nvSpPr>
            <p:cNvPr id="31" name="文本框 8"/>
            <p:cNvSpPr txBox="1"/>
            <p:nvPr/>
          </p:nvSpPr>
          <p:spPr>
            <a:xfrm>
              <a:off x="4927756" y="1844007"/>
              <a:ext cx="2256815" cy="4603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zh-CN" altLang="en-US" sz="2400" dirty="0" smtClean="0">
                  <a:latin typeface="华文楷体" panose="02010600040101010101" pitchFamily="2" charset="-122"/>
                  <a:ea typeface="华文楷体" panose="02010600040101010101" pitchFamily="2" charset="-122"/>
                  <a:cs typeface="+mn-ea"/>
                  <a:sym typeface="+mn-lt"/>
                </a:rPr>
                <a:t>提高开发</a:t>
              </a:r>
              <a:r>
                <a:rPr lang="zh-CN" altLang="en-US" sz="2400" dirty="0" smtClean="0">
                  <a:latin typeface="华文楷体" panose="02010600040101010101" pitchFamily="2" charset="-122"/>
                  <a:ea typeface="华文楷体" panose="02010600040101010101" pitchFamily="2" charset="-122"/>
                  <a:cs typeface="+mn-ea"/>
                  <a:sym typeface="+mn-lt"/>
                </a:rPr>
                <a:t>效率</a:t>
              </a:r>
              <a:endParaRPr lang="zh-CN" altLang="en-US" sz="2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+mn-ea"/>
                <a:sym typeface="+mn-lt"/>
              </a:endParaRPr>
            </a:p>
          </p:txBody>
        </p:sp>
        <p:cxnSp>
          <p:nvCxnSpPr>
            <p:cNvPr id="33" name="直接连接符 32"/>
            <p:cNvCxnSpPr/>
            <p:nvPr/>
          </p:nvCxnSpPr>
          <p:spPr>
            <a:xfrm>
              <a:off x="4927755" y="1892087"/>
              <a:ext cx="0" cy="579862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文本框 40"/>
          <p:cNvSpPr txBox="1"/>
          <p:nvPr/>
        </p:nvSpPr>
        <p:spPr>
          <a:xfrm>
            <a:off x="7252864" y="1131431"/>
            <a:ext cx="241746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>
                <a:solidFill>
                  <a:schemeClr val="bg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XX</a:t>
            </a:r>
            <a:endParaRPr lang="en-US" altLang="zh-CN" dirty="0" smtClean="0">
              <a:solidFill>
                <a:schemeClr val="bg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43" name="文本框 42"/>
          <p:cNvSpPr txBox="1"/>
          <p:nvPr/>
        </p:nvSpPr>
        <p:spPr>
          <a:xfrm>
            <a:off x="7252971" y="2678431"/>
            <a:ext cx="398589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dirty="0" smtClean="0">
                <a:solidFill>
                  <a:schemeClr val="bg1">
                    <a:lumMod val="50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2个</a:t>
            </a:r>
            <a:r>
              <a:rPr lang="zh-CN" dirty="0" smtClean="0">
                <a:solidFill>
                  <a:schemeClr val="bg1">
                    <a:lumMod val="50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环节</a:t>
            </a:r>
            <a:r>
              <a:rPr dirty="0" smtClean="0">
                <a:solidFill>
                  <a:schemeClr val="bg1">
                    <a:lumMod val="50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、3个</a:t>
            </a:r>
            <a:r>
              <a:rPr lang="zh-CN" dirty="0" smtClean="0">
                <a:solidFill>
                  <a:schemeClr val="bg1">
                    <a:lumMod val="50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层面</a:t>
            </a:r>
            <a:endParaRPr lang="zh-CN" dirty="0" smtClean="0">
              <a:solidFill>
                <a:schemeClr val="bg1">
                  <a:lumMod val="50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44" name="文本框 43"/>
          <p:cNvSpPr txBox="1"/>
          <p:nvPr/>
        </p:nvSpPr>
        <p:spPr>
          <a:xfrm>
            <a:off x="7264175" y="4250477"/>
            <a:ext cx="3457627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solidFill>
                  <a:schemeClr val="bg1">
                    <a:lumMod val="50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+mn-ea"/>
              </a:rPr>
              <a:t>环境配置，构建工具</a:t>
            </a:r>
            <a:endParaRPr lang="zh-CN" altLang="en-US" dirty="0" smtClean="0">
              <a:solidFill>
                <a:schemeClr val="bg1">
                  <a:lumMod val="50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  <a:sym typeface="+mn-ea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5428827" y="922612"/>
            <a:ext cx="16764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 smtClean="0">
                <a:solidFill>
                  <a:srgbClr val="FD663A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第一</a:t>
            </a:r>
            <a:r>
              <a:rPr lang="zh-CN" altLang="en-US" sz="2400" b="1" dirty="0" smtClean="0">
                <a:solidFill>
                  <a:srgbClr val="FD6600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部分</a:t>
            </a:r>
            <a:endParaRPr lang="zh-CN" altLang="en-US" sz="2400" b="1" dirty="0" smtClean="0">
              <a:solidFill>
                <a:srgbClr val="FD6600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45" name="文本框 44"/>
          <p:cNvSpPr txBox="1"/>
          <p:nvPr/>
        </p:nvSpPr>
        <p:spPr>
          <a:xfrm>
            <a:off x="5428827" y="2493771"/>
            <a:ext cx="16764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第二部分</a:t>
            </a:r>
            <a:endParaRPr lang="zh-CN" altLang="en-US" sz="2400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46" name="文本框 45"/>
          <p:cNvSpPr txBox="1"/>
          <p:nvPr/>
        </p:nvSpPr>
        <p:spPr>
          <a:xfrm>
            <a:off x="5428827" y="3995129"/>
            <a:ext cx="16764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第三部分</a:t>
            </a:r>
            <a:endParaRPr lang="zh-CN" altLang="en-US" sz="2400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4726093" y="876451"/>
            <a:ext cx="67733" cy="472591"/>
          </a:xfrm>
          <a:prstGeom prst="rect">
            <a:avLst/>
          </a:prstGeom>
          <a:solidFill>
            <a:srgbClr val="FD6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48" name="组合 47"/>
          <p:cNvGrpSpPr/>
          <p:nvPr/>
        </p:nvGrpSpPr>
        <p:grpSpPr>
          <a:xfrm>
            <a:off x="-3749" y="0"/>
            <a:ext cx="4252957" cy="5905045"/>
            <a:chOff x="-3750" y="0"/>
            <a:chExt cx="4252957" cy="5905045"/>
          </a:xfrm>
          <a:solidFill>
            <a:schemeClr val="bg1">
              <a:lumMod val="85000"/>
              <a:alpha val="50000"/>
            </a:schemeClr>
          </a:solidFill>
        </p:grpSpPr>
        <p:sp>
          <p:nvSpPr>
            <p:cNvPr id="39" name="矩形 38"/>
            <p:cNvSpPr/>
            <p:nvPr/>
          </p:nvSpPr>
          <p:spPr>
            <a:xfrm>
              <a:off x="0" y="0"/>
              <a:ext cx="4249207" cy="393714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7" name="直角三角形 46"/>
            <p:cNvSpPr/>
            <p:nvPr/>
          </p:nvSpPr>
          <p:spPr>
            <a:xfrm rot="10800000">
              <a:off x="-3750" y="3937145"/>
              <a:ext cx="4252957" cy="1967900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52" name="等腰三角形 51"/>
          <p:cNvSpPr/>
          <p:nvPr/>
        </p:nvSpPr>
        <p:spPr>
          <a:xfrm rot="10273322">
            <a:off x="2513719" y="875263"/>
            <a:ext cx="1825399" cy="6094409"/>
          </a:xfrm>
          <a:prstGeom prst="triangle">
            <a:avLst>
              <a:gd name="adj" fmla="val 49832"/>
            </a:avLst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0" name="直角三角形 49"/>
          <p:cNvSpPr/>
          <p:nvPr/>
        </p:nvSpPr>
        <p:spPr>
          <a:xfrm rot="10800000">
            <a:off x="1047749" y="-3"/>
            <a:ext cx="3201453" cy="2231503"/>
          </a:xfrm>
          <a:prstGeom prst="rtTriangle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9" name="文本框 6"/>
          <p:cNvSpPr txBox="1"/>
          <p:nvPr/>
        </p:nvSpPr>
        <p:spPr>
          <a:xfrm>
            <a:off x="630723" y="2611313"/>
            <a:ext cx="2984009" cy="12604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200" b="1" dirty="0" smtClean="0">
                <a:solidFill>
                  <a:srgbClr val="ED6F3D"/>
                </a:solidFill>
                <a:latin typeface="等线 Light" panose="02010600030101010101" pitchFamily="2" charset="-122"/>
                <a:ea typeface="等线 Light" panose="02010600030101010101" pitchFamily="2" charset="-122"/>
              </a:rPr>
              <a:t>CONTENT</a:t>
            </a:r>
            <a:endParaRPr lang="en-US" altLang="zh-CN" sz="3200" b="1" dirty="0" smtClean="0">
              <a:solidFill>
                <a:srgbClr val="ED6F3D"/>
              </a:solidFill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algn="ctr"/>
            <a:r>
              <a:rPr lang="zh-CN" altLang="en-US" sz="4400" b="1" dirty="0" smtClean="0">
                <a:solidFill>
                  <a:srgbClr val="ED6F3D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目录</a:t>
            </a:r>
            <a:endParaRPr lang="zh-CN" altLang="en-US" sz="4400" b="1" dirty="0">
              <a:solidFill>
                <a:srgbClr val="ED6F3D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30" name="文本框 29"/>
          <p:cNvSpPr txBox="1"/>
          <p:nvPr/>
        </p:nvSpPr>
        <p:spPr>
          <a:xfrm>
            <a:off x="7264400" y="1131147"/>
            <a:ext cx="2180167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solidFill>
                  <a:srgbClr val="FD6600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现状与问题、目标</a:t>
            </a:r>
            <a:endParaRPr lang="zh-CN" altLang="en-US" dirty="0" smtClean="0">
              <a:solidFill>
                <a:srgbClr val="FD6600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40" name="文本框 8"/>
          <p:cNvSpPr txBox="1"/>
          <p:nvPr/>
        </p:nvSpPr>
        <p:spPr>
          <a:xfrm>
            <a:off x="7264117" y="802409"/>
            <a:ext cx="3046772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 b="1" dirty="0" smtClean="0">
                <a:solidFill>
                  <a:srgbClr val="FD66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+mn-ea"/>
                <a:sym typeface="+mn-lt"/>
              </a:rPr>
              <a:t>Vue</a:t>
            </a:r>
            <a:r>
              <a:rPr lang="zh-CN" altLang="en-US" sz="2400" b="1" dirty="0" smtClean="0">
                <a:solidFill>
                  <a:srgbClr val="FD66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+mn-ea"/>
                <a:sym typeface="+mn-lt"/>
              </a:rPr>
              <a:t>项目优化</a:t>
            </a:r>
            <a:r>
              <a:rPr lang="zh-CN" altLang="en-US" sz="2400" b="1" dirty="0" smtClean="0">
                <a:solidFill>
                  <a:srgbClr val="FD66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+mn-ea"/>
                <a:sym typeface="+mn-lt"/>
              </a:rPr>
              <a:t>重要性</a:t>
            </a:r>
            <a:endParaRPr lang="zh-CN" altLang="en-US" sz="2400" b="1" dirty="0" smtClean="0">
              <a:solidFill>
                <a:srgbClr val="FD6600"/>
              </a:solidFill>
              <a:latin typeface="华文楷体" panose="02010600040101010101" pitchFamily="2" charset="-122"/>
              <a:ea typeface="华文楷体" panose="02010600040101010101" pitchFamily="2" charset="-122"/>
              <a:cs typeface="+mn-ea"/>
              <a:sym typeface="+mn-lt"/>
            </a:endParaRPr>
          </a:p>
        </p:txBody>
      </p:sp>
      <p:grpSp>
        <p:nvGrpSpPr>
          <p:cNvPr id="3" name="组合 2"/>
          <p:cNvGrpSpPr/>
          <p:nvPr/>
        </p:nvGrpSpPr>
        <p:grpSpPr>
          <a:xfrm>
            <a:off x="7264235" y="5338479"/>
            <a:ext cx="3050524" cy="627943"/>
            <a:chOff x="4927755" y="1844007"/>
            <a:chExt cx="2256816" cy="627942"/>
          </a:xfrm>
        </p:grpSpPr>
        <p:sp>
          <p:nvSpPr>
            <p:cNvPr id="7" name="文本框 8"/>
            <p:cNvSpPr txBox="1"/>
            <p:nvPr/>
          </p:nvSpPr>
          <p:spPr>
            <a:xfrm>
              <a:off x="4927756" y="1844007"/>
              <a:ext cx="2256815" cy="4603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zh-CN" altLang="en-US" sz="2400" dirty="0" smtClean="0">
                  <a:latin typeface="华文楷体" panose="02010600040101010101" pitchFamily="2" charset="-122"/>
                  <a:ea typeface="华文楷体" panose="02010600040101010101" pitchFamily="2" charset="-122"/>
                  <a:cs typeface="+mn-ea"/>
                  <a:sym typeface="+mn-lt"/>
                </a:rPr>
                <a:t>提高</a:t>
              </a:r>
              <a:r>
                <a:rPr lang="zh-CN" altLang="en-US" sz="2400" dirty="0" smtClean="0">
                  <a:latin typeface="华文楷体" panose="02010600040101010101" pitchFamily="2" charset="-122"/>
                  <a:ea typeface="华文楷体" panose="02010600040101010101" pitchFamily="2" charset="-122"/>
                  <a:cs typeface="+mn-ea"/>
                  <a:sym typeface="+mn-lt"/>
                </a:rPr>
                <a:t>页面性能</a:t>
              </a:r>
              <a:endParaRPr lang="zh-CN" altLang="en-US" sz="2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+mn-ea"/>
                <a:sym typeface="+mn-lt"/>
              </a:endParaRPr>
            </a:p>
          </p:txBody>
        </p:sp>
        <p:cxnSp>
          <p:nvCxnSpPr>
            <p:cNvPr id="8" name="直接连接符 7"/>
            <p:cNvCxnSpPr/>
            <p:nvPr/>
          </p:nvCxnSpPr>
          <p:spPr>
            <a:xfrm>
              <a:off x="4927755" y="1892087"/>
              <a:ext cx="0" cy="579862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文本框 8"/>
          <p:cNvSpPr txBox="1"/>
          <p:nvPr/>
        </p:nvSpPr>
        <p:spPr>
          <a:xfrm>
            <a:off x="7264175" y="5731932"/>
            <a:ext cx="3457627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solidFill>
                  <a:schemeClr val="bg1">
                    <a:lumMod val="50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代码精简，按需</a:t>
            </a:r>
            <a:r>
              <a:rPr lang="zh-CN" altLang="en-US" dirty="0" smtClean="0">
                <a:solidFill>
                  <a:schemeClr val="bg1">
                    <a:lumMod val="50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引用</a:t>
            </a:r>
            <a:endParaRPr lang="zh-CN" altLang="en-US" dirty="0" smtClean="0">
              <a:solidFill>
                <a:schemeClr val="bg1">
                  <a:lumMod val="50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5436447" y="5491824"/>
            <a:ext cx="16764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第四部分</a:t>
            </a:r>
            <a:endParaRPr lang="zh-CN" altLang="en-US" sz="2400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小样本解决之招式四：觅迹同源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-</a:t>
            </a: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相似样本寻觅</a:t>
            </a:r>
            <a:endParaRPr lang="en-US" altLang="zh-CN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938530" y="112522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sz="1800" dirty="0" smtClean="0"/>
              <a:t>案例：监管投诉通报件预测</a:t>
            </a:r>
            <a:endParaRPr lang="zh-CN" altLang="en-US" sz="1800" dirty="0" smtClean="0"/>
          </a:p>
        </p:txBody>
      </p:sp>
      <p:grpSp>
        <p:nvGrpSpPr>
          <p:cNvPr id="3" name="组合 2"/>
          <p:cNvGrpSpPr/>
          <p:nvPr/>
        </p:nvGrpSpPr>
        <p:grpSpPr>
          <a:xfrm>
            <a:off x="450215" y="1061720"/>
            <a:ext cx="389255" cy="427990"/>
            <a:chOff x="450391" y="1977754"/>
            <a:chExt cx="465233" cy="511985"/>
          </a:xfrm>
        </p:grpSpPr>
        <p:sp>
          <p:nvSpPr>
            <p:cNvPr id="488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89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0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1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2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3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5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13" name="文本框 12"/>
          <p:cNvSpPr txBox="1"/>
          <p:nvPr/>
        </p:nvSpPr>
        <p:spPr>
          <a:xfrm>
            <a:off x="1077248" y="1489768"/>
            <a:ext cx="5087620" cy="38608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>
              <a:lnSpc>
                <a:spcPts val="2300"/>
              </a:lnSpc>
            </a:pPr>
            <a:r>
              <a:rPr lang="zh-CN" sz="1400" smtClean="0"/>
              <a:t>寻找监管通报件相似样本：全量投诉（公司内投诉</a:t>
            </a:r>
            <a:r>
              <a:rPr lang="en-US" altLang="zh-CN" sz="1400" smtClean="0"/>
              <a:t>+</a:t>
            </a:r>
            <a:r>
              <a:rPr lang="zh-CN" altLang="en-US" sz="1400" smtClean="0"/>
              <a:t>监管投诉</a:t>
            </a:r>
            <a:r>
              <a:rPr lang="zh-CN" sz="1400" smtClean="0"/>
              <a:t>）</a:t>
            </a:r>
            <a:endParaRPr lang="zh-CN" sz="1400" smtClean="0"/>
          </a:p>
        </p:txBody>
      </p:sp>
      <p:sp>
        <p:nvSpPr>
          <p:cNvPr id="6" name="矩形 5"/>
          <p:cNvSpPr/>
          <p:nvPr/>
        </p:nvSpPr>
        <p:spPr>
          <a:xfrm>
            <a:off x="4848225" y="4229215"/>
            <a:ext cx="325755" cy="540000"/>
          </a:xfrm>
          <a:prstGeom prst="rect">
            <a:avLst/>
          </a:prstGeom>
          <a:solidFill>
            <a:schemeClr val="bg1">
              <a:lumMod val="85000"/>
            </a:schemeClr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rtlCol="0" anchor="t" anchorCtr="0" compatLnSpc="1"/>
          <a:p>
            <a:endParaRPr lang="zh-CN" altLang="en-US"/>
          </a:p>
        </p:txBody>
      </p:sp>
      <p:sp>
        <p:nvSpPr>
          <p:cNvPr id="7" name="矩形 6"/>
          <p:cNvSpPr/>
          <p:nvPr/>
        </p:nvSpPr>
        <p:spPr>
          <a:xfrm>
            <a:off x="6522720" y="2609215"/>
            <a:ext cx="324000" cy="2160000"/>
          </a:xfrm>
          <a:prstGeom prst="rect">
            <a:avLst/>
          </a:prstGeom>
          <a:solidFill>
            <a:srgbClr val="F05A23"/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rtlCol="0" anchor="t" anchorCtr="0" compatLnSpc="1"/>
          <a:p>
            <a:endParaRPr lang="zh-CN" altLang="en-US"/>
          </a:p>
        </p:txBody>
      </p:sp>
      <p:sp>
        <p:nvSpPr>
          <p:cNvPr id="11" name="文本框 10"/>
          <p:cNvSpPr txBox="1"/>
          <p:nvPr/>
        </p:nvSpPr>
        <p:spPr>
          <a:xfrm>
            <a:off x="4575175" y="3809365"/>
            <a:ext cx="814705" cy="314960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106045" indent="0">
              <a:buFont typeface="Arial" panose="020B0604020202090204" pitchFamily="34" charset="0"/>
              <a:buNone/>
            </a:pPr>
            <a:r>
              <a:rPr lang="en-US" alt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0.016%</a:t>
            </a:r>
            <a:endParaRPr lang="en-US" altLang="zh-CN" sz="1400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6276975" y="2199640"/>
            <a:ext cx="814705" cy="314960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106045" indent="0">
              <a:buFont typeface="Arial" panose="020B0604020202090204" pitchFamily="34" charset="0"/>
              <a:buNone/>
            </a:pPr>
            <a:r>
              <a:rPr lang="en-US" alt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0.064%</a:t>
            </a:r>
            <a:endParaRPr lang="en-US" altLang="zh-CN" sz="1400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cxnSp>
        <p:nvCxnSpPr>
          <p:cNvPr id="15" name="直接连接符 14"/>
          <p:cNvCxnSpPr/>
          <p:nvPr/>
        </p:nvCxnSpPr>
        <p:spPr>
          <a:xfrm>
            <a:off x="4192270" y="4770755"/>
            <a:ext cx="335724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箭头连接符 15"/>
          <p:cNvCxnSpPr/>
          <p:nvPr/>
        </p:nvCxnSpPr>
        <p:spPr>
          <a:xfrm flipV="1">
            <a:off x="5112385" y="2642235"/>
            <a:ext cx="1219835" cy="101600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文本框 16"/>
          <p:cNvSpPr txBox="1"/>
          <p:nvPr/>
        </p:nvSpPr>
        <p:spPr>
          <a:xfrm>
            <a:off x="4926965" y="2816225"/>
            <a:ext cx="967740" cy="314960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106045" indent="0">
              <a:buFont typeface="Arial" panose="020B0604020202090204" pitchFamily="34" charset="0"/>
              <a:buNone/>
            </a:pP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提升</a:t>
            </a:r>
            <a:r>
              <a:rPr lang="en-US" altLang="zh-CN" sz="1400" b="1" dirty="0" smtClean="0">
                <a:solidFill>
                  <a:srgbClr val="F05A23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4</a:t>
            </a: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倍</a:t>
            </a:r>
            <a:endParaRPr lang="zh-CN" altLang="en-US" sz="1400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18" name="文本框 17"/>
          <p:cNvSpPr txBox="1"/>
          <p:nvPr/>
        </p:nvSpPr>
        <p:spPr>
          <a:xfrm>
            <a:off x="3983990" y="4921885"/>
            <a:ext cx="1910715" cy="314960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106045" indent="0">
              <a:buFont typeface="Arial" panose="020B0604020202090204" pitchFamily="34" charset="0"/>
              <a:buNone/>
            </a:pPr>
            <a:r>
              <a:rPr 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监管通报件投诉率</a:t>
            </a:r>
            <a:endParaRPr lang="zh-CN" sz="1400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19" name="文本框 18"/>
          <p:cNvSpPr txBox="1"/>
          <p:nvPr/>
        </p:nvSpPr>
        <p:spPr>
          <a:xfrm>
            <a:off x="6123305" y="4940935"/>
            <a:ext cx="1604010" cy="314960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106045" indent="0">
              <a:buFont typeface="Arial" panose="020B0604020202090204" pitchFamily="34" charset="0"/>
              <a:buNone/>
            </a:pPr>
            <a:r>
              <a:rPr 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全量投诉率</a:t>
            </a:r>
            <a:endParaRPr lang="zh-CN" sz="1400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小样本解决之招式四：觅迹同源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-</a:t>
            </a: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相似样本寻觅</a:t>
            </a:r>
            <a:endParaRPr lang="en-US" altLang="zh-CN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938530" y="112522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dirty="0" smtClean="0"/>
              <a:t>案例：监管投诉通报件预测</a:t>
            </a:r>
            <a:endParaRPr lang="zh-CN" altLang="en-US" dirty="0" smtClean="0"/>
          </a:p>
        </p:txBody>
      </p:sp>
      <p:grpSp>
        <p:nvGrpSpPr>
          <p:cNvPr id="3" name="组合 2"/>
          <p:cNvGrpSpPr/>
          <p:nvPr/>
        </p:nvGrpSpPr>
        <p:grpSpPr>
          <a:xfrm>
            <a:off x="450215" y="1061720"/>
            <a:ext cx="389255" cy="427990"/>
            <a:chOff x="450391" y="1977754"/>
            <a:chExt cx="465233" cy="511985"/>
          </a:xfrm>
        </p:grpSpPr>
        <p:sp>
          <p:nvSpPr>
            <p:cNvPr id="488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89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0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1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2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3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5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13" name="文本框 12"/>
          <p:cNvSpPr txBox="1"/>
          <p:nvPr/>
        </p:nvSpPr>
        <p:spPr>
          <a:xfrm>
            <a:off x="1143923" y="1489768"/>
            <a:ext cx="1960880" cy="38608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>
              <a:lnSpc>
                <a:spcPts val="2300"/>
              </a:lnSpc>
            </a:pPr>
            <a:r>
              <a:rPr lang="zh-CN" sz="1400" smtClean="0"/>
              <a:t>通过全量投诉训练模型</a:t>
            </a:r>
            <a:endParaRPr lang="zh-CN" sz="1400" smtClean="0"/>
          </a:p>
        </p:txBody>
      </p:sp>
      <p:graphicFrame>
        <p:nvGraphicFramePr>
          <p:cNvPr id="9" name="表格 8"/>
          <p:cNvGraphicFramePr/>
          <p:nvPr/>
        </p:nvGraphicFramePr>
        <p:xfrm>
          <a:off x="1283018" y="2256790"/>
          <a:ext cx="4257675" cy="44475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5800"/>
                <a:gridCol w="828675"/>
                <a:gridCol w="685800"/>
                <a:gridCol w="685800"/>
                <a:gridCol w="685800"/>
                <a:gridCol w="685800"/>
              </a:tblGrid>
              <a:tr h="177800">
                <a:tc gridSpan="6"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  <a:cs typeface="华文楷体" panose="02010600040101010101" pitchFamily="2" charset="-122"/>
                        </a:rPr>
                        <a:t>20230101_全量投诉效果</a:t>
                      </a:r>
                      <a:endParaRPr lang="zh-CN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  <a:cs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 hMerge="1">
                  <a:tcP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cP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cP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cP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cPr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</a:tr>
              <a:tr h="18034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分位点</a:t>
                      </a:r>
                      <a:endParaRPr lang="zh-CN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客户数</a:t>
                      </a:r>
                      <a:endParaRPr lang="zh-CN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直达监管数</a:t>
                      </a:r>
                      <a:endParaRPr lang="zh-CN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直达监管率</a:t>
                      </a:r>
                      <a:endParaRPr lang="zh-CN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覆盖率</a:t>
                      </a:r>
                      <a:endParaRPr lang="zh-CN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提升度</a:t>
                      </a:r>
                      <a:endParaRPr lang="zh-CN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1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,545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438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1">
                          <a:solidFill>
                            <a:srgbClr val="FF66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4.59%</a:t>
                      </a:r>
                      <a:endParaRPr lang="en-US" altLang="en-US" sz="800" b="1">
                        <a:solidFill>
                          <a:srgbClr val="FF66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0.96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1">
                          <a:solidFill>
                            <a:srgbClr val="FF66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09.63 </a:t>
                      </a:r>
                      <a:endParaRPr lang="en-US" altLang="en-US" sz="800" b="1">
                        <a:solidFill>
                          <a:srgbClr val="FF66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2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9,089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613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1">
                          <a:solidFill>
                            <a:srgbClr val="FF66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.21%</a:t>
                      </a:r>
                      <a:endParaRPr lang="en-US" altLang="en-US" sz="800" b="1">
                        <a:solidFill>
                          <a:srgbClr val="FF66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5.34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1">
                          <a:solidFill>
                            <a:srgbClr val="FF66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76.72 </a:t>
                      </a:r>
                      <a:endParaRPr lang="en-US" altLang="en-US" sz="800" b="1">
                        <a:solidFill>
                          <a:srgbClr val="FF66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3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8,633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707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.47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7.70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8.99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4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8,177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775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.03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9.40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48.5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5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47,721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843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77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1.10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42.2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6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7,265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0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57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2.53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7.55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7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66,809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45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41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3.65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3.79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8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76,354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95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30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4.91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1.13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9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85,898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,027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20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5.71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8.56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5,442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,056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11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6.43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6.43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5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43,162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,228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86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0.74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0.49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90,883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,355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71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3.92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6.96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477,12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,839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39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46.03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.21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0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54,046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,332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24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8.37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.84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0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,908,57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,851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15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71.36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.57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0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,863,22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,216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11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80.50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.68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40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,817,65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,524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09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88.21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.21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0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4,772,07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,741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08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3.64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87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60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,726,48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,889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07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7.35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62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70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6,680,89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,957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06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9.05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41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80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7,635,30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,981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05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9.65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25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0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8,589,71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,99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05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9.87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11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00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,544,13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,995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04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00.00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0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1" name="表格 10"/>
          <p:cNvGraphicFramePr/>
          <p:nvPr/>
        </p:nvGraphicFramePr>
        <p:xfrm>
          <a:off x="6490653" y="2256790"/>
          <a:ext cx="4257675" cy="4445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5800"/>
                <a:gridCol w="828675"/>
                <a:gridCol w="685800"/>
                <a:gridCol w="685800"/>
                <a:gridCol w="685800"/>
                <a:gridCol w="685800"/>
              </a:tblGrid>
              <a:tr h="177800">
                <a:tc gridSpan="6"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  <a:cs typeface="华文楷体" panose="02010600040101010101" pitchFamily="2" charset="-122"/>
                        </a:rPr>
                        <a:t>20221001_全量投诉效果</a:t>
                      </a:r>
                      <a:endParaRPr lang="zh-CN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  <a:cs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 hMerge="1">
                  <a:tcP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cP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cP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cP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cPr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分位点</a:t>
                      </a:r>
                      <a:endParaRPr lang="zh-CN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客户数</a:t>
                      </a:r>
                      <a:endParaRPr lang="zh-CN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直达监管数</a:t>
                      </a:r>
                      <a:endParaRPr lang="zh-CN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直达监管率</a:t>
                      </a:r>
                      <a:endParaRPr lang="zh-CN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覆盖率</a:t>
                      </a:r>
                      <a:endParaRPr lang="zh-CN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提升度</a:t>
                      </a:r>
                      <a:endParaRPr lang="zh-CN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1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8,388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632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1">
                          <a:solidFill>
                            <a:srgbClr val="FF66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7.53%</a:t>
                      </a:r>
                      <a:endParaRPr lang="en-US" altLang="en-US" sz="800" b="1">
                        <a:solidFill>
                          <a:srgbClr val="FF66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1.82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1">
                          <a:solidFill>
                            <a:srgbClr val="FF66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18.22 </a:t>
                      </a:r>
                      <a:endParaRPr lang="en-US" altLang="en-US" sz="800" b="1">
                        <a:solidFill>
                          <a:srgbClr val="FF66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2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6,776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848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1">
                          <a:solidFill>
                            <a:srgbClr val="FF66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.05%</a:t>
                      </a:r>
                      <a:endParaRPr lang="en-US" altLang="en-US" sz="800" b="1">
                        <a:solidFill>
                          <a:srgbClr val="FF66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5.86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1">
                          <a:solidFill>
                            <a:srgbClr val="FF66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79.31 </a:t>
                      </a:r>
                      <a:endParaRPr lang="en-US" altLang="en-US" sz="800" b="1">
                        <a:solidFill>
                          <a:srgbClr val="FF66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3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5,164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71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.86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8.16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60.54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4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3,552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,079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.22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0.18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0.46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5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41,94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,176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.80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2.00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43.99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6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0,328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,251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.49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3.40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9.0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7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8,716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,308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.23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4.47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4.95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8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67,103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,377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.05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5.76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2.2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9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75,491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,427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89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6.69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9.66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83,879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,488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77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7.83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7.83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5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25,819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,728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37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2.32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1.55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67,758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,93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15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6.10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8.05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419,392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,578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61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48.22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.64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0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838,788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,17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38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9.30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.93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0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,677,58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,869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23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72.37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.62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0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,516,36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4,325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17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80.90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.7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40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,355,02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4,706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14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88.03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.2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0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4,193,94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,004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12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3.60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87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60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,032,72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,203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10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7.33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62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70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,871,51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,289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09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8.93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41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80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6,710,30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,318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08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9.48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24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0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7,549,01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,335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07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9.79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11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00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8,387,82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,346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06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00.00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0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</a:tbl>
          </a:graphicData>
        </a:graphic>
      </p:graphicFrame>
      <p:sp>
        <p:nvSpPr>
          <p:cNvPr id="12" name="文本框 11"/>
          <p:cNvSpPr txBox="1"/>
          <p:nvPr/>
        </p:nvSpPr>
        <p:spPr>
          <a:xfrm>
            <a:off x="2889538" y="1865688"/>
            <a:ext cx="1075055" cy="38608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>
              <a:lnSpc>
                <a:spcPts val="2300"/>
              </a:lnSpc>
            </a:pPr>
            <a:r>
              <a:rPr lang="zh-CN" sz="1400" b="1" smtClean="0"/>
              <a:t>训练集效果</a:t>
            </a:r>
            <a:endParaRPr lang="en-US" altLang="zh-CN" sz="1400" b="1" smtClean="0"/>
          </a:p>
        </p:txBody>
      </p:sp>
      <p:sp>
        <p:nvSpPr>
          <p:cNvPr id="14" name="文本框 13"/>
          <p:cNvSpPr txBox="1"/>
          <p:nvPr/>
        </p:nvSpPr>
        <p:spPr>
          <a:xfrm>
            <a:off x="8084473" y="1876483"/>
            <a:ext cx="1075055" cy="38608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>
              <a:lnSpc>
                <a:spcPts val="2300"/>
              </a:lnSpc>
            </a:pPr>
            <a:r>
              <a:rPr lang="zh-CN" sz="1400" b="1" smtClean="0"/>
              <a:t>验证集效果</a:t>
            </a:r>
            <a:endParaRPr lang="en-US" altLang="zh-CN" sz="1400" b="1" smtClean="0"/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小样本解决之招式四：觅迹同源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-</a:t>
            </a: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相似样本寻觅</a:t>
            </a:r>
            <a:endParaRPr lang="en-US" altLang="zh-CN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938530" y="112522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sz="1800" dirty="0" smtClean="0"/>
              <a:t>案例：监管投诉通报件预测</a:t>
            </a:r>
            <a:endParaRPr lang="zh-CN" altLang="en-US" sz="1800" dirty="0" smtClean="0"/>
          </a:p>
        </p:txBody>
      </p:sp>
      <p:grpSp>
        <p:nvGrpSpPr>
          <p:cNvPr id="3" name="组合 2"/>
          <p:cNvGrpSpPr/>
          <p:nvPr/>
        </p:nvGrpSpPr>
        <p:grpSpPr>
          <a:xfrm>
            <a:off x="450215" y="1061720"/>
            <a:ext cx="389255" cy="427990"/>
            <a:chOff x="450391" y="1977754"/>
            <a:chExt cx="465233" cy="511985"/>
          </a:xfrm>
        </p:grpSpPr>
        <p:sp>
          <p:nvSpPr>
            <p:cNvPr id="488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89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0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1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2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3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5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13" name="文本框 12"/>
          <p:cNvSpPr txBox="1"/>
          <p:nvPr/>
        </p:nvSpPr>
        <p:spPr>
          <a:xfrm>
            <a:off x="1096298" y="1489768"/>
            <a:ext cx="6778625" cy="38608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>
              <a:lnSpc>
                <a:spcPts val="2300"/>
              </a:lnSpc>
            </a:pPr>
            <a:r>
              <a:rPr lang="zh-CN" altLang="en-US" sz="1400" smtClean="0"/>
              <a:t>还原</a:t>
            </a:r>
            <a:r>
              <a:rPr lang="zh-CN" altLang="en-US" sz="1400" b="1" smtClean="0">
                <a:solidFill>
                  <a:srgbClr val="F05A23"/>
                </a:solidFill>
              </a:rPr>
              <a:t>监管通报件</a:t>
            </a:r>
            <a:r>
              <a:rPr lang="zh-CN" altLang="en-US" sz="1400" smtClean="0"/>
              <a:t>效果，模型前</a:t>
            </a:r>
            <a:r>
              <a:rPr lang="en-US" altLang="zh-CN" sz="1400" smtClean="0"/>
              <a:t>0.1%</a:t>
            </a:r>
            <a:r>
              <a:rPr lang="zh-CN" altLang="en-US" sz="1400" smtClean="0"/>
              <a:t>精确率由</a:t>
            </a:r>
            <a:r>
              <a:rPr lang="en-US" altLang="zh-CN" sz="1400" smtClean="0"/>
              <a:t>1.288%</a:t>
            </a:r>
            <a:r>
              <a:rPr lang="zh-CN" altLang="en-US" sz="1400" smtClean="0"/>
              <a:t>提升到</a:t>
            </a:r>
            <a:r>
              <a:rPr lang="en-US" altLang="zh-CN" sz="1400" smtClean="0"/>
              <a:t>1.598%</a:t>
            </a:r>
            <a:r>
              <a:rPr lang="zh-CN" altLang="en-US" sz="1400" smtClean="0"/>
              <a:t>，提升幅度达</a:t>
            </a:r>
            <a:r>
              <a:rPr lang="en-US" altLang="zh-CN" sz="1400" b="1" smtClean="0">
                <a:solidFill>
                  <a:srgbClr val="F05A23"/>
                </a:solidFill>
              </a:rPr>
              <a:t>24</a:t>
            </a:r>
            <a:r>
              <a:rPr lang="en-US" altLang="zh-CN" sz="1400" smtClean="0"/>
              <a:t>%</a:t>
            </a:r>
            <a:endParaRPr lang="en-US" altLang="zh-CN" sz="1400" smtClean="0"/>
          </a:p>
        </p:txBody>
      </p:sp>
      <p:graphicFrame>
        <p:nvGraphicFramePr>
          <p:cNvPr id="8" name="表格 7"/>
          <p:cNvGraphicFramePr>
            <a:graphicFrameLocks noGrp="1"/>
          </p:cNvGraphicFramePr>
          <p:nvPr/>
        </p:nvGraphicFramePr>
        <p:xfrm>
          <a:off x="1143429" y="2282476"/>
          <a:ext cx="4493895" cy="435115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48958"/>
                <a:gridCol w="749300"/>
                <a:gridCol w="748616"/>
                <a:gridCol w="748958"/>
                <a:gridCol w="748958"/>
                <a:gridCol w="748958"/>
              </a:tblGrid>
              <a:tr h="174054">
                <a:tc gridSpan="6"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0221001_30</a:t>
                      </a:r>
                      <a:r>
                        <a:rPr lang="zh-CN" altLang="en-US" sz="800" u="none" strike="noStrike">
                          <a:effectLst/>
                        </a:rPr>
                        <a:t>天直达投诉效果</a:t>
                      </a:r>
                      <a:endParaRPr lang="zh-CN" altLang="en-US" sz="8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zh-CN" altLang="en-US" sz="800" u="none" strike="noStrike">
                          <a:effectLst/>
                        </a:rPr>
                        <a:t>分位点</a:t>
                      </a:r>
                      <a:endParaRPr lang="zh-CN" altLang="en-US" sz="8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800" u="none" strike="noStrike">
                          <a:effectLst/>
                        </a:rPr>
                        <a:t>客户数</a:t>
                      </a:r>
                      <a:endParaRPr lang="zh-CN" altLang="en-US" sz="8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800" u="none" strike="noStrike">
                          <a:effectLst/>
                        </a:rPr>
                        <a:t>直达监管数</a:t>
                      </a:r>
                      <a:endParaRPr lang="zh-CN" altLang="en-US" sz="8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800" u="none" strike="noStrike">
                          <a:effectLst/>
                        </a:rPr>
                        <a:t>直达监管率</a:t>
                      </a:r>
                      <a:endParaRPr lang="zh-CN" altLang="en-US" sz="8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800" u="none" strike="noStrike">
                          <a:effectLst/>
                        </a:rPr>
                        <a:t>覆盖率</a:t>
                      </a:r>
                      <a:endParaRPr lang="zh-CN" altLang="en-US" sz="8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800" u="none" strike="noStrike">
                          <a:effectLst/>
                        </a:rPr>
                        <a:t>提升度</a:t>
                      </a:r>
                      <a:endParaRPr lang="zh-CN" altLang="en-US" sz="8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>
                    <a:solidFill>
                      <a:srgbClr val="FF6600"/>
                    </a:solidFill>
                  </a:tcPr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1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8,388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34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b="1" u="none" strike="noStrike">
                          <a:solidFill>
                            <a:srgbClr val="FF6600"/>
                          </a:solidFill>
                          <a:effectLst/>
                        </a:rPr>
                        <a:t>1.598%</a:t>
                      </a:r>
                      <a:endParaRPr lang="en-US" altLang="zh-CN" sz="800" b="1" i="0" u="none" strike="noStrike">
                        <a:solidFill>
                          <a:srgbClr val="FF66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9.72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b="1" u="none" strike="noStrike">
                          <a:solidFill>
                            <a:srgbClr val="FF6600"/>
                          </a:solidFill>
                          <a:effectLst/>
                        </a:rPr>
                        <a:t>97.24</a:t>
                      </a:r>
                      <a:endParaRPr lang="en-US" altLang="zh-CN" sz="800" b="1" i="0" u="none" strike="noStrike">
                        <a:solidFill>
                          <a:srgbClr val="FF66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3990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2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6,776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91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b="1" u="none" strike="noStrike">
                          <a:solidFill>
                            <a:srgbClr val="FF6600"/>
                          </a:solidFill>
                          <a:effectLst/>
                        </a:rPr>
                        <a:t>1.139%</a:t>
                      </a:r>
                      <a:endParaRPr lang="en-US" altLang="zh-CN" sz="800" b="1" i="0" u="none" strike="noStrike">
                        <a:solidFill>
                          <a:srgbClr val="FF66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3.86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b="1" u="none" strike="noStrike">
                          <a:solidFill>
                            <a:srgbClr val="FF6600"/>
                          </a:solidFill>
                          <a:effectLst/>
                        </a:rPr>
                        <a:t>69.30</a:t>
                      </a:r>
                      <a:endParaRPr lang="en-US" altLang="zh-CN" sz="800" b="1" i="0" u="none" strike="noStrike">
                        <a:solidFill>
                          <a:srgbClr val="FF66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3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5,164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28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906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6.55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55.15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4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3,552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57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766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8.65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46.62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5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41,94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78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663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0.17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40.35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6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50,328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95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586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1.41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5.68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7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58,716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17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540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3.00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2.86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3990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8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67,103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37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502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4.46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0.57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3990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9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75,491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5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464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5.40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8.22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83,879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71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442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6.92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6.92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.5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25,819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436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347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1.64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1.09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67,758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497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296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6.07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8.03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5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419,392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668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159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48.48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9.7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838,788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819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098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59.43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5.94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,677,58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997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059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72.35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.62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,516,36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,111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044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80.62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.69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4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,355,02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,197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036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86.87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.17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5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4,193,94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,265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030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91.80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.84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6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5,032,72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,318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026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95.65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.59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7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5,871,51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,35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023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97.97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.4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8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6,710,30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,367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020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99.20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.24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9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7,549,01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,374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018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99.71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.11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0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8,387,82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,378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016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00.00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.0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</a:tbl>
          </a:graphicData>
        </a:graphic>
      </p:graphicFrame>
      <p:graphicFrame>
        <p:nvGraphicFramePr>
          <p:cNvPr id="10" name="表格 9"/>
          <p:cNvGraphicFramePr>
            <a:graphicFrameLocks noGrp="1"/>
          </p:cNvGraphicFramePr>
          <p:nvPr/>
        </p:nvGraphicFramePr>
        <p:xfrm>
          <a:off x="6491284" y="2280046"/>
          <a:ext cx="4493748" cy="43513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48958"/>
                <a:gridCol w="748958"/>
                <a:gridCol w="748958"/>
                <a:gridCol w="748958"/>
                <a:gridCol w="748958"/>
                <a:gridCol w="748958"/>
              </a:tblGrid>
              <a:tr h="174054">
                <a:tc gridSpan="6"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0221001_30</a:t>
                      </a:r>
                      <a:r>
                        <a:rPr lang="zh-CN" altLang="en-US" sz="800" u="none" strike="noStrike">
                          <a:effectLst/>
                        </a:rPr>
                        <a:t>天直达投诉效果</a:t>
                      </a:r>
                      <a:endParaRPr lang="zh-CN" altLang="en-US" sz="8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zh-CN" altLang="en-US" sz="800" u="none" strike="noStrike">
                          <a:effectLst/>
                        </a:rPr>
                        <a:t>分位点</a:t>
                      </a:r>
                      <a:endParaRPr lang="zh-CN" altLang="en-US" sz="8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800" u="none" strike="noStrike">
                          <a:effectLst/>
                        </a:rPr>
                        <a:t>客户数</a:t>
                      </a:r>
                      <a:endParaRPr lang="zh-CN" altLang="en-US" sz="8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800" u="none" strike="noStrike">
                          <a:effectLst/>
                        </a:rPr>
                        <a:t>直达监管数</a:t>
                      </a:r>
                      <a:endParaRPr lang="zh-CN" altLang="en-US" sz="8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800" u="none" strike="noStrike">
                          <a:effectLst/>
                        </a:rPr>
                        <a:t>直达监管率</a:t>
                      </a:r>
                      <a:endParaRPr lang="zh-CN" altLang="en-US" sz="8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800" u="none" strike="noStrike">
                          <a:effectLst/>
                        </a:rPr>
                        <a:t>覆盖率</a:t>
                      </a:r>
                      <a:endParaRPr lang="zh-CN" altLang="en-US" sz="8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800" u="none" strike="noStrike">
                          <a:effectLst/>
                        </a:rPr>
                        <a:t>提升度</a:t>
                      </a:r>
                      <a:endParaRPr lang="zh-CN" altLang="en-US" sz="8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>
                    <a:solidFill>
                      <a:srgbClr val="FF6600"/>
                    </a:solidFill>
                  </a:tcPr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1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8,388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08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b="1" u="none" strike="noStrike">
                          <a:solidFill>
                            <a:srgbClr val="FF6600"/>
                          </a:solidFill>
                          <a:effectLst/>
                        </a:rPr>
                        <a:t>1.288%</a:t>
                      </a:r>
                      <a:endParaRPr lang="en-US" altLang="zh-CN" sz="800" b="1" i="0" u="none" strike="noStrike">
                        <a:solidFill>
                          <a:srgbClr val="FF66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7.84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b="1" u="none" strike="noStrike">
                          <a:solidFill>
                            <a:srgbClr val="FF6600"/>
                          </a:solidFill>
                          <a:effectLst/>
                        </a:rPr>
                        <a:t>78.37</a:t>
                      </a:r>
                      <a:endParaRPr lang="en-US" altLang="zh-CN" sz="800" b="1" i="0" u="none" strike="noStrike">
                        <a:solidFill>
                          <a:srgbClr val="FF66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2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6,776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58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b="1" u="none" strike="noStrike">
                          <a:solidFill>
                            <a:srgbClr val="FF6600"/>
                          </a:solidFill>
                          <a:effectLst/>
                        </a:rPr>
                        <a:t>0.942%</a:t>
                      </a:r>
                      <a:endParaRPr lang="en-US" altLang="zh-CN" sz="800" b="1" i="0" u="none" strike="noStrike">
                        <a:solidFill>
                          <a:srgbClr val="FF66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1.47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b="1" u="none" strike="noStrike">
                          <a:solidFill>
                            <a:srgbClr val="FF6600"/>
                          </a:solidFill>
                          <a:effectLst/>
                        </a:rPr>
                        <a:t>57.33</a:t>
                      </a:r>
                      <a:endParaRPr lang="en-US" altLang="zh-CN" sz="800" b="1" i="0" u="none" strike="noStrike">
                        <a:solidFill>
                          <a:srgbClr val="FF66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3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5,164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87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743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3.57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45.23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4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3,552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1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626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5.24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8.1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5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41,94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29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546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6.62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3.24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6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50,328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5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497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8.14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0.24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7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58,716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67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455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9.38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7.68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8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67,103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85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425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0.68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5.85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9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75,491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98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395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1.63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4.03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83,879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13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373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2.71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2.71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.5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25,819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84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305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7.87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8.58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67,758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446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266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2.37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6.18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5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419,394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622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148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45.14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9.03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838,788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789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094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57.26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5.73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,677,57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968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058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70.25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.51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,516,36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,089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043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79.03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.63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4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,355,15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,179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035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85.56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.14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5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4,193,94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,247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030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90.49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.81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6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5,032,76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,302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026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94.48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.57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7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5,871,51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,337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023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97.02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.39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8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6,710,04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,36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020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98.69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.23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9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7,535,33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,374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018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99.71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.11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0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8,387,87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,378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016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00.00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.0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</a:tbl>
          </a:graphicData>
        </a:graphic>
      </p:graphicFrame>
      <p:sp>
        <p:nvSpPr>
          <p:cNvPr id="22" name="文本框 21"/>
          <p:cNvSpPr txBox="1"/>
          <p:nvPr/>
        </p:nvSpPr>
        <p:spPr>
          <a:xfrm>
            <a:off x="2989619" y="1928539"/>
            <a:ext cx="723275" cy="35785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>
              <a:lnSpc>
                <a:spcPts val="2300"/>
              </a:lnSpc>
            </a:pPr>
            <a:r>
              <a:rPr lang="zh-CN" altLang="en-US" sz="1400" b="1" smtClean="0"/>
              <a:t>迭代后</a:t>
            </a:r>
            <a:endParaRPr lang="zh-CN" altLang="en-US" sz="1400" b="1" smtClean="0"/>
          </a:p>
        </p:txBody>
      </p:sp>
      <p:sp>
        <p:nvSpPr>
          <p:cNvPr id="23" name="文本框 22"/>
          <p:cNvSpPr txBox="1"/>
          <p:nvPr/>
        </p:nvSpPr>
        <p:spPr>
          <a:xfrm>
            <a:off x="8358053" y="1928539"/>
            <a:ext cx="723275" cy="35785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>
              <a:lnSpc>
                <a:spcPts val="2300"/>
              </a:lnSpc>
            </a:pPr>
            <a:r>
              <a:rPr lang="zh-CN" altLang="en-US" sz="1400" b="1" smtClean="0"/>
              <a:t>迭代前</a:t>
            </a:r>
            <a:endParaRPr lang="zh-CN" altLang="en-US" sz="1400" b="1" smtClean="0"/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6779260" y="1055370"/>
            <a:ext cx="3867150" cy="533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000" dirty="0" smtClean="0">
                <a:solidFill>
                  <a:schemeClr val="tx1"/>
                </a:solidFill>
                <a:sym typeface="+mn-ea"/>
              </a:rPr>
              <a:t>洞察趋势：了解保险风控格局</a:t>
            </a:r>
            <a:endParaRPr lang="zh-CN" altLang="en-US" sz="2000" dirty="0" smtClean="0">
              <a:solidFill>
                <a:schemeClr val="tx1"/>
              </a:solidFill>
              <a:sym typeface="+mn-ea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1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4249207" cy="6858000"/>
          </a:xfrm>
          <a:prstGeom prst="rect">
            <a:avLst/>
          </a:prstGeom>
        </p:spPr>
      </p:pic>
      <p:grpSp>
        <p:nvGrpSpPr>
          <p:cNvPr id="18" name="组合 17"/>
          <p:cNvGrpSpPr/>
          <p:nvPr/>
        </p:nvGrpSpPr>
        <p:grpSpPr>
          <a:xfrm>
            <a:off x="-3750" y="0"/>
            <a:ext cx="4252957" cy="5905045"/>
            <a:chOff x="-3750" y="0"/>
            <a:chExt cx="4252957" cy="5905045"/>
          </a:xfrm>
          <a:solidFill>
            <a:schemeClr val="bg1">
              <a:lumMod val="85000"/>
              <a:alpha val="50000"/>
            </a:schemeClr>
          </a:solidFill>
        </p:grpSpPr>
        <p:sp>
          <p:nvSpPr>
            <p:cNvPr id="19" name="矩形 18"/>
            <p:cNvSpPr/>
            <p:nvPr/>
          </p:nvSpPr>
          <p:spPr>
            <a:xfrm>
              <a:off x="0" y="0"/>
              <a:ext cx="4249207" cy="393714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90204"/>
                <a:ea typeface="楷体" panose="02010609060101010101" pitchFamily="49" charset="-122"/>
                <a:cs typeface="+mn-cs"/>
              </a:endParaRPr>
            </a:p>
          </p:txBody>
        </p:sp>
        <p:sp>
          <p:nvSpPr>
            <p:cNvPr id="20" name="直角三角形 19"/>
            <p:cNvSpPr/>
            <p:nvPr/>
          </p:nvSpPr>
          <p:spPr>
            <a:xfrm rot="10800000">
              <a:off x="-3750" y="3937145"/>
              <a:ext cx="4252957" cy="1967900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90204"/>
                <a:ea typeface="楷体" panose="02010609060101010101" pitchFamily="49" charset="-122"/>
                <a:cs typeface="+mn-cs"/>
              </a:endParaRPr>
            </a:p>
          </p:txBody>
        </p:sp>
      </p:grpSp>
      <p:sp>
        <p:nvSpPr>
          <p:cNvPr id="21" name="等腰三角形 20"/>
          <p:cNvSpPr/>
          <p:nvPr/>
        </p:nvSpPr>
        <p:spPr>
          <a:xfrm rot="10273322">
            <a:off x="2884558" y="793348"/>
            <a:ext cx="1825398" cy="6094409"/>
          </a:xfrm>
          <a:prstGeom prst="triangle">
            <a:avLst>
              <a:gd name="adj" fmla="val 49832"/>
            </a:avLst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90204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22" name="直角三角形 21"/>
          <p:cNvSpPr/>
          <p:nvPr/>
        </p:nvSpPr>
        <p:spPr>
          <a:xfrm rot="10800000">
            <a:off x="1047749" y="-3"/>
            <a:ext cx="3201453" cy="2231503"/>
          </a:xfrm>
          <a:prstGeom prst="rtTriangle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90204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23" name="文本框 6"/>
          <p:cNvSpPr txBox="1"/>
          <p:nvPr/>
        </p:nvSpPr>
        <p:spPr>
          <a:xfrm>
            <a:off x="630723" y="2708304"/>
            <a:ext cx="2984009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i="0" u="none" strike="noStrike" kern="1200" cap="none" spc="0" normalizeH="0" baseline="0" noProof="0" dirty="0">
                <a:ln>
                  <a:noFill/>
                </a:ln>
                <a:solidFill>
                  <a:srgbClr val="ED6F3D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CONTENT</a:t>
            </a:r>
            <a:endParaRPr kumimoji="0" lang="en-US" altLang="zh-CN" sz="3200" i="0" u="none" strike="noStrike" kern="1200" cap="none" spc="0" normalizeH="0" baseline="0" noProof="0" dirty="0">
              <a:ln>
                <a:noFill/>
              </a:ln>
              <a:solidFill>
                <a:srgbClr val="ED6F3D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4400" i="0" u="none" strike="noStrike" kern="1200" cap="none" spc="0" normalizeH="0" baseline="0" noProof="0" dirty="0">
                <a:ln>
                  <a:noFill/>
                </a:ln>
                <a:solidFill>
                  <a:srgbClr val="ED6F3D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目录</a:t>
            </a:r>
            <a:endParaRPr kumimoji="0" lang="zh-CN" altLang="en-US" sz="4400" i="0" u="none" strike="noStrike" kern="1200" cap="none" spc="0" normalizeH="0" baseline="0" noProof="0" dirty="0">
              <a:ln>
                <a:noFill/>
              </a:ln>
              <a:solidFill>
                <a:srgbClr val="ED6F3D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9" name="椭圆 68"/>
          <p:cNvSpPr/>
          <p:nvPr/>
        </p:nvSpPr>
        <p:spPr>
          <a:xfrm>
            <a:off x="5881411" y="1055468"/>
            <a:ext cx="533400" cy="5334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lnSpc>
                <a:spcPct val="140000"/>
              </a:lnSpc>
              <a:buClrTx/>
              <a:buSzTx/>
              <a:buFontTx/>
            </a:pPr>
            <a:r>
              <a:rPr lang="en-US" altLang="zh-CN" sz="2000" b="1" smtClean="0">
                <a:latin typeface="+mj-lt"/>
                <a:ea typeface="Noto Sans S Chinese Regular" panose="020B0500000000000000" pitchFamily="34" charset="-122"/>
                <a:sym typeface="+mn-ea"/>
              </a:rPr>
              <a:t>1</a:t>
            </a:r>
            <a:endParaRPr lang="en-US" altLang="zh-CN" sz="2000" b="1" smtClean="0">
              <a:latin typeface="+mj-lt"/>
              <a:ea typeface="Noto Sans S Chinese Regular" panose="020B0500000000000000" pitchFamily="34" charset="-122"/>
              <a:sym typeface="+mn-ea"/>
            </a:endParaRPr>
          </a:p>
        </p:txBody>
      </p:sp>
      <p:sp>
        <p:nvSpPr>
          <p:cNvPr id="71" name="椭圆 70"/>
          <p:cNvSpPr/>
          <p:nvPr/>
        </p:nvSpPr>
        <p:spPr>
          <a:xfrm>
            <a:off x="5881411" y="2009873"/>
            <a:ext cx="533400" cy="5334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lnSpc>
                <a:spcPct val="140000"/>
              </a:lnSpc>
              <a:buClrTx/>
              <a:buSzTx/>
              <a:buFontTx/>
            </a:pPr>
            <a:r>
              <a:rPr lang="en-US" altLang="zh-CN" sz="2000" b="1" smtClean="0">
                <a:latin typeface="+mj-lt"/>
                <a:ea typeface="Noto Sans S Chinese Regular" panose="020B0500000000000000" pitchFamily="34" charset="-122"/>
                <a:sym typeface="+mn-ea"/>
              </a:rPr>
              <a:t>2</a:t>
            </a:r>
            <a:endParaRPr lang="en-US" altLang="zh-CN" sz="2000" b="1" smtClean="0">
              <a:latin typeface="+mj-lt"/>
              <a:ea typeface="Noto Sans S Chinese Regular" panose="020B0500000000000000" pitchFamily="34" charset="-122"/>
              <a:sym typeface="+mn-ea"/>
            </a:endParaRPr>
          </a:p>
        </p:txBody>
      </p:sp>
      <p:sp>
        <p:nvSpPr>
          <p:cNvPr id="72" name="椭圆 71"/>
          <p:cNvSpPr/>
          <p:nvPr/>
        </p:nvSpPr>
        <p:spPr>
          <a:xfrm>
            <a:off x="5881411" y="2964278"/>
            <a:ext cx="533400" cy="533400"/>
          </a:xfrm>
          <a:prstGeom prst="ellipse">
            <a:avLst/>
          </a:prstGeom>
          <a:solidFill>
            <a:srgbClr val="FF66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lnSpc>
                <a:spcPct val="140000"/>
              </a:lnSpc>
              <a:buClrTx/>
              <a:buSzTx/>
              <a:buFontTx/>
            </a:pPr>
            <a:r>
              <a:rPr lang="en-US" altLang="zh-CN" sz="2000" b="1">
                <a:latin typeface="+mj-lt"/>
                <a:ea typeface="Noto Sans S Chinese Regular" panose="020B0500000000000000" pitchFamily="34" charset="-122"/>
                <a:sym typeface="+mn-ea"/>
              </a:rPr>
              <a:t>3</a:t>
            </a:r>
            <a:endParaRPr lang="en-US" altLang="zh-CN" sz="2000" b="1">
              <a:latin typeface="+mj-lt"/>
              <a:ea typeface="Noto Sans S Chinese Regular" panose="020B0500000000000000" pitchFamily="34" charset="-122"/>
              <a:sym typeface="+mn-ea"/>
            </a:endParaRPr>
          </a:p>
        </p:txBody>
      </p:sp>
      <p:sp>
        <p:nvSpPr>
          <p:cNvPr id="75" name="矩形 74"/>
          <p:cNvSpPr/>
          <p:nvPr/>
        </p:nvSpPr>
        <p:spPr>
          <a:xfrm>
            <a:off x="6779260" y="2005965"/>
            <a:ext cx="3867785" cy="533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000" dirty="0" smtClean="0">
                <a:solidFill>
                  <a:schemeClr val="tx1"/>
                </a:solidFill>
                <a:sym typeface="+mn-ea"/>
              </a:rPr>
              <a:t>突破瓶颈：小样本数据挖掘</a:t>
            </a:r>
            <a:endParaRPr lang="zh-CN" altLang="en-US" sz="2000" dirty="0" smtClean="0">
              <a:solidFill>
                <a:schemeClr val="tx1"/>
              </a:solidFill>
              <a:sym typeface="+mn-ea"/>
            </a:endParaRPr>
          </a:p>
        </p:txBody>
      </p:sp>
      <p:sp>
        <p:nvSpPr>
          <p:cNvPr id="77" name="矩形 76"/>
          <p:cNvSpPr/>
          <p:nvPr/>
        </p:nvSpPr>
        <p:spPr>
          <a:xfrm>
            <a:off x="6779260" y="2956560"/>
            <a:ext cx="3867785" cy="533400"/>
          </a:xfrm>
          <a:prstGeom prst="rect">
            <a:avLst/>
          </a:prstGeom>
          <a:solidFill>
            <a:srgbClr val="FF66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000" b="1" dirty="0" smtClean="0">
                <a:solidFill>
                  <a:schemeClr val="bg1"/>
                </a:solidFill>
                <a:sym typeface="+mn-ea"/>
              </a:rPr>
              <a:t>解码行为：破局稀缺</a:t>
            </a:r>
            <a:r>
              <a:rPr lang="zh-CN" altLang="en-US" sz="2000" b="1" dirty="0" smtClean="0">
                <a:solidFill>
                  <a:schemeClr val="bg1"/>
                </a:solidFill>
                <a:sym typeface="+mn-ea"/>
              </a:rPr>
              <a:t>&amp;</a:t>
            </a:r>
            <a:r>
              <a:rPr lang="zh-CN" altLang="en-US" sz="2000" b="1" dirty="0" smtClean="0">
                <a:solidFill>
                  <a:schemeClr val="bg1"/>
                </a:solidFill>
                <a:sym typeface="+mn-ea"/>
              </a:rPr>
              <a:t>精选标签</a:t>
            </a:r>
            <a:endParaRPr lang="zh-CN" altLang="en-US" sz="2000" b="1" dirty="0" smtClean="0">
              <a:solidFill>
                <a:schemeClr val="bg1"/>
              </a:solidFill>
              <a:sym typeface="+mn-ea"/>
            </a:endParaRPr>
          </a:p>
        </p:txBody>
      </p:sp>
      <p:sp>
        <p:nvSpPr>
          <p:cNvPr id="2" name="椭圆 1"/>
          <p:cNvSpPr/>
          <p:nvPr/>
        </p:nvSpPr>
        <p:spPr>
          <a:xfrm>
            <a:off x="5882046" y="3918683"/>
            <a:ext cx="533400" cy="5334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p>
            <a:pPr algn="ctr">
              <a:lnSpc>
                <a:spcPct val="140000"/>
              </a:lnSpc>
            </a:pPr>
            <a:r>
              <a:rPr lang="en-US" altLang="zh-CN" sz="2000" b="1" dirty="0">
                <a:latin typeface="+mj-lt"/>
                <a:ea typeface="Noto Sans S Chinese Regular" panose="020B0500000000000000" pitchFamily="34" charset="-122"/>
              </a:rPr>
              <a:t>4</a:t>
            </a:r>
            <a:endParaRPr lang="en-US" altLang="zh-CN" sz="2000" b="1" dirty="0">
              <a:latin typeface="+mj-lt"/>
              <a:ea typeface="Noto Sans S Chinese Regular" panose="020B0500000000000000" pitchFamily="34" charset="-122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6779895" y="3907155"/>
            <a:ext cx="3867785" cy="533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algn="l"/>
            <a:r>
              <a:rPr lang="zh-CN" altLang="en-US" sz="2000" dirty="0" smtClean="0">
                <a:solidFill>
                  <a:schemeClr val="tx1"/>
                </a:solidFill>
                <a:sym typeface="+mn-ea"/>
              </a:rPr>
              <a:t>实测胜算：AB实验测试效果</a:t>
            </a:r>
            <a:endParaRPr lang="zh-CN" altLang="en-US" sz="2000" dirty="0" smtClean="0">
              <a:solidFill>
                <a:schemeClr val="tx1"/>
              </a:solidFill>
            </a:endParaRPr>
          </a:p>
        </p:txBody>
      </p:sp>
      <p:sp>
        <p:nvSpPr>
          <p:cNvPr id="9" name="椭圆 8"/>
          <p:cNvSpPr/>
          <p:nvPr/>
        </p:nvSpPr>
        <p:spPr>
          <a:xfrm>
            <a:off x="5882046" y="4873088"/>
            <a:ext cx="533400" cy="5334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p>
            <a:pPr algn="ctr">
              <a:lnSpc>
                <a:spcPct val="140000"/>
              </a:lnSpc>
            </a:pPr>
            <a:r>
              <a:rPr lang="en-US" altLang="zh-CN" sz="2000" b="1" dirty="0">
                <a:latin typeface="+mj-lt"/>
                <a:ea typeface="Noto Sans S Chinese Regular" panose="020B0500000000000000" pitchFamily="34" charset="-122"/>
              </a:rPr>
              <a:t>5</a:t>
            </a:r>
            <a:endParaRPr lang="en-US" altLang="zh-CN" sz="2000" b="1" dirty="0">
              <a:latin typeface="+mj-lt"/>
              <a:ea typeface="Noto Sans S Chinese Regular" panose="020B0500000000000000" pitchFamily="34" charset="-122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6779895" y="4857750"/>
            <a:ext cx="3867785" cy="533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algn="l"/>
            <a:r>
              <a:rPr lang="zh-CN" altLang="en-US" sz="2000" dirty="0" smtClean="0">
                <a:solidFill>
                  <a:schemeClr val="tx1"/>
                </a:solidFill>
              </a:rPr>
              <a:t>解析风险：构建可解释的模型</a:t>
            </a:r>
            <a:endParaRPr lang="zh-CN" altLang="en-US" sz="2000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盘点标签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-</a:t>
            </a: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寿险场景标签梳理</a:t>
            </a:r>
            <a:endParaRPr lang="en-US" altLang="zh-CN" sz="2800" b="1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424815" y="1057275"/>
            <a:ext cx="7687310" cy="422910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 indent="0">
              <a:buFont typeface="Arial" panose="020B0604020202090204" pitchFamily="34" charset="0"/>
              <a:buNone/>
            </a:pPr>
            <a:r>
              <a:rPr lang="zh-CN" altLang="en-US" sz="2400" dirty="0" smtClean="0"/>
              <a:t>数据是模型的基石，决定了模型的上限。</a:t>
            </a:r>
            <a:endParaRPr lang="zh-CN" altLang="en-US" sz="2400" dirty="0" smtClean="0"/>
          </a:p>
        </p:txBody>
      </p:sp>
      <p:sp>
        <p:nvSpPr>
          <p:cNvPr id="2" name="矩形: 圆角 15"/>
          <p:cNvSpPr/>
          <p:nvPr/>
        </p:nvSpPr>
        <p:spPr>
          <a:xfrm>
            <a:off x="3284855" y="2344420"/>
            <a:ext cx="1967230" cy="452755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accent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静态信息</a:t>
            </a:r>
            <a:endParaRPr lang="zh-CN" altLang="en-US" b="1" dirty="0">
              <a:solidFill>
                <a:schemeClr val="accent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5227955" y="2407920"/>
            <a:ext cx="1918970" cy="3124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50000"/>
              </a:lnSpc>
              <a:defRPr sz="1200">
                <a:solidFill>
                  <a:schemeClr val="bg1">
                    <a:lumMod val="50000"/>
                  </a:schemeClr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l">
              <a:lnSpc>
                <a:spcPct val="120000"/>
              </a:lnSpc>
            </a:pPr>
            <a:r>
              <a:rPr lang="zh-CN" altLang="en-US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姓名、年龄、婚姻状态</a:t>
            </a:r>
            <a:r>
              <a:rPr lang="en-US" altLang="zh-CN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...</a:t>
            </a:r>
            <a:endParaRPr lang="en-US" altLang="zh-CN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sp>
        <p:nvSpPr>
          <p:cNvPr id="9" name="矩形: 圆角 15"/>
          <p:cNvSpPr/>
          <p:nvPr/>
        </p:nvSpPr>
        <p:spPr>
          <a:xfrm>
            <a:off x="7617460" y="2334895"/>
            <a:ext cx="1967230" cy="452755"/>
          </a:xfrm>
          <a:prstGeom prst="roundRect">
            <a:avLst>
              <a:gd name="adj" fmla="val 50000"/>
            </a:avLst>
          </a:prstGeom>
          <a:solidFill>
            <a:schemeClr val="accent1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accent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行为信息</a:t>
            </a:r>
            <a:endParaRPr lang="zh-CN" altLang="en-US" b="1" dirty="0">
              <a:solidFill>
                <a:schemeClr val="accent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9560560" y="2398395"/>
            <a:ext cx="1918970" cy="3124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50000"/>
              </a:lnSpc>
              <a:defRPr sz="1200">
                <a:solidFill>
                  <a:schemeClr val="bg1">
                    <a:lumMod val="50000"/>
                  </a:schemeClr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l">
              <a:lnSpc>
                <a:spcPct val="120000"/>
              </a:lnSpc>
            </a:pPr>
            <a:r>
              <a:rPr lang="zh-CN" altLang="en-US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姓名、年龄、婚姻状态</a:t>
            </a:r>
            <a:r>
              <a:rPr lang="en-US" altLang="zh-CN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...</a:t>
            </a:r>
            <a:endParaRPr lang="en-US" altLang="zh-CN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948055" y="3130550"/>
            <a:ext cx="2165985" cy="565785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285750" indent="-179705">
              <a:buFont typeface="Arial" panose="020B0604020202090204" pitchFamily="34" charset="0"/>
              <a:buChar char="•"/>
            </a:pPr>
            <a:r>
              <a:rPr lang="zh-CN" altLang="en-US" sz="1700" dirty="0" smtClean="0"/>
              <a:t>一般业务场景（如互联网）</a:t>
            </a:r>
            <a:endParaRPr lang="zh-CN" altLang="en-US" sz="1700" dirty="0" smtClean="0"/>
          </a:p>
        </p:txBody>
      </p:sp>
      <p:sp>
        <p:nvSpPr>
          <p:cNvPr id="12" name="文本框 11"/>
          <p:cNvSpPr txBox="1"/>
          <p:nvPr/>
        </p:nvSpPr>
        <p:spPr>
          <a:xfrm>
            <a:off x="948055" y="4185920"/>
            <a:ext cx="1504950" cy="344805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285750" indent="-179705">
              <a:buFont typeface="Arial" panose="020B0604020202090204" pitchFamily="34" charset="0"/>
              <a:buChar char="•"/>
            </a:pPr>
            <a:r>
              <a:rPr lang="zh-CN" altLang="en-US" dirty="0" smtClean="0"/>
              <a:t>寿险场景</a:t>
            </a:r>
            <a:endParaRPr lang="zh-CN" altLang="en-US" dirty="0" smtClean="0"/>
          </a:p>
        </p:txBody>
      </p:sp>
      <p:cxnSp>
        <p:nvCxnSpPr>
          <p:cNvPr id="13" name="直接连接符 12"/>
          <p:cNvCxnSpPr/>
          <p:nvPr/>
        </p:nvCxnSpPr>
        <p:spPr>
          <a:xfrm>
            <a:off x="3392170" y="3810635"/>
            <a:ext cx="7859395" cy="0"/>
          </a:xfrm>
          <a:prstGeom prst="line">
            <a:avLst/>
          </a:prstGeom>
          <a:ln w="38100">
            <a:solidFill>
              <a:srgbClr val="FFEBDF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13"/>
          <p:cNvCxnSpPr/>
          <p:nvPr/>
        </p:nvCxnSpPr>
        <p:spPr>
          <a:xfrm>
            <a:off x="7226300" y="3253105"/>
            <a:ext cx="0" cy="1225550"/>
          </a:xfrm>
          <a:prstGeom prst="line">
            <a:avLst/>
          </a:prstGeom>
          <a:ln w="38100">
            <a:solidFill>
              <a:srgbClr val="FFEBDF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文本框 14"/>
          <p:cNvSpPr txBox="1"/>
          <p:nvPr/>
        </p:nvSpPr>
        <p:spPr>
          <a:xfrm>
            <a:off x="4417695" y="4185920"/>
            <a:ext cx="1504950" cy="344805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 indent="0">
              <a:buFont typeface="Arial" panose="020B0604020202090204" pitchFamily="34" charset="0"/>
              <a:buNone/>
            </a:pPr>
            <a:r>
              <a:rPr lang="zh-CN" altLang="en-US" sz="1700" dirty="0" smtClean="0"/>
              <a:t>丰富</a:t>
            </a:r>
            <a:endParaRPr lang="zh-CN" altLang="en-US" sz="1700" dirty="0" smtClean="0"/>
          </a:p>
        </p:txBody>
      </p:sp>
      <p:sp>
        <p:nvSpPr>
          <p:cNvPr id="19" name="文本框 18"/>
          <p:cNvSpPr txBox="1"/>
          <p:nvPr/>
        </p:nvSpPr>
        <p:spPr>
          <a:xfrm>
            <a:off x="8376920" y="4185920"/>
            <a:ext cx="1504950" cy="344805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 indent="0">
              <a:buFont typeface="Arial" panose="020B0604020202090204" pitchFamily="34" charset="0"/>
              <a:buNone/>
            </a:pPr>
            <a:r>
              <a:rPr lang="zh-CN" altLang="en-US" sz="1700" dirty="0" smtClean="0"/>
              <a:t>稀疏</a:t>
            </a:r>
            <a:endParaRPr lang="zh-CN" altLang="en-US" sz="1700" dirty="0" smtClean="0"/>
          </a:p>
        </p:txBody>
      </p:sp>
      <p:sp>
        <p:nvSpPr>
          <p:cNvPr id="6" name="文本框 5"/>
          <p:cNvSpPr txBox="1"/>
          <p:nvPr/>
        </p:nvSpPr>
        <p:spPr>
          <a:xfrm>
            <a:off x="8346440" y="3192145"/>
            <a:ext cx="1504950" cy="344805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 indent="0">
              <a:buFont typeface="Arial" panose="020B0604020202090204" pitchFamily="34" charset="0"/>
              <a:buNone/>
            </a:pPr>
            <a:r>
              <a:rPr lang="zh-CN" altLang="en-US" sz="1700" dirty="0" smtClean="0"/>
              <a:t>丰富</a:t>
            </a:r>
            <a:endParaRPr lang="zh-CN" altLang="en-US" sz="1700" dirty="0" smtClean="0"/>
          </a:p>
        </p:txBody>
      </p:sp>
      <p:sp>
        <p:nvSpPr>
          <p:cNvPr id="8" name="文本框 7"/>
          <p:cNvSpPr txBox="1"/>
          <p:nvPr/>
        </p:nvSpPr>
        <p:spPr>
          <a:xfrm>
            <a:off x="4417695" y="3253740"/>
            <a:ext cx="1504950" cy="344805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 indent="0">
              <a:buFont typeface="Arial" panose="020B0604020202090204" pitchFamily="34" charset="0"/>
              <a:buNone/>
            </a:pPr>
            <a:r>
              <a:rPr lang="zh-CN" altLang="en-US" sz="1700" dirty="0" smtClean="0"/>
              <a:t>相对较稀疏</a:t>
            </a:r>
            <a:endParaRPr lang="zh-CN" altLang="en-US" sz="1700" dirty="0" smtClean="0"/>
          </a:p>
        </p:txBody>
      </p:sp>
      <p:sp>
        <p:nvSpPr>
          <p:cNvPr id="17" name="文本框 16"/>
          <p:cNvSpPr txBox="1"/>
          <p:nvPr/>
        </p:nvSpPr>
        <p:spPr>
          <a:xfrm>
            <a:off x="975995" y="492125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sz="1800" dirty="0" smtClean="0"/>
              <a:t>寿险标签少的原因</a:t>
            </a:r>
            <a:endParaRPr lang="en-US" altLang="zh-CN" sz="1800" dirty="0" smtClean="0"/>
          </a:p>
        </p:txBody>
      </p:sp>
      <p:grpSp>
        <p:nvGrpSpPr>
          <p:cNvPr id="18" name="组合 17"/>
          <p:cNvGrpSpPr/>
          <p:nvPr/>
        </p:nvGrpSpPr>
        <p:grpSpPr>
          <a:xfrm>
            <a:off x="487680" y="4857750"/>
            <a:ext cx="389255" cy="427990"/>
            <a:chOff x="450391" y="1977754"/>
            <a:chExt cx="465233" cy="511985"/>
          </a:xfrm>
        </p:grpSpPr>
        <p:sp>
          <p:nvSpPr>
            <p:cNvPr id="488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89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0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1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2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3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5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20" name="文本框 19"/>
          <p:cNvSpPr txBox="1"/>
          <p:nvPr/>
        </p:nvSpPr>
        <p:spPr>
          <a:xfrm>
            <a:off x="2548890" y="5614035"/>
            <a:ext cx="2703195" cy="4025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p>
            <a:pPr marL="106045" indent="0" algn="r">
              <a:buFont typeface="Arial" panose="020B0604020202090204" pitchFamily="34" charset="0"/>
              <a:buNone/>
            </a:pPr>
            <a:r>
              <a:rPr lang="zh-CN" altLang="en-US" sz="1800" dirty="0" smtClean="0"/>
              <a:t>保险多为线下行为</a:t>
            </a:r>
            <a:endParaRPr lang="zh-CN" altLang="en-US" sz="1800" dirty="0" smtClean="0"/>
          </a:p>
        </p:txBody>
      </p:sp>
      <p:sp>
        <p:nvSpPr>
          <p:cNvPr id="21" name="文本框 20"/>
          <p:cNvSpPr txBox="1"/>
          <p:nvPr/>
        </p:nvSpPr>
        <p:spPr>
          <a:xfrm>
            <a:off x="6468745" y="6036310"/>
            <a:ext cx="2703195" cy="4025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p>
            <a:pPr marL="106045" indent="0">
              <a:buFont typeface="Arial" panose="020B0604020202090204" pitchFamily="34" charset="0"/>
              <a:buNone/>
            </a:pPr>
            <a:r>
              <a:rPr lang="zh-CN" altLang="en-US" sz="1800" dirty="0" smtClean="0"/>
              <a:t>客户行为低频</a:t>
            </a:r>
            <a:endParaRPr lang="zh-CN" altLang="en-US" sz="1800" dirty="0" smtClean="0"/>
          </a:p>
        </p:txBody>
      </p:sp>
      <p:cxnSp>
        <p:nvCxnSpPr>
          <p:cNvPr id="22" name="直接连接符 21"/>
          <p:cNvCxnSpPr/>
          <p:nvPr/>
        </p:nvCxnSpPr>
        <p:spPr>
          <a:xfrm>
            <a:off x="5873750" y="5470525"/>
            <a:ext cx="0" cy="1111885"/>
          </a:xfrm>
          <a:prstGeom prst="line">
            <a:avLst/>
          </a:prstGeom>
          <a:ln w="130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接连接符 22"/>
          <p:cNvCxnSpPr/>
          <p:nvPr/>
        </p:nvCxnSpPr>
        <p:spPr>
          <a:xfrm>
            <a:off x="5563235" y="5815330"/>
            <a:ext cx="23939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接连接符 23"/>
          <p:cNvCxnSpPr/>
          <p:nvPr/>
        </p:nvCxnSpPr>
        <p:spPr>
          <a:xfrm>
            <a:off x="5927725" y="6237605"/>
            <a:ext cx="23939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椭圆 24"/>
          <p:cNvSpPr/>
          <p:nvPr/>
        </p:nvSpPr>
        <p:spPr>
          <a:xfrm>
            <a:off x="5274945" y="5671185"/>
            <a:ext cx="287655" cy="287655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rtlCol="0" anchor="ctr" anchorCtr="0" compatLnSpc="1"/>
          <a:p>
            <a:pPr algn="ctr"/>
            <a:r>
              <a:rPr lang="en-US" altLang="zh-CN"/>
              <a:t>1</a:t>
            </a:r>
            <a:endParaRPr lang="en-US" altLang="zh-CN"/>
          </a:p>
        </p:txBody>
      </p:sp>
      <p:sp>
        <p:nvSpPr>
          <p:cNvPr id="26" name="椭圆 25"/>
          <p:cNvSpPr/>
          <p:nvPr/>
        </p:nvSpPr>
        <p:spPr>
          <a:xfrm>
            <a:off x="6184900" y="6093460"/>
            <a:ext cx="287655" cy="287655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rtlCol="0" anchor="ctr" anchorCtr="0" compatLnSpc="1"/>
          <a:p>
            <a:pPr algn="ctr"/>
            <a:r>
              <a:rPr lang="en-US" altLang="zh-CN"/>
              <a:t>2</a:t>
            </a:r>
            <a:endParaRPr lang="en-US" altLang="zh-CN"/>
          </a:p>
        </p:txBody>
      </p:sp>
      <p:sp>
        <p:nvSpPr>
          <p:cNvPr id="27" name="文本框 26"/>
          <p:cNvSpPr txBox="1"/>
          <p:nvPr/>
        </p:nvSpPr>
        <p:spPr>
          <a:xfrm>
            <a:off x="948055" y="1927225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sz="1800" dirty="0" smtClean="0"/>
              <a:t>标签对比</a:t>
            </a:r>
            <a:endParaRPr lang="en-US" altLang="zh-CN" sz="1800" dirty="0" smtClean="0"/>
          </a:p>
        </p:txBody>
      </p:sp>
      <p:grpSp>
        <p:nvGrpSpPr>
          <p:cNvPr id="28" name="组合 27"/>
          <p:cNvGrpSpPr/>
          <p:nvPr/>
        </p:nvGrpSpPr>
        <p:grpSpPr>
          <a:xfrm>
            <a:off x="459740" y="1863725"/>
            <a:ext cx="389255" cy="427990"/>
            <a:chOff x="450391" y="1977754"/>
            <a:chExt cx="465233" cy="511985"/>
          </a:xfrm>
        </p:grpSpPr>
        <p:sp>
          <p:nvSpPr>
            <p:cNvPr id="29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30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31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32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33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34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35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36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破局稀缺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-</a:t>
            </a:r>
            <a:r>
              <a:rPr lang="zh-CN" altLang="en-US" sz="2800" dirty="0" smtClean="0">
                <a:sym typeface="+mn-ea"/>
              </a:rPr>
              <a:t>解决标签少的两个思路</a:t>
            </a:r>
            <a:endParaRPr lang="en-US" altLang="zh-CN" sz="2800" b="1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grpSp>
        <p:nvGrpSpPr>
          <p:cNvPr id="90" name="组合 89"/>
          <p:cNvGrpSpPr/>
          <p:nvPr/>
        </p:nvGrpSpPr>
        <p:grpSpPr>
          <a:xfrm rot="0">
            <a:off x="610870" y="2038350"/>
            <a:ext cx="10935970" cy="3369310"/>
            <a:chOff x="611025" y="2457450"/>
            <a:chExt cx="10935851" cy="3369366"/>
          </a:xfrm>
        </p:grpSpPr>
        <p:grpSp>
          <p:nvGrpSpPr>
            <p:cNvPr id="6" name="组合 5"/>
            <p:cNvGrpSpPr/>
            <p:nvPr/>
          </p:nvGrpSpPr>
          <p:grpSpPr>
            <a:xfrm>
              <a:off x="3996531" y="2457450"/>
              <a:ext cx="4198938" cy="3346450"/>
              <a:chOff x="3735388" y="1597026"/>
              <a:chExt cx="4198938" cy="3346450"/>
            </a:xfrm>
          </p:grpSpPr>
          <p:sp>
            <p:nvSpPr>
              <p:cNvPr id="21" name="椭圆 20"/>
              <p:cNvSpPr/>
              <p:nvPr/>
            </p:nvSpPr>
            <p:spPr bwMode="auto">
              <a:xfrm>
                <a:off x="4495800" y="2133601"/>
                <a:ext cx="2749550" cy="2751138"/>
              </a:xfrm>
              <a:prstGeom prst="ellipse">
                <a:avLst/>
              </a:prstGeom>
              <a:solidFill>
                <a:schemeClr val="tx2">
                  <a:alpha val="2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2" name="椭圆 21"/>
              <p:cNvSpPr/>
              <p:nvPr/>
            </p:nvSpPr>
            <p:spPr bwMode="auto">
              <a:xfrm>
                <a:off x="4768850" y="2406651"/>
                <a:ext cx="2203450" cy="2205038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3" name="椭圆 22"/>
              <p:cNvSpPr/>
              <p:nvPr/>
            </p:nvSpPr>
            <p:spPr bwMode="auto">
              <a:xfrm>
                <a:off x="5010150" y="2647951"/>
                <a:ext cx="1720850" cy="1722438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4" name="椭圆 23"/>
              <p:cNvSpPr/>
              <p:nvPr/>
            </p:nvSpPr>
            <p:spPr bwMode="auto">
              <a:xfrm>
                <a:off x="5305425" y="2943226"/>
                <a:ext cx="1125538" cy="1127125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5" name="椭圆 24"/>
              <p:cNvSpPr/>
              <p:nvPr/>
            </p:nvSpPr>
            <p:spPr bwMode="auto">
              <a:xfrm>
                <a:off x="5626100" y="3265488"/>
                <a:ext cx="487363" cy="487363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6" name="任意多边形: 形状 25"/>
              <p:cNvSpPr/>
              <p:nvPr/>
            </p:nvSpPr>
            <p:spPr bwMode="auto">
              <a:xfrm>
                <a:off x="7137400" y="1789113"/>
                <a:ext cx="460375" cy="381000"/>
              </a:xfrm>
              <a:custGeom>
                <a:avLst/>
                <a:gdLst>
                  <a:gd name="T0" fmla="*/ 0 w 103"/>
                  <a:gd name="T1" fmla="*/ 74 h 85"/>
                  <a:gd name="T2" fmla="*/ 57 w 103"/>
                  <a:gd name="T3" fmla="*/ 58 h 85"/>
                  <a:gd name="T4" fmla="*/ 103 w 103"/>
                  <a:gd name="T5" fmla="*/ 8 h 85"/>
                  <a:gd name="T6" fmla="*/ 67 w 103"/>
                  <a:gd name="T7" fmla="*/ 0 h 85"/>
                  <a:gd name="T8" fmla="*/ 0 w 103"/>
                  <a:gd name="T9" fmla="*/ 74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3" h="85">
                    <a:moveTo>
                      <a:pt x="0" y="74"/>
                    </a:moveTo>
                    <a:cubicBezTo>
                      <a:pt x="0" y="74"/>
                      <a:pt x="31" y="85"/>
                      <a:pt x="57" y="58"/>
                    </a:cubicBezTo>
                    <a:cubicBezTo>
                      <a:pt x="83" y="31"/>
                      <a:pt x="103" y="8"/>
                      <a:pt x="103" y="8"/>
                    </a:cubicBezTo>
                    <a:cubicBezTo>
                      <a:pt x="67" y="0"/>
                      <a:pt x="67" y="0"/>
                      <a:pt x="67" y="0"/>
                    </a:cubicBezTo>
                    <a:lnTo>
                      <a:pt x="0" y="74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7" name="任意多边形: 形状 26"/>
              <p:cNvSpPr/>
              <p:nvPr/>
            </p:nvSpPr>
            <p:spPr bwMode="auto">
              <a:xfrm>
                <a:off x="7053263" y="1619251"/>
                <a:ext cx="361950" cy="484188"/>
              </a:xfrm>
              <a:custGeom>
                <a:avLst/>
                <a:gdLst>
                  <a:gd name="T0" fmla="*/ 14 w 81"/>
                  <a:gd name="T1" fmla="*/ 108 h 108"/>
                  <a:gd name="T2" fmla="*/ 25 w 81"/>
                  <a:gd name="T3" fmla="*/ 50 h 108"/>
                  <a:gd name="T4" fmla="*/ 69 w 81"/>
                  <a:gd name="T5" fmla="*/ 0 h 108"/>
                  <a:gd name="T6" fmla="*/ 81 w 81"/>
                  <a:gd name="T7" fmla="*/ 34 h 108"/>
                  <a:gd name="T8" fmla="*/ 14 w 81"/>
                  <a:gd name="T9" fmla="*/ 108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1" h="108">
                    <a:moveTo>
                      <a:pt x="14" y="108"/>
                    </a:moveTo>
                    <a:cubicBezTo>
                      <a:pt x="14" y="108"/>
                      <a:pt x="0" y="78"/>
                      <a:pt x="25" y="50"/>
                    </a:cubicBezTo>
                    <a:cubicBezTo>
                      <a:pt x="49" y="22"/>
                      <a:pt x="69" y="0"/>
                      <a:pt x="69" y="0"/>
                    </a:cubicBezTo>
                    <a:cubicBezTo>
                      <a:pt x="81" y="34"/>
                      <a:pt x="81" y="34"/>
                      <a:pt x="81" y="34"/>
                    </a:cubicBezTo>
                    <a:lnTo>
                      <a:pt x="14" y="108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8" name="任意多边形: 形状 27"/>
              <p:cNvSpPr/>
              <p:nvPr/>
            </p:nvSpPr>
            <p:spPr bwMode="auto">
              <a:xfrm>
                <a:off x="6203950" y="1771651"/>
                <a:ext cx="1233488" cy="1355725"/>
              </a:xfrm>
              <a:custGeom>
                <a:avLst/>
                <a:gdLst>
                  <a:gd name="T0" fmla="*/ 0 w 777"/>
                  <a:gd name="T1" fmla="*/ 843 h 854"/>
                  <a:gd name="T2" fmla="*/ 11 w 777"/>
                  <a:gd name="T3" fmla="*/ 854 h 854"/>
                  <a:gd name="T4" fmla="*/ 777 w 777"/>
                  <a:gd name="T5" fmla="*/ 11 h 854"/>
                  <a:gd name="T6" fmla="*/ 766 w 777"/>
                  <a:gd name="T7" fmla="*/ 0 h 854"/>
                  <a:gd name="T8" fmla="*/ 0 w 777"/>
                  <a:gd name="T9" fmla="*/ 843 h 8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7" h="854">
                    <a:moveTo>
                      <a:pt x="0" y="843"/>
                    </a:moveTo>
                    <a:lnTo>
                      <a:pt x="11" y="854"/>
                    </a:lnTo>
                    <a:lnTo>
                      <a:pt x="777" y="11"/>
                    </a:lnTo>
                    <a:lnTo>
                      <a:pt x="766" y="0"/>
                    </a:lnTo>
                    <a:lnTo>
                      <a:pt x="0" y="843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9" name="任意多边形: 形状 28"/>
              <p:cNvSpPr/>
              <p:nvPr/>
            </p:nvSpPr>
            <p:spPr bwMode="auto">
              <a:xfrm>
                <a:off x="5824538" y="2966349"/>
                <a:ext cx="530226" cy="580818"/>
              </a:xfrm>
              <a:custGeom>
                <a:avLst/>
                <a:gdLst>
                  <a:gd name="T0" fmla="*/ 92 w 93"/>
                  <a:gd name="T1" fmla="*/ 25 h 102"/>
                  <a:gd name="T2" fmla="*/ 65 w 93"/>
                  <a:gd name="T3" fmla="*/ 1 h 102"/>
                  <a:gd name="T4" fmla="*/ 61 w 93"/>
                  <a:gd name="T5" fmla="*/ 1 h 102"/>
                  <a:gd name="T6" fmla="*/ 2 w 93"/>
                  <a:gd name="T7" fmla="*/ 96 h 102"/>
                  <a:gd name="T8" fmla="*/ 6 w 93"/>
                  <a:gd name="T9" fmla="*/ 100 h 102"/>
                  <a:gd name="T10" fmla="*/ 92 w 93"/>
                  <a:gd name="T11" fmla="*/ 30 h 102"/>
                  <a:gd name="T12" fmla="*/ 92 w 93"/>
                  <a:gd name="T13" fmla="*/ 25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3" h="102">
                    <a:moveTo>
                      <a:pt x="92" y="25"/>
                    </a:moveTo>
                    <a:cubicBezTo>
                      <a:pt x="65" y="1"/>
                      <a:pt x="65" y="1"/>
                      <a:pt x="65" y="1"/>
                    </a:cubicBezTo>
                    <a:cubicBezTo>
                      <a:pt x="64" y="0"/>
                      <a:pt x="62" y="0"/>
                      <a:pt x="61" y="1"/>
                    </a:cubicBezTo>
                    <a:cubicBezTo>
                      <a:pt x="2" y="96"/>
                      <a:pt x="2" y="96"/>
                      <a:pt x="2" y="96"/>
                    </a:cubicBezTo>
                    <a:cubicBezTo>
                      <a:pt x="0" y="99"/>
                      <a:pt x="4" y="102"/>
                      <a:pt x="6" y="100"/>
                    </a:cubicBezTo>
                    <a:cubicBezTo>
                      <a:pt x="92" y="30"/>
                      <a:pt x="92" y="30"/>
                      <a:pt x="92" y="30"/>
                    </a:cubicBezTo>
                    <a:cubicBezTo>
                      <a:pt x="93" y="29"/>
                      <a:pt x="93" y="26"/>
                      <a:pt x="92" y="25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0" name="任意多边形: 形状 29"/>
              <p:cNvSpPr/>
              <p:nvPr/>
            </p:nvSpPr>
            <p:spPr bwMode="auto">
              <a:xfrm>
                <a:off x="3870325" y="1958976"/>
                <a:ext cx="674688" cy="676275"/>
              </a:xfrm>
              <a:custGeom>
                <a:avLst/>
                <a:gdLst>
                  <a:gd name="T0" fmla="*/ 2 w 151"/>
                  <a:gd name="T1" fmla="*/ 93 h 151"/>
                  <a:gd name="T2" fmla="*/ 8 w 151"/>
                  <a:gd name="T3" fmla="*/ 109 h 151"/>
                  <a:gd name="T4" fmla="*/ 18 w 151"/>
                  <a:gd name="T5" fmla="*/ 124 h 151"/>
                  <a:gd name="T6" fmla="*/ 31 w 151"/>
                  <a:gd name="T7" fmla="*/ 115 h 151"/>
                  <a:gd name="T8" fmla="*/ 43 w 151"/>
                  <a:gd name="T9" fmla="*/ 125 h 151"/>
                  <a:gd name="T10" fmla="*/ 35 w 151"/>
                  <a:gd name="T11" fmla="*/ 139 h 151"/>
                  <a:gd name="T12" fmla="*/ 69 w 151"/>
                  <a:gd name="T13" fmla="*/ 151 h 151"/>
                  <a:gd name="T14" fmla="*/ 72 w 151"/>
                  <a:gd name="T15" fmla="*/ 135 h 151"/>
                  <a:gd name="T16" fmla="*/ 87 w 151"/>
                  <a:gd name="T17" fmla="*/ 134 h 151"/>
                  <a:gd name="T18" fmla="*/ 92 w 151"/>
                  <a:gd name="T19" fmla="*/ 149 h 151"/>
                  <a:gd name="T20" fmla="*/ 109 w 151"/>
                  <a:gd name="T21" fmla="*/ 143 h 151"/>
                  <a:gd name="T22" fmla="*/ 124 w 151"/>
                  <a:gd name="T23" fmla="*/ 133 h 151"/>
                  <a:gd name="T24" fmla="*/ 115 w 151"/>
                  <a:gd name="T25" fmla="*/ 120 h 151"/>
                  <a:gd name="T26" fmla="*/ 125 w 151"/>
                  <a:gd name="T27" fmla="*/ 108 h 151"/>
                  <a:gd name="T28" fmla="*/ 139 w 151"/>
                  <a:gd name="T29" fmla="*/ 115 h 151"/>
                  <a:gd name="T30" fmla="*/ 151 w 151"/>
                  <a:gd name="T31" fmla="*/ 82 h 151"/>
                  <a:gd name="T32" fmla="*/ 135 w 151"/>
                  <a:gd name="T33" fmla="*/ 79 h 151"/>
                  <a:gd name="T34" fmla="*/ 134 w 151"/>
                  <a:gd name="T35" fmla="*/ 64 h 151"/>
                  <a:gd name="T36" fmla="*/ 149 w 151"/>
                  <a:gd name="T37" fmla="*/ 59 h 151"/>
                  <a:gd name="T38" fmla="*/ 143 w 151"/>
                  <a:gd name="T39" fmla="*/ 42 h 151"/>
                  <a:gd name="T40" fmla="*/ 133 w 151"/>
                  <a:gd name="T41" fmla="*/ 27 h 151"/>
                  <a:gd name="T42" fmla="*/ 120 w 151"/>
                  <a:gd name="T43" fmla="*/ 36 h 151"/>
                  <a:gd name="T44" fmla="*/ 108 w 151"/>
                  <a:gd name="T45" fmla="*/ 26 h 151"/>
                  <a:gd name="T46" fmla="*/ 115 w 151"/>
                  <a:gd name="T47" fmla="*/ 12 h 151"/>
                  <a:gd name="T48" fmla="*/ 82 w 151"/>
                  <a:gd name="T49" fmla="*/ 0 h 151"/>
                  <a:gd name="T50" fmla="*/ 79 w 151"/>
                  <a:gd name="T51" fmla="*/ 16 h 151"/>
                  <a:gd name="T52" fmla="*/ 63 w 151"/>
                  <a:gd name="T53" fmla="*/ 17 h 151"/>
                  <a:gd name="T54" fmla="*/ 58 w 151"/>
                  <a:gd name="T55" fmla="*/ 2 h 151"/>
                  <a:gd name="T56" fmla="*/ 42 w 151"/>
                  <a:gd name="T57" fmla="*/ 8 h 151"/>
                  <a:gd name="T58" fmla="*/ 27 w 151"/>
                  <a:gd name="T59" fmla="*/ 18 h 151"/>
                  <a:gd name="T60" fmla="*/ 36 w 151"/>
                  <a:gd name="T61" fmla="*/ 31 h 151"/>
                  <a:gd name="T62" fmla="*/ 26 w 151"/>
                  <a:gd name="T63" fmla="*/ 43 h 151"/>
                  <a:gd name="T64" fmla="*/ 11 w 151"/>
                  <a:gd name="T65" fmla="*/ 36 h 151"/>
                  <a:gd name="T66" fmla="*/ 0 w 151"/>
                  <a:gd name="T67" fmla="*/ 69 h 151"/>
                  <a:gd name="T68" fmla="*/ 16 w 151"/>
                  <a:gd name="T69" fmla="*/ 72 h 151"/>
                  <a:gd name="T70" fmla="*/ 17 w 151"/>
                  <a:gd name="T71" fmla="*/ 88 h 151"/>
                  <a:gd name="T72" fmla="*/ 2 w 151"/>
                  <a:gd name="T73" fmla="*/ 93 h 151"/>
                  <a:gd name="T74" fmla="*/ 59 w 151"/>
                  <a:gd name="T75" fmla="*/ 43 h 151"/>
                  <a:gd name="T76" fmla="*/ 108 w 151"/>
                  <a:gd name="T77" fmla="*/ 59 h 151"/>
                  <a:gd name="T78" fmla="*/ 92 w 151"/>
                  <a:gd name="T79" fmla="*/ 108 h 151"/>
                  <a:gd name="T80" fmla="*/ 43 w 151"/>
                  <a:gd name="T81" fmla="*/ 92 h 151"/>
                  <a:gd name="T82" fmla="*/ 59 w 151"/>
                  <a:gd name="T83" fmla="*/ 43 h 151"/>
                  <a:gd name="T84" fmla="*/ 65 w 151"/>
                  <a:gd name="T85" fmla="*/ 54 h 151"/>
                  <a:gd name="T86" fmla="*/ 97 w 151"/>
                  <a:gd name="T87" fmla="*/ 65 h 151"/>
                  <a:gd name="T88" fmla="*/ 86 w 151"/>
                  <a:gd name="T89" fmla="*/ 97 h 151"/>
                  <a:gd name="T90" fmla="*/ 54 w 151"/>
                  <a:gd name="T91" fmla="*/ 86 h 151"/>
                  <a:gd name="T92" fmla="*/ 65 w 151"/>
                  <a:gd name="T93" fmla="*/ 54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51" h="151">
                    <a:moveTo>
                      <a:pt x="2" y="93"/>
                    </a:moveTo>
                    <a:cubicBezTo>
                      <a:pt x="3" y="98"/>
                      <a:pt x="5" y="104"/>
                      <a:pt x="8" y="109"/>
                    </a:cubicBezTo>
                    <a:cubicBezTo>
                      <a:pt x="11" y="115"/>
                      <a:pt x="14" y="119"/>
                      <a:pt x="18" y="124"/>
                    </a:cubicBezTo>
                    <a:cubicBezTo>
                      <a:pt x="31" y="115"/>
                      <a:pt x="31" y="115"/>
                      <a:pt x="31" y="115"/>
                    </a:cubicBezTo>
                    <a:cubicBezTo>
                      <a:pt x="34" y="119"/>
                      <a:pt x="38" y="122"/>
                      <a:pt x="43" y="125"/>
                    </a:cubicBezTo>
                    <a:cubicBezTo>
                      <a:pt x="35" y="139"/>
                      <a:pt x="35" y="139"/>
                      <a:pt x="35" y="139"/>
                    </a:cubicBezTo>
                    <a:cubicBezTo>
                      <a:pt x="46" y="146"/>
                      <a:pt x="57" y="150"/>
                      <a:pt x="69" y="151"/>
                    </a:cubicBezTo>
                    <a:cubicBezTo>
                      <a:pt x="72" y="135"/>
                      <a:pt x="72" y="135"/>
                      <a:pt x="72" y="135"/>
                    </a:cubicBezTo>
                    <a:cubicBezTo>
                      <a:pt x="77" y="135"/>
                      <a:pt x="82" y="135"/>
                      <a:pt x="87" y="134"/>
                    </a:cubicBezTo>
                    <a:cubicBezTo>
                      <a:pt x="92" y="149"/>
                      <a:pt x="92" y="149"/>
                      <a:pt x="92" y="149"/>
                    </a:cubicBezTo>
                    <a:cubicBezTo>
                      <a:pt x="98" y="148"/>
                      <a:pt x="104" y="146"/>
                      <a:pt x="109" y="143"/>
                    </a:cubicBezTo>
                    <a:cubicBezTo>
                      <a:pt x="114" y="140"/>
                      <a:pt x="119" y="137"/>
                      <a:pt x="124" y="133"/>
                    </a:cubicBezTo>
                    <a:cubicBezTo>
                      <a:pt x="115" y="120"/>
                      <a:pt x="115" y="120"/>
                      <a:pt x="115" y="120"/>
                    </a:cubicBezTo>
                    <a:cubicBezTo>
                      <a:pt x="119" y="117"/>
                      <a:pt x="122" y="113"/>
                      <a:pt x="125" y="108"/>
                    </a:cubicBezTo>
                    <a:cubicBezTo>
                      <a:pt x="139" y="115"/>
                      <a:pt x="139" y="115"/>
                      <a:pt x="139" y="115"/>
                    </a:cubicBezTo>
                    <a:cubicBezTo>
                      <a:pt x="146" y="105"/>
                      <a:pt x="149" y="94"/>
                      <a:pt x="151" y="82"/>
                    </a:cubicBezTo>
                    <a:cubicBezTo>
                      <a:pt x="135" y="79"/>
                      <a:pt x="135" y="79"/>
                      <a:pt x="135" y="79"/>
                    </a:cubicBezTo>
                    <a:cubicBezTo>
                      <a:pt x="135" y="74"/>
                      <a:pt x="135" y="69"/>
                      <a:pt x="134" y="64"/>
                    </a:cubicBezTo>
                    <a:cubicBezTo>
                      <a:pt x="149" y="59"/>
                      <a:pt x="149" y="59"/>
                      <a:pt x="149" y="59"/>
                    </a:cubicBezTo>
                    <a:cubicBezTo>
                      <a:pt x="148" y="53"/>
                      <a:pt x="146" y="47"/>
                      <a:pt x="143" y="42"/>
                    </a:cubicBezTo>
                    <a:cubicBezTo>
                      <a:pt x="140" y="36"/>
                      <a:pt x="137" y="32"/>
                      <a:pt x="133" y="27"/>
                    </a:cubicBezTo>
                    <a:cubicBezTo>
                      <a:pt x="120" y="36"/>
                      <a:pt x="120" y="36"/>
                      <a:pt x="120" y="36"/>
                    </a:cubicBezTo>
                    <a:cubicBezTo>
                      <a:pt x="116" y="32"/>
                      <a:pt x="112" y="29"/>
                      <a:pt x="108" y="26"/>
                    </a:cubicBezTo>
                    <a:cubicBezTo>
                      <a:pt x="115" y="12"/>
                      <a:pt x="115" y="12"/>
                      <a:pt x="115" y="12"/>
                    </a:cubicBezTo>
                    <a:cubicBezTo>
                      <a:pt x="105" y="5"/>
                      <a:pt x="94" y="1"/>
                      <a:pt x="82" y="0"/>
                    </a:cubicBezTo>
                    <a:cubicBezTo>
                      <a:pt x="79" y="16"/>
                      <a:pt x="79" y="16"/>
                      <a:pt x="79" y="16"/>
                    </a:cubicBezTo>
                    <a:cubicBezTo>
                      <a:pt x="74" y="16"/>
                      <a:pt x="69" y="16"/>
                      <a:pt x="63" y="17"/>
                    </a:cubicBezTo>
                    <a:cubicBezTo>
                      <a:pt x="58" y="2"/>
                      <a:pt x="58" y="2"/>
                      <a:pt x="58" y="2"/>
                    </a:cubicBezTo>
                    <a:cubicBezTo>
                      <a:pt x="53" y="3"/>
                      <a:pt x="47" y="5"/>
                      <a:pt x="42" y="8"/>
                    </a:cubicBezTo>
                    <a:cubicBezTo>
                      <a:pt x="36" y="11"/>
                      <a:pt x="31" y="14"/>
                      <a:pt x="27" y="18"/>
                    </a:cubicBezTo>
                    <a:cubicBezTo>
                      <a:pt x="36" y="31"/>
                      <a:pt x="36" y="31"/>
                      <a:pt x="36" y="31"/>
                    </a:cubicBezTo>
                    <a:cubicBezTo>
                      <a:pt x="32" y="34"/>
                      <a:pt x="29" y="38"/>
                      <a:pt x="26" y="43"/>
                    </a:cubicBezTo>
                    <a:cubicBezTo>
                      <a:pt x="11" y="36"/>
                      <a:pt x="11" y="36"/>
                      <a:pt x="11" y="36"/>
                    </a:cubicBezTo>
                    <a:cubicBezTo>
                      <a:pt x="5" y="46"/>
                      <a:pt x="1" y="57"/>
                      <a:pt x="0" y="69"/>
                    </a:cubicBezTo>
                    <a:cubicBezTo>
                      <a:pt x="16" y="72"/>
                      <a:pt x="16" y="72"/>
                      <a:pt x="16" y="72"/>
                    </a:cubicBezTo>
                    <a:cubicBezTo>
                      <a:pt x="16" y="77"/>
                      <a:pt x="16" y="82"/>
                      <a:pt x="17" y="88"/>
                    </a:cubicBezTo>
                    <a:lnTo>
                      <a:pt x="2" y="93"/>
                    </a:lnTo>
                    <a:close/>
                    <a:moveTo>
                      <a:pt x="59" y="43"/>
                    </a:moveTo>
                    <a:cubicBezTo>
                      <a:pt x="77" y="34"/>
                      <a:pt x="99" y="41"/>
                      <a:pt x="108" y="59"/>
                    </a:cubicBezTo>
                    <a:cubicBezTo>
                      <a:pt x="117" y="77"/>
                      <a:pt x="110" y="99"/>
                      <a:pt x="92" y="108"/>
                    </a:cubicBezTo>
                    <a:cubicBezTo>
                      <a:pt x="74" y="117"/>
                      <a:pt x="52" y="110"/>
                      <a:pt x="43" y="92"/>
                    </a:cubicBezTo>
                    <a:cubicBezTo>
                      <a:pt x="34" y="74"/>
                      <a:pt x="41" y="52"/>
                      <a:pt x="59" y="43"/>
                    </a:cubicBezTo>
                    <a:close/>
                    <a:moveTo>
                      <a:pt x="65" y="54"/>
                    </a:moveTo>
                    <a:cubicBezTo>
                      <a:pt x="77" y="48"/>
                      <a:pt x="91" y="53"/>
                      <a:pt x="97" y="65"/>
                    </a:cubicBezTo>
                    <a:cubicBezTo>
                      <a:pt x="103" y="77"/>
                      <a:pt x="98" y="91"/>
                      <a:pt x="86" y="97"/>
                    </a:cubicBezTo>
                    <a:cubicBezTo>
                      <a:pt x="74" y="103"/>
                      <a:pt x="60" y="98"/>
                      <a:pt x="54" y="86"/>
                    </a:cubicBezTo>
                    <a:cubicBezTo>
                      <a:pt x="48" y="74"/>
                      <a:pt x="53" y="60"/>
                      <a:pt x="65" y="54"/>
                    </a:cubicBezTo>
                    <a:close/>
                  </a:path>
                </a:pathLst>
              </a:custGeom>
              <a:solidFill>
                <a:schemeClr val="tx2">
                  <a:alpha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1" name="任意多边形: 形状 30"/>
              <p:cNvSpPr/>
              <p:nvPr/>
            </p:nvSpPr>
            <p:spPr bwMode="auto">
              <a:xfrm>
                <a:off x="4579938" y="1709738"/>
                <a:ext cx="465138" cy="465138"/>
              </a:xfrm>
              <a:custGeom>
                <a:avLst/>
                <a:gdLst>
                  <a:gd name="T0" fmla="*/ 86 w 104"/>
                  <a:gd name="T1" fmla="*/ 91 h 104"/>
                  <a:gd name="T2" fmla="*/ 94 w 104"/>
                  <a:gd name="T3" fmla="*/ 82 h 104"/>
                  <a:gd name="T4" fmla="*/ 100 w 104"/>
                  <a:gd name="T5" fmla="*/ 71 h 104"/>
                  <a:gd name="T6" fmla="*/ 90 w 104"/>
                  <a:gd name="T7" fmla="*/ 66 h 104"/>
                  <a:gd name="T8" fmla="*/ 93 w 104"/>
                  <a:gd name="T9" fmla="*/ 56 h 104"/>
                  <a:gd name="T10" fmla="*/ 104 w 104"/>
                  <a:gd name="T11" fmla="*/ 56 h 104"/>
                  <a:gd name="T12" fmla="*/ 100 w 104"/>
                  <a:gd name="T13" fmla="*/ 32 h 104"/>
                  <a:gd name="T14" fmla="*/ 89 w 104"/>
                  <a:gd name="T15" fmla="*/ 35 h 104"/>
                  <a:gd name="T16" fmla="*/ 84 w 104"/>
                  <a:gd name="T17" fmla="*/ 26 h 104"/>
                  <a:gd name="T18" fmla="*/ 91 w 104"/>
                  <a:gd name="T19" fmla="*/ 18 h 104"/>
                  <a:gd name="T20" fmla="*/ 82 w 104"/>
                  <a:gd name="T21" fmla="*/ 10 h 104"/>
                  <a:gd name="T22" fmla="*/ 72 w 104"/>
                  <a:gd name="T23" fmla="*/ 4 h 104"/>
                  <a:gd name="T24" fmla="*/ 67 w 104"/>
                  <a:gd name="T25" fmla="*/ 14 h 104"/>
                  <a:gd name="T26" fmla="*/ 56 w 104"/>
                  <a:gd name="T27" fmla="*/ 11 h 104"/>
                  <a:gd name="T28" fmla="*/ 56 w 104"/>
                  <a:gd name="T29" fmla="*/ 0 h 104"/>
                  <a:gd name="T30" fmla="*/ 32 w 104"/>
                  <a:gd name="T31" fmla="*/ 4 h 104"/>
                  <a:gd name="T32" fmla="*/ 36 w 104"/>
                  <a:gd name="T33" fmla="*/ 15 h 104"/>
                  <a:gd name="T34" fmla="*/ 26 w 104"/>
                  <a:gd name="T35" fmla="*/ 20 h 104"/>
                  <a:gd name="T36" fmla="*/ 18 w 104"/>
                  <a:gd name="T37" fmla="*/ 13 h 104"/>
                  <a:gd name="T38" fmla="*/ 10 w 104"/>
                  <a:gd name="T39" fmla="*/ 22 h 104"/>
                  <a:gd name="T40" fmla="*/ 4 w 104"/>
                  <a:gd name="T41" fmla="*/ 32 h 104"/>
                  <a:gd name="T42" fmla="*/ 14 w 104"/>
                  <a:gd name="T43" fmla="*/ 37 h 104"/>
                  <a:gd name="T44" fmla="*/ 12 w 104"/>
                  <a:gd name="T45" fmla="*/ 48 h 104"/>
                  <a:gd name="T46" fmla="*/ 1 w 104"/>
                  <a:gd name="T47" fmla="*/ 48 h 104"/>
                  <a:gd name="T48" fmla="*/ 5 w 104"/>
                  <a:gd name="T49" fmla="*/ 72 h 104"/>
                  <a:gd name="T50" fmla="*/ 15 w 104"/>
                  <a:gd name="T51" fmla="*/ 69 h 104"/>
                  <a:gd name="T52" fmla="*/ 21 w 104"/>
                  <a:gd name="T53" fmla="*/ 78 h 104"/>
                  <a:gd name="T54" fmla="*/ 13 w 104"/>
                  <a:gd name="T55" fmla="*/ 86 h 104"/>
                  <a:gd name="T56" fmla="*/ 22 w 104"/>
                  <a:gd name="T57" fmla="*/ 94 h 104"/>
                  <a:gd name="T58" fmla="*/ 33 w 104"/>
                  <a:gd name="T59" fmla="*/ 100 h 104"/>
                  <a:gd name="T60" fmla="*/ 38 w 104"/>
                  <a:gd name="T61" fmla="*/ 90 h 104"/>
                  <a:gd name="T62" fmla="*/ 48 w 104"/>
                  <a:gd name="T63" fmla="*/ 92 h 104"/>
                  <a:gd name="T64" fmla="*/ 49 w 104"/>
                  <a:gd name="T65" fmla="*/ 103 h 104"/>
                  <a:gd name="T66" fmla="*/ 72 w 104"/>
                  <a:gd name="T67" fmla="*/ 100 h 104"/>
                  <a:gd name="T68" fmla="*/ 69 w 104"/>
                  <a:gd name="T69" fmla="*/ 89 h 104"/>
                  <a:gd name="T70" fmla="*/ 78 w 104"/>
                  <a:gd name="T71" fmla="*/ 83 h 104"/>
                  <a:gd name="T72" fmla="*/ 86 w 104"/>
                  <a:gd name="T73" fmla="*/ 91 h 104"/>
                  <a:gd name="T74" fmla="*/ 38 w 104"/>
                  <a:gd name="T75" fmla="*/ 72 h 104"/>
                  <a:gd name="T76" fmla="*/ 32 w 104"/>
                  <a:gd name="T77" fmla="*/ 37 h 104"/>
                  <a:gd name="T78" fmla="*/ 67 w 104"/>
                  <a:gd name="T79" fmla="*/ 32 h 104"/>
                  <a:gd name="T80" fmla="*/ 73 w 104"/>
                  <a:gd name="T81" fmla="*/ 66 h 104"/>
                  <a:gd name="T82" fmla="*/ 38 w 104"/>
                  <a:gd name="T83" fmla="*/ 72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04" h="104">
                    <a:moveTo>
                      <a:pt x="86" y="91"/>
                    </a:moveTo>
                    <a:cubicBezTo>
                      <a:pt x="89" y="88"/>
                      <a:pt x="92" y="85"/>
                      <a:pt x="94" y="82"/>
                    </a:cubicBezTo>
                    <a:cubicBezTo>
                      <a:pt x="97" y="79"/>
                      <a:pt x="99" y="75"/>
                      <a:pt x="100" y="71"/>
                    </a:cubicBezTo>
                    <a:cubicBezTo>
                      <a:pt x="90" y="66"/>
                      <a:pt x="90" y="66"/>
                      <a:pt x="90" y="66"/>
                    </a:cubicBezTo>
                    <a:cubicBezTo>
                      <a:pt x="92" y="63"/>
                      <a:pt x="92" y="59"/>
                      <a:pt x="93" y="56"/>
                    </a:cubicBezTo>
                    <a:cubicBezTo>
                      <a:pt x="104" y="56"/>
                      <a:pt x="104" y="56"/>
                      <a:pt x="104" y="56"/>
                    </a:cubicBezTo>
                    <a:cubicBezTo>
                      <a:pt x="104" y="47"/>
                      <a:pt x="103" y="39"/>
                      <a:pt x="100" y="32"/>
                    </a:cubicBezTo>
                    <a:cubicBezTo>
                      <a:pt x="89" y="35"/>
                      <a:pt x="89" y="35"/>
                      <a:pt x="89" y="35"/>
                    </a:cubicBezTo>
                    <a:cubicBezTo>
                      <a:pt x="88" y="32"/>
                      <a:pt x="86" y="29"/>
                      <a:pt x="84" y="26"/>
                    </a:cubicBezTo>
                    <a:cubicBezTo>
                      <a:pt x="91" y="18"/>
                      <a:pt x="91" y="18"/>
                      <a:pt x="91" y="18"/>
                    </a:cubicBezTo>
                    <a:cubicBezTo>
                      <a:pt x="89" y="15"/>
                      <a:pt x="86" y="12"/>
                      <a:pt x="82" y="10"/>
                    </a:cubicBezTo>
                    <a:cubicBezTo>
                      <a:pt x="79" y="7"/>
                      <a:pt x="75" y="6"/>
                      <a:pt x="72" y="4"/>
                    </a:cubicBezTo>
                    <a:cubicBezTo>
                      <a:pt x="67" y="14"/>
                      <a:pt x="67" y="14"/>
                      <a:pt x="67" y="14"/>
                    </a:cubicBezTo>
                    <a:cubicBezTo>
                      <a:pt x="63" y="13"/>
                      <a:pt x="60" y="12"/>
                      <a:pt x="56" y="11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48" y="0"/>
                      <a:pt x="40" y="1"/>
                      <a:pt x="32" y="4"/>
                    </a:cubicBezTo>
                    <a:cubicBezTo>
                      <a:pt x="36" y="15"/>
                      <a:pt x="36" y="15"/>
                      <a:pt x="36" y="15"/>
                    </a:cubicBezTo>
                    <a:cubicBezTo>
                      <a:pt x="32" y="16"/>
                      <a:pt x="29" y="18"/>
                      <a:pt x="26" y="20"/>
                    </a:cubicBezTo>
                    <a:cubicBezTo>
                      <a:pt x="18" y="13"/>
                      <a:pt x="18" y="13"/>
                      <a:pt x="18" y="13"/>
                    </a:cubicBezTo>
                    <a:cubicBezTo>
                      <a:pt x="15" y="15"/>
                      <a:pt x="13" y="18"/>
                      <a:pt x="10" y="22"/>
                    </a:cubicBezTo>
                    <a:cubicBezTo>
                      <a:pt x="8" y="25"/>
                      <a:pt x="6" y="29"/>
                      <a:pt x="4" y="32"/>
                    </a:cubicBezTo>
                    <a:cubicBezTo>
                      <a:pt x="14" y="37"/>
                      <a:pt x="14" y="37"/>
                      <a:pt x="14" y="37"/>
                    </a:cubicBezTo>
                    <a:cubicBezTo>
                      <a:pt x="13" y="41"/>
                      <a:pt x="12" y="44"/>
                      <a:pt x="12" y="48"/>
                    </a:cubicBezTo>
                    <a:cubicBezTo>
                      <a:pt x="1" y="48"/>
                      <a:pt x="1" y="48"/>
                      <a:pt x="1" y="48"/>
                    </a:cubicBezTo>
                    <a:cubicBezTo>
                      <a:pt x="0" y="56"/>
                      <a:pt x="2" y="64"/>
                      <a:pt x="5" y="72"/>
                    </a:cubicBezTo>
                    <a:cubicBezTo>
                      <a:pt x="15" y="69"/>
                      <a:pt x="15" y="69"/>
                      <a:pt x="15" y="69"/>
                    </a:cubicBezTo>
                    <a:cubicBezTo>
                      <a:pt x="17" y="72"/>
                      <a:pt x="19" y="75"/>
                      <a:pt x="21" y="78"/>
                    </a:cubicBezTo>
                    <a:cubicBezTo>
                      <a:pt x="13" y="86"/>
                      <a:pt x="13" y="86"/>
                      <a:pt x="13" y="86"/>
                    </a:cubicBezTo>
                    <a:cubicBezTo>
                      <a:pt x="16" y="89"/>
                      <a:pt x="19" y="92"/>
                      <a:pt x="22" y="94"/>
                    </a:cubicBezTo>
                    <a:cubicBezTo>
                      <a:pt x="26" y="96"/>
                      <a:pt x="29" y="98"/>
                      <a:pt x="33" y="100"/>
                    </a:cubicBezTo>
                    <a:cubicBezTo>
                      <a:pt x="38" y="90"/>
                      <a:pt x="38" y="90"/>
                      <a:pt x="38" y="90"/>
                    </a:cubicBezTo>
                    <a:cubicBezTo>
                      <a:pt x="41" y="91"/>
                      <a:pt x="45" y="92"/>
                      <a:pt x="48" y="92"/>
                    </a:cubicBezTo>
                    <a:cubicBezTo>
                      <a:pt x="49" y="103"/>
                      <a:pt x="49" y="103"/>
                      <a:pt x="49" y="103"/>
                    </a:cubicBezTo>
                    <a:cubicBezTo>
                      <a:pt x="57" y="104"/>
                      <a:pt x="65" y="103"/>
                      <a:pt x="72" y="100"/>
                    </a:cubicBezTo>
                    <a:cubicBezTo>
                      <a:pt x="69" y="89"/>
                      <a:pt x="69" y="89"/>
                      <a:pt x="69" y="89"/>
                    </a:cubicBezTo>
                    <a:cubicBezTo>
                      <a:pt x="72" y="88"/>
                      <a:pt x="75" y="86"/>
                      <a:pt x="78" y="83"/>
                    </a:cubicBezTo>
                    <a:lnTo>
                      <a:pt x="86" y="91"/>
                    </a:lnTo>
                    <a:close/>
                    <a:moveTo>
                      <a:pt x="38" y="72"/>
                    </a:moveTo>
                    <a:cubicBezTo>
                      <a:pt x="27" y="64"/>
                      <a:pt x="24" y="49"/>
                      <a:pt x="32" y="37"/>
                    </a:cubicBezTo>
                    <a:cubicBezTo>
                      <a:pt x="40" y="26"/>
                      <a:pt x="56" y="24"/>
                      <a:pt x="67" y="32"/>
                    </a:cubicBezTo>
                    <a:cubicBezTo>
                      <a:pt x="78" y="40"/>
                      <a:pt x="81" y="55"/>
                      <a:pt x="73" y="66"/>
                    </a:cubicBezTo>
                    <a:cubicBezTo>
                      <a:pt x="65" y="78"/>
                      <a:pt x="49" y="80"/>
                      <a:pt x="38" y="72"/>
                    </a:cubicBezTo>
                    <a:close/>
                  </a:path>
                </a:pathLst>
              </a:custGeom>
              <a:solidFill>
                <a:schemeClr val="tx2">
                  <a:alpha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2" name="任意多边形: 形状 31"/>
              <p:cNvSpPr/>
              <p:nvPr/>
            </p:nvSpPr>
            <p:spPr bwMode="auto">
              <a:xfrm>
                <a:off x="3735388" y="1874838"/>
                <a:ext cx="684213" cy="893763"/>
              </a:xfrm>
              <a:custGeom>
                <a:avLst/>
                <a:gdLst>
                  <a:gd name="T0" fmla="*/ 44 w 153"/>
                  <a:gd name="T1" fmla="*/ 14 h 200"/>
                  <a:gd name="T2" fmla="*/ 60 w 153"/>
                  <a:gd name="T3" fmla="*/ 4 h 200"/>
                  <a:gd name="T4" fmla="*/ 58 w 153"/>
                  <a:gd name="T5" fmla="*/ 0 h 200"/>
                  <a:gd name="T6" fmla="*/ 41 w 153"/>
                  <a:gd name="T7" fmla="*/ 11 h 200"/>
                  <a:gd name="T8" fmla="*/ 44 w 153"/>
                  <a:gd name="T9" fmla="*/ 14 h 200"/>
                  <a:gd name="T10" fmla="*/ 21 w 153"/>
                  <a:gd name="T11" fmla="*/ 38 h 200"/>
                  <a:gd name="T12" fmla="*/ 33 w 153"/>
                  <a:gd name="T13" fmla="*/ 23 h 200"/>
                  <a:gd name="T14" fmla="*/ 31 w 153"/>
                  <a:gd name="T15" fmla="*/ 20 h 200"/>
                  <a:gd name="T16" fmla="*/ 18 w 153"/>
                  <a:gd name="T17" fmla="*/ 36 h 200"/>
                  <a:gd name="T18" fmla="*/ 21 w 153"/>
                  <a:gd name="T19" fmla="*/ 38 h 200"/>
                  <a:gd name="T20" fmla="*/ 7 w 153"/>
                  <a:gd name="T21" fmla="*/ 68 h 200"/>
                  <a:gd name="T22" fmla="*/ 14 w 153"/>
                  <a:gd name="T23" fmla="*/ 50 h 200"/>
                  <a:gd name="T24" fmla="*/ 11 w 153"/>
                  <a:gd name="T25" fmla="*/ 48 h 200"/>
                  <a:gd name="T26" fmla="*/ 3 w 153"/>
                  <a:gd name="T27" fmla="*/ 67 h 200"/>
                  <a:gd name="T28" fmla="*/ 7 w 153"/>
                  <a:gd name="T29" fmla="*/ 68 h 200"/>
                  <a:gd name="T30" fmla="*/ 4 w 153"/>
                  <a:gd name="T31" fmla="*/ 101 h 200"/>
                  <a:gd name="T32" fmla="*/ 4 w 153"/>
                  <a:gd name="T33" fmla="*/ 95 h 200"/>
                  <a:gd name="T34" fmla="*/ 5 w 153"/>
                  <a:gd name="T35" fmla="*/ 82 h 200"/>
                  <a:gd name="T36" fmla="*/ 1 w 153"/>
                  <a:gd name="T37" fmla="*/ 81 h 200"/>
                  <a:gd name="T38" fmla="*/ 0 w 153"/>
                  <a:gd name="T39" fmla="*/ 95 h 200"/>
                  <a:gd name="T40" fmla="*/ 0 w 153"/>
                  <a:gd name="T41" fmla="*/ 101 h 200"/>
                  <a:gd name="T42" fmla="*/ 4 w 153"/>
                  <a:gd name="T43" fmla="*/ 101 h 200"/>
                  <a:gd name="T44" fmla="*/ 12 w 153"/>
                  <a:gd name="T45" fmla="*/ 133 h 200"/>
                  <a:gd name="T46" fmla="*/ 6 w 153"/>
                  <a:gd name="T47" fmla="*/ 115 h 200"/>
                  <a:gd name="T48" fmla="*/ 2 w 153"/>
                  <a:gd name="T49" fmla="*/ 116 h 200"/>
                  <a:gd name="T50" fmla="*/ 8 w 153"/>
                  <a:gd name="T51" fmla="*/ 135 h 200"/>
                  <a:gd name="T52" fmla="*/ 12 w 153"/>
                  <a:gd name="T53" fmla="*/ 133 h 200"/>
                  <a:gd name="T54" fmla="*/ 29 w 153"/>
                  <a:gd name="T55" fmla="*/ 162 h 200"/>
                  <a:gd name="T56" fmla="*/ 18 w 153"/>
                  <a:gd name="T57" fmla="*/ 146 h 200"/>
                  <a:gd name="T58" fmla="*/ 14 w 153"/>
                  <a:gd name="T59" fmla="*/ 148 h 200"/>
                  <a:gd name="T60" fmla="*/ 26 w 153"/>
                  <a:gd name="T61" fmla="*/ 164 h 200"/>
                  <a:gd name="T62" fmla="*/ 29 w 153"/>
                  <a:gd name="T63" fmla="*/ 162 h 200"/>
                  <a:gd name="T64" fmla="*/ 55 w 153"/>
                  <a:gd name="T65" fmla="*/ 183 h 200"/>
                  <a:gd name="T66" fmla="*/ 39 w 153"/>
                  <a:gd name="T67" fmla="*/ 171 h 200"/>
                  <a:gd name="T68" fmla="*/ 36 w 153"/>
                  <a:gd name="T69" fmla="*/ 174 h 200"/>
                  <a:gd name="T70" fmla="*/ 53 w 153"/>
                  <a:gd name="T71" fmla="*/ 186 h 200"/>
                  <a:gd name="T72" fmla="*/ 55 w 153"/>
                  <a:gd name="T73" fmla="*/ 183 h 200"/>
                  <a:gd name="T74" fmla="*/ 86 w 153"/>
                  <a:gd name="T75" fmla="*/ 194 h 200"/>
                  <a:gd name="T76" fmla="*/ 67 w 153"/>
                  <a:gd name="T77" fmla="*/ 189 h 200"/>
                  <a:gd name="T78" fmla="*/ 66 w 153"/>
                  <a:gd name="T79" fmla="*/ 192 h 200"/>
                  <a:gd name="T80" fmla="*/ 85 w 153"/>
                  <a:gd name="T81" fmla="*/ 198 h 200"/>
                  <a:gd name="T82" fmla="*/ 86 w 153"/>
                  <a:gd name="T83" fmla="*/ 194 h 200"/>
                  <a:gd name="T84" fmla="*/ 119 w 153"/>
                  <a:gd name="T85" fmla="*/ 195 h 200"/>
                  <a:gd name="T86" fmla="*/ 105 w 153"/>
                  <a:gd name="T87" fmla="*/ 196 h 200"/>
                  <a:gd name="T88" fmla="*/ 99 w 153"/>
                  <a:gd name="T89" fmla="*/ 196 h 200"/>
                  <a:gd name="T90" fmla="*/ 99 w 153"/>
                  <a:gd name="T91" fmla="*/ 200 h 200"/>
                  <a:gd name="T92" fmla="*/ 105 w 153"/>
                  <a:gd name="T93" fmla="*/ 200 h 200"/>
                  <a:gd name="T94" fmla="*/ 120 w 153"/>
                  <a:gd name="T95" fmla="*/ 199 h 200"/>
                  <a:gd name="T96" fmla="*/ 119 w 153"/>
                  <a:gd name="T97" fmla="*/ 195 h 200"/>
                  <a:gd name="T98" fmla="*/ 151 w 153"/>
                  <a:gd name="T99" fmla="*/ 186 h 200"/>
                  <a:gd name="T100" fmla="*/ 132 w 153"/>
                  <a:gd name="T101" fmla="*/ 193 h 200"/>
                  <a:gd name="T102" fmla="*/ 134 w 153"/>
                  <a:gd name="T103" fmla="*/ 196 h 200"/>
                  <a:gd name="T104" fmla="*/ 153 w 153"/>
                  <a:gd name="T105" fmla="*/ 189 h 200"/>
                  <a:gd name="T106" fmla="*/ 151 w 153"/>
                  <a:gd name="T107" fmla="*/ 186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53" h="200">
                    <a:moveTo>
                      <a:pt x="44" y="14"/>
                    </a:moveTo>
                    <a:cubicBezTo>
                      <a:pt x="49" y="10"/>
                      <a:pt x="54" y="6"/>
                      <a:pt x="60" y="4"/>
                    </a:cubicBezTo>
                    <a:cubicBezTo>
                      <a:pt x="58" y="0"/>
                      <a:pt x="58" y="0"/>
                      <a:pt x="58" y="0"/>
                    </a:cubicBezTo>
                    <a:cubicBezTo>
                      <a:pt x="52" y="3"/>
                      <a:pt x="46" y="7"/>
                      <a:pt x="41" y="11"/>
                    </a:cubicBezTo>
                    <a:lnTo>
                      <a:pt x="44" y="14"/>
                    </a:lnTo>
                    <a:close/>
                    <a:moveTo>
                      <a:pt x="21" y="38"/>
                    </a:moveTo>
                    <a:cubicBezTo>
                      <a:pt x="25" y="33"/>
                      <a:pt x="29" y="27"/>
                      <a:pt x="33" y="23"/>
                    </a:cubicBezTo>
                    <a:cubicBezTo>
                      <a:pt x="31" y="20"/>
                      <a:pt x="31" y="20"/>
                      <a:pt x="31" y="20"/>
                    </a:cubicBezTo>
                    <a:cubicBezTo>
                      <a:pt x="26" y="25"/>
                      <a:pt x="21" y="30"/>
                      <a:pt x="18" y="36"/>
                    </a:cubicBezTo>
                    <a:cubicBezTo>
                      <a:pt x="21" y="38"/>
                      <a:pt x="21" y="38"/>
                      <a:pt x="21" y="38"/>
                    </a:cubicBezTo>
                    <a:close/>
                    <a:moveTo>
                      <a:pt x="7" y="68"/>
                    </a:moveTo>
                    <a:cubicBezTo>
                      <a:pt x="9" y="62"/>
                      <a:pt x="11" y="56"/>
                      <a:pt x="14" y="50"/>
                    </a:cubicBezTo>
                    <a:cubicBezTo>
                      <a:pt x="11" y="48"/>
                      <a:pt x="11" y="48"/>
                      <a:pt x="11" y="48"/>
                    </a:cubicBezTo>
                    <a:cubicBezTo>
                      <a:pt x="8" y="54"/>
                      <a:pt x="5" y="61"/>
                      <a:pt x="3" y="67"/>
                    </a:cubicBezTo>
                    <a:cubicBezTo>
                      <a:pt x="7" y="68"/>
                      <a:pt x="7" y="68"/>
                      <a:pt x="7" y="68"/>
                    </a:cubicBezTo>
                    <a:close/>
                    <a:moveTo>
                      <a:pt x="4" y="101"/>
                    </a:moveTo>
                    <a:cubicBezTo>
                      <a:pt x="4" y="99"/>
                      <a:pt x="4" y="97"/>
                      <a:pt x="4" y="95"/>
                    </a:cubicBezTo>
                    <a:cubicBezTo>
                      <a:pt x="4" y="90"/>
                      <a:pt x="4" y="86"/>
                      <a:pt x="5" y="82"/>
                    </a:cubicBezTo>
                    <a:cubicBezTo>
                      <a:pt x="1" y="81"/>
                      <a:pt x="1" y="81"/>
                      <a:pt x="1" y="81"/>
                    </a:cubicBezTo>
                    <a:cubicBezTo>
                      <a:pt x="0" y="86"/>
                      <a:pt x="0" y="90"/>
                      <a:pt x="0" y="95"/>
                    </a:cubicBezTo>
                    <a:cubicBezTo>
                      <a:pt x="0" y="97"/>
                      <a:pt x="0" y="99"/>
                      <a:pt x="0" y="101"/>
                    </a:cubicBezTo>
                    <a:lnTo>
                      <a:pt x="4" y="101"/>
                    </a:lnTo>
                    <a:close/>
                    <a:moveTo>
                      <a:pt x="12" y="133"/>
                    </a:moveTo>
                    <a:cubicBezTo>
                      <a:pt x="9" y="127"/>
                      <a:pt x="7" y="121"/>
                      <a:pt x="6" y="115"/>
                    </a:cubicBezTo>
                    <a:cubicBezTo>
                      <a:pt x="2" y="116"/>
                      <a:pt x="2" y="116"/>
                      <a:pt x="2" y="116"/>
                    </a:cubicBezTo>
                    <a:cubicBezTo>
                      <a:pt x="3" y="122"/>
                      <a:pt x="5" y="129"/>
                      <a:pt x="8" y="135"/>
                    </a:cubicBezTo>
                    <a:lnTo>
                      <a:pt x="12" y="133"/>
                    </a:lnTo>
                    <a:close/>
                    <a:moveTo>
                      <a:pt x="29" y="162"/>
                    </a:moveTo>
                    <a:cubicBezTo>
                      <a:pt x="25" y="157"/>
                      <a:pt x="21" y="152"/>
                      <a:pt x="18" y="146"/>
                    </a:cubicBezTo>
                    <a:cubicBezTo>
                      <a:pt x="14" y="148"/>
                      <a:pt x="14" y="148"/>
                      <a:pt x="14" y="148"/>
                    </a:cubicBezTo>
                    <a:cubicBezTo>
                      <a:pt x="18" y="154"/>
                      <a:pt x="22" y="159"/>
                      <a:pt x="26" y="164"/>
                    </a:cubicBezTo>
                    <a:cubicBezTo>
                      <a:pt x="29" y="162"/>
                      <a:pt x="29" y="162"/>
                      <a:pt x="29" y="162"/>
                    </a:cubicBezTo>
                    <a:close/>
                    <a:moveTo>
                      <a:pt x="55" y="183"/>
                    </a:moveTo>
                    <a:cubicBezTo>
                      <a:pt x="49" y="179"/>
                      <a:pt x="44" y="176"/>
                      <a:pt x="39" y="171"/>
                    </a:cubicBezTo>
                    <a:cubicBezTo>
                      <a:pt x="36" y="174"/>
                      <a:pt x="36" y="174"/>
                      <a:pt x="36" y="174"/>
                    </a:cubicBezTo>
                    <a:cubicBezTo>
                      <a:pt x="41" y="179"/>
                      <a:pt x="47" y="183"/>
                      <a:pt x="53" y="186"/>
                    </a:cubicBezTo>
                    <a:lnTo>
                      <a:pt x="55" y="183"/>
                    </a:lnTo>
                    <a:close/>
                    <a:moveTo>
                      <a:pt x="86" y="194"/>
                    </a:moveTo>
                    <a:cubicBezTo>
                      <a:pt x="79" y="193"/>
                      <a:pt x="73" y="191"/>
                      <a:pt x="67" y="189"/>
                    </a:cubicBezTo>
                    <a:cubicBezTo>
                      <a:pt x="66" y="192"/>
                      <a:pt x="66" y="192"/>
                      <a:pt x="66" y="192"/>
                    </a:cubicBezTo>
                    <a:cubicBezTo>
                      <a:pt x="72" y="195"/>
                      <a:pt x="78" y="197"/>
                      <a:pt x="85" y="198"/>
                    </a:cubicBezTo>
                    <a:cubicBezTo>
                      <a:pt x="86" y="194"/>
                      <a:pt x="86" y="194"/>
                      <a:pt x="86" y="194"/>
                    </a:cubicBezTo>
                    <a:close/>
                    <a:moveTo>
                      <a:pt x="119" y="195"/>
                    </a:moveTo>
                    <a:cubicBezTo>
                      <a:pt x="115" y="196"/>
                      <a:pt x="110" y="196"/>
                      <a:pt x="105" y="196"/>
                    </a:cubicBezTo>
                    <a:cubicBezTo>
                      <a:pt x="103" y="196"/>
                      <a:pt x="101" y="196"/>
                      <a:pt x="99" y="196"/>
                    </a:cubicBezTo>
                    <a:cubicBezTo>
                      <a:pt x="99" y="200"/>
                      <a:pt x="99" y="200"/>
                      <a:pt x="99" y="200"/>
                    </a:cubicBezTo>
                    <a:cubicBezTo>
                      <a:pt x="101" y="200"/>
                      <a:pt x="103" y="200"/>
                      <a:pt x="105" y="200"/>
                    </a:cubicBezTo>
                    <a:cubicBezTo>
                      <a:pt x="110" y="200"/>
                      <a:pt x="115" y="200"/>
                      <a:pt x="120" y="199"/>
                    </a:cubicBezTo>
                    <a:cubicBezTo>
                      <a:pt x="119" y="195"/>
                      <a:pt x="119" y="195"/>
                      <a:pt x="119" y="195"/>
                    </a:cubicBezTo>
                    <a:close/>
                    <a:moveTo>
                      <a:pt x="151" y="186"/>
                    </a:moveTo>
                    <a:cubicBezTo>
                      <a:pt x="145" y="188"/>
                      <a:pt x="139" y="191"/>
                      <a:pt x="132" y="193"/>
                    </a:cubicBezTo>
                    <a:cubicBezTo>
                      <a:pt x="134" y="196"/>
                      <a:pt x="134" y="196"/>
                      <a:pt x="134" y="196"/>
                    </a:cubicBezTo>
                    <a:cubicBezTo>
                      <a:pt x="140" y="195"/>
                      <a:pt x="146" y="192"/>
                      <a:pt x="153" y="189"/>
                    </a:cubicBezTo>
                    <a:cubicBezTo>
                      <a:pt x="151" y="186"/>
                      <a:pt x="151" y="186"/>
                      <a:pt x="151" y="186"/>
                    </a:cubicBezTo>
                    <a:close/>
                  </a:path>
                </a:pathLst>
              </a:custGeom>
              <a:solidFill>
                <a:schemeClr val="tx2">
                  <a:alpha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3" name="任意多边形: 形状 32"/>
              <p:cNvSpPr/>
              <p:nvPr/>
            </p:nvSpPr>
            <p:spPr bwMode="auto">
              <a:xfrm>
                <a:off x="4535488" y="1704976"/>
                <a:ext cx="41275" cy="49213"/>
              </a:xfrm>
              <a:custGeom>
                <a:avLst/>
                <a:gdLst>
                  <a:gd name="T0" fmla="*/ 3 w 9"/>
                  <a:gd name="T1" fmla="*/ 11 h 11"/>
                  <a:gd name="T2" fmla="*/ 9 w 9"/>
                  <a:gd name="T3" fmla="*/ 3 h 11"/>
                  <a:gd name="T4" fmla="*/ 6 w 9"/>
                  <a:gd name="T5" fmla="*/ 0 h 11"/>
                  <a:gd name="T6" fmla="*/ 0 w 9"/>
                  <a:gd name="T7" fmla="*/ 8 h 11"/>
                  <a:gd name="T8" fmla="*/ 3 w 9"/>
                  <a:gd name="T9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1">
                    <a:moveTo>
                      <a:pt x="3" y="11"/>
                    </a:moveTo>
                    <a:cubicBezTo>
                      <a:pt x="5" y="8"/>
                      <a:pt x="7" y="5"/>
                      <a:pt x="9" y="3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3"/>
                      <a:pt x="2" y="5"/>
                      <a:pt x="0" y="8"/>
                    </a:cubicBezTo>
                    <a:cubicBezTo>
                      <a:pt x="3" y="11"/>
                      <a:pt x="3" y="11"/>
                      <a:pt x="3" y="11"/>
                    </a:cubicBezTo>
                    <a:close/>
                  </a:path>
                </a:pathLst>
              </a:custGeom>
              <a:solidFill>
                <a:schemeClr val="tx2">
                  <a:alpha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4" name="任意多边形: 形状 33"/>
              <p:cNvSpPr/>
              <p:nvPr/>
            </p:nvSpPr>
            <p:spPr bwMode="auto">
              <a:xfrm>
                <a:off x="4621213" y="1597026"/>
                <a:ext cx="280988" cy="76200"/>
              </a:xfrm>
              <a:custGeom>
                <a:avLst/>
                <a:gdLst>
                  <a:gd name="T0" fmla="*/ 39 w 63"/>
                  <a:gd name="T1" fmla="*/ 4 h 17"/>
                  <a:gd name="T2" fmla="*/ 43 w 63"/>
                  <a:gd name="T3" fmla="*/ 4 h 17"/>
                  <a:gd name="T4" fmla="*/ 62 w 63"/>
                  <a:gd name="T5" fmla="*/ 7 h 17"/>
                  <a:gd name="T6" fmla="*/ 63 w 63"/>
                  <a:gd name="T7" fmla="*/ 3 h 17"/>
                  <a:gd name="T8" fmla="*/ 43 w 63"/>
                  <a:gd name="T9" fmla="*/ 0 h 17"/>
                  <a:gd name="T10" fmla="*/ 39 w 63"/>
                  <a:gd name="T11" fmla="*/ 0 h 17"/>
                  <a:gd name="T12" fmla="*/ 39 w 63"/>
                  <a:gd name="T13" fmla="*/ 4 h 17"/>
                  <a:gd name="T14" fmla="*/ 3 w 63"/>
                  <a:gd name="T15" fmla="*/ 17 h 17"/>
                  <a:gd name="T16" fmla="*/ 24 w 63"/>
                  <a:gd name="T17" fmla="*/ 7 h 17"/>
                  <a:gd name="T18" fmla="*/ 22 w 63"/>
                  <a:gd name="T19" fmla="*/ 3 h 17"/>
                  <a:gd name="T20" fmla="*/ 0 w 63"/>
                  <a:gd name="T21" fmla="*/ 13 h 17"/>
                  <a:gd name="T22" fmla="*/ 3 w 63"/>
                  <a:gd name="T23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3" h="17">
                    <a:moveTo>
                      <a:pt x="39" y="4"/>
                    </a:moveTo>
                    <a:cubicBezTo>
                      <a:pt x="41" y="4"/>
                      <a:pt x="42" y="4"/>
                      <a:pt x="43" y="4"/>
                    </a:cubicBezTo>
                    <a:cubicBezTo>
                      <a:pt x="50" y="4"/>
                      <a:pt x="56" y="5"/>
                      <a:pt x="62" y="7"/>
                    </a:cubicBezTo>
                    <a:cubicBezTo>
                      <a:pt x="63" y="3"/>
                      <a:pt x="63" y="3"/>
                      <a:pt x="63" y="3"/>
                    </a:cubicBezTo>
                    <a:cubicBezTo>
                      <a:pt x="57" y="1"/>
                      <a:pt x="50" y="0"/>
                      <a:pt x="43" y="0"/>
                    </a:cubicBezTo>
                    <a:cubicBezTo>
                      <a:pt x="42" y="0"/>
                      <a:pt x="41" y="0"/>
                      <a:pt x="39" y="0"/>
                    </a:cubicBezTo>
                    <a:cubicBezTo>
                      <a:pt x="39" y="4"/>
                      <a:pt x="39" y="4"/>
                      <a:pt x="39" y="4"/>
                    </a:cubicBezTo>
                    <a:close/>
                    <a:moveTo>
                      <a:pt x="3" y="17"/>
                    </a:moveTo>
                    <a:cubicBezTo>
                      <a:pt x="9" y="12"/>
                      <a:pt x="16" y="9"/>
                      <a:pt x="24" y="7"/>
                    </a:cubicBezTo>
                    <a:cubicBezTo>
                      <a:pt x="22" y="3"/>
                      <a:pt x="22" y="3"/>
                      <a:pt x="22" y="3"/>
                    </a:cubicBezTo>
                    <a:cubicBezTo>
                      <a:pt x="15" y="5"/>
                      <a:pt x="7" y="9"/>
                      <a:pt x="0" y="13"/>
                    </a:cubicBezTo>
                    <a:cubicBezTo>
                      <a:pt x="3" y="17"/>
                      <a:pt x="3" y="17"/>
                      <a:pt x="3" y="17"/>
                    </a:cubicBezTo>
                    <a:close/>
                  </a:path>
                </a:pathLst>
              </a:custGeom>
              <a:solidFill>
                <a:schemeClr val="tx2">
                  <a:alpha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5" name="任意多边形: 形状 34"/>
              <p:cNvSpPr/>
              <p:nvPr/>
            </p:nvSpPr>
            <p:spPr bwMode="auto">
              <a:xfrm>
                <a:off x="4965700" y="1638301"/>
                <a:ext cx="49213" cy="39688"/>
              </a:xfrm>
              <a:custGeom>
                <a:avLst/>
                <a:gdLst>
                  <a:gd name="T0" fmla="*/ 0 w 11"/>
                  <a:gd name="T1" fmla="*/ 4 h 9"/>
                  <a:gd name="T2" fmla="*/ 9 w 11"/>
                  <a:gd name="T3" fmla="*/ 9 h 9"/>
                  <a:gd name="T4" fmla="*/ 11 w 11"/>
                  <a:gd name="T5" fmla="*/ 6 h 9"/>
                  <a:gd name="T6" fmla="*/ 2 w 11"/>
                  <a:gd name="T7" fmla="*/ 0 h 9"/>
                  <a:gd name="T8" fmla="*/ 0 w 11"/>
                  <a:gd name="T9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9">
                    <a:moveTo>
                      <a:pt x="0" y="4"/>
                    </a:moveTo>
                    <a:cubicBezTo>
                      <a:pt x="3" y="5"/>
                      <a:pt x="6" y="7"/>
                      <a:pt x="9" y="9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8" y="4"/>
                      <a:pt x="5" y="2"/>
                      <a:pt x="2" y="0"/>
                    </a:cubicBezTo>
                    <a:cubicBezTo>
                      <a:pt x="0" y="4"/>
                      <a:pt x="0" y="4"/>
                      <a:pt x="0" y="4"/>
                    </a:cubicBezTo>
                    <a:close/>
                  </a:path>
                </a:pathLst>
              </a:custGeom>
              <a:solidFill>
                <a:schemeClr val="tx2">
                  <a:alpha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6" name="任意多边形: 形状 35"/>
              <p:cNvSpPr/>
              <p:nvPr/>
            </p:nvSpPr>
            <p:spPr bwMode="auto">
              <a:xfrm>
                <a:off x="7575550" y="3194051"/>
                <a:ext cx="103188" cy="142875"/>
              </a:xfrm>
              <a:custGeom>
                <a:avLst/>
                <a:gdLst>
                  <a:gd name="T0" fmla="*/ 9 w 23"/>
                  <a:gd name="T1" fmla="*/ 0 h 32"/>
                  <a:gd name="T2" fmla="*/ 3 w 23"/>
                  <a:gd name="T3" fmla="*/ 30 h 32"/>
                  <a:gd name="T4" fmla="*/ 23 w 23"/>
                  <a:gd name="T5" fmla="*/ 29 h 32"/>
                  <a:gd name="T6" fmla="*/ 23 w 23"/>
                  <a:gd name="T7" fmla="*/ 0 h 32"/>
                  <a:gd name="T8" fmla="*/ 9 w 23"/>
                  <a:gd name="T9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32">
                    <a:moveTo>
                      <a:pt x="9" y="0"/>
                    </a:moveTo>
                    <a:cubicBezTo>
                      <a:pt x="9" y="0"/>
                      <a:pt x="0" y="15"/>
                      <a:pt x="3" y="30"/>
                    </a:cubicBezTo>
                    <a:cubicBezTo>
                      <a:pt x="8" y="32"/>
                      <a:pt x="23" y="29"/>
                      <a:pt x="23" y="29"/>
                    </a:cubicBezTo>
                    <a:cubicBezTo>
                      <a:pt x="23" y="0"/>
                      <a:pt x="23" y="0"/>
                      <a:pt x="23" y="0"/>
                    </a:cubicBezTo>
                    <a:lnTo>
                      <a:pt x="9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7" name="任意多边形: 形状 36"/>
              <p:cNvSpPr/>
              <p:nvPr/>
            </p:nvSpPr>
            <p:spPr bwMode="auto">
              <a:xfrm>
                <a:off x="7011988" y="3359151"/>
                <a:ext cx="80963" cy="90488"/>
              </a:xfrm>
              <a:custGeom>
                <a:avLst/>
                <a:gdLst>
                  <a:gd name="T0" fmla="*/ 18 w 18"/>
                  <a:gd name="T1" fmla="*/ 14 h 20"/>
                  <a:gd name="T2" fmla="*/ 12 w 18"/>
                  <a:gd name="T3" fmla="*/ 7 h 20"/>
                  <a:gd name="T4" fmla="*/ 6 w 18"/>
                  <a:gd name="T5" fmla="*/ 1 h 20"/>
                  <a:gd name="T6" fmla="*/ 3 w 18"/>
                  <a:gd name="T7" fmla="*/ 0 h 20"/>
                  <a:gd name="T8" fmla="*/ 1 w 18"/>
                  <a:gd name="T9" fmla="*/ 0 h 20"/>
                  <a:gd name="T10" fmla="*/ 0 w 18"/>
                  <a:gd name="T11" fmla="*/ 0 h 20"/>
                  <a:gd name="T12" fmla="*/ 1 w 18"/>
                  <a:gd name="T13" fmla="*/ 1 h 20"/>
                  <a:gd name="T14" fmla="*/ 6 w 18"/>
                  <a:gd name="T15" fmla="*/ 5 h 20"/>
                  <a:gd name="T16" fmla="*/ 4 w 18"/>
                  <a:gd name="T17" fmla="*/ 6 h 20"/>
                  <a:gd name="T18" fmla="*/ 3 w 18"/>
                  <a:gd name="T19" fmla="*/ 8 h 20"/>
                  <a:gd name="T20" fmla="*/ 3 w 18"/>
                  <a:gd name="T21" fmla="*/ 12 h 20"/>
                  <a:gd name="T22" fmla="*/ 3 w 18"/>
                  <a:gd name="T23" fmla="*/ 12 h 20"/>
                  <a:gd name="T24" fmla="*/ 4 w 18"/>
                  <a:gd name="T25" fmla="*/ 13 h 20"/>
                  <a:gd name="T26" fmla="*/ 7 w 18"/>
                  <a:gd name="T27" fmla="*/ 14 h 20"/>
                  <a:gd name="T28" fmla="*/ 8 w 18"/>
                  <a:gd name="T29" fmla="*/ 14 h 20"/>
                  <a:gd name="T30" fmla="*/ 9 w 18"/>
                  <a:gd name="T31" fmla="*/ 14 h 20"/>
                  <a:gd name="T32" fmla="*/ 12 w 18"/>
                  <a:gd name="T33" fmla="*/ 15 h 20"/>
                  <a:gd name="T34" fmla="*/ 16 w 18"/>
                  <a:gd name="T3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8" h="20">
                    <a:moveTo>
                      <a:pt x="18" y="14"/>
                    </a:moveTo>
                    <a:cubicBezTo>
                      <a:pt x="17" y="12"/>
                      <a:pt x="12" y="7"/>
                      <a:pt x="12" y="7"/>
                    </a:cubicBezTo>
                    <a:cubicBezTo>
                      <a:pt x="9" y="3"/>
                      <a:pt x="6" y="2"/>
                      <a:pt x="6" y="1"/>
                    </a:cubicBezTo>
                    <a:cubicBezTo>
                      <a:pt x="5" y="1"/>
                      <a:pt x="4" y="1"/>
                      <a:pt x="3" y="0"/>
                    </a:cubicBezTo>
                    <a:cubicBezTo>
                      <a:pt x="3" y="0"/>
                      <a:pt x="2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2"/>
                      <a:pt x="4" y="3"/>
                      <a:pt x="6" y="5"/>
                    </a:cubicBezTo>
                    <a:cubicBezTo>
                      <a:pt x="5" y="5"/>
                      <a:pt x="5" y="5"/>
                      <a:pt x="4" y="6"/>
                    </a:cubicBezTo>
                    <a:cubicBezTo>
                      <a:pt x="4" y="7"/>
                      <a:pt x="4" y="7"/>
                      <a:pt x="3" y="8"/>
                    </a:cubicBezTo>
                    <a:cubicBezTo>
                      <a:pt x="3" y="9"/>
                      <a:pt x="3" y="10"/>
                      <a:pt x="3" y="12"/>
                    </a:cubicBezTo>
                    <a:cubicBezTo>
                      <a:pt x="3" y="12"/>
                      <a:pt x="3" y="12"/>
                      <a:pt x="3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5" y="14"/>
                      <a:pt x="6" y="16"/>
                      <a:pt x="7" y="14"/>
                    </a:cubicBezTo>
                    <a:cubicBezTo>
                      <a:pt x="8" y="14"/>
                      <a:pt x="8" y="14"/>
                      <a:pt x="8" y="14"/>
                    </a:cubicBezTo>
                    <a:cubicBezTo>
                      <a:pt x="9" y="14"/>
                      <a:pt x="9" y="14"/>
                      <a:pt x="9" y="14"/>
                    </a:cubicBezTo>
                    <a:cubicBezTo>
                      <a:pt x="11" y="16"/>
                      <a:pt x="12" y="15"/>
                      <a:pt x="12" y="15"/>
                    </a:cubicBezTo>
                    <a:cubicBezTo>
                      <a:pt x="16" y="20"/>
                      <a:pt x="16" y="20"/>
                      <a:pt x="16" y="20"/>
                    </a:cubicBezTo>
                  </a:path>
                </a:pathLst>
              </a:custGeom>
              <a:solidFill>
                <a:srgbClr val="FFC3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8" name="任意多边形: 形状 37"/>
              <p:cNvSpPr/>
              <p:nvPr/>
            </p:nvSpPr>
            <p:spPr bwMode="auto">
              <a:xfrm>
                <a:off x="7070725" y="3341688"/>
                <a:ext cx="573088" cy="331788"/>
              </a:xfrm>
              <a:custGeom>
                <a:avLst/>
                <a:gdLst>
                  <a:gd name="T0" fmla="*/ 128 w 128"/>
                  <a:gd name="T1" fmla="*/ 1 h 74"/>
                  <a:gd name="T2" fmla="*/ 90 w 128"/>
                  <a:gd name="T3" fmla="*/ 14 h 74"/>
                  <a:gd name="T4" fmla="*/ 54 w 128"/>
                  <a:gd name="T5" fmla="*/ 35 h 74"/>
                  <a:gd name="T6" fmla="*/ 3 w 128"/>
                  <a:gd name="T7" fmla="*/ 15 h 74"/>
                  <a:gd name="T8" fmla="*/ 0 w 128"/>
                  <a:gd name="T9" fmla="*/ 21 h 74"/>
                  <a:gd name="T10" fmla="*/ 61 w 128"/>
                  <a:gd name="T11" fmla="*/ 69 h 74"/>
                  <a:gd name="T12" fmla="*/ 114 w 128"/>
                  <a:gd name="T13" fmla="*/ 55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8" h="74">
                    <a:moveTo>
                      <a:pt x="128" y="1"/>
                    </a:moveTo>
                    <a:cubicBezTo>
                      <a:pt x="128" y="1"/>
                      <a:pt x="109" y="0"/>
                      <a:pt x="90" y="14"/>
                    </a:cubicBezTo>
                    <a:cubicBezTo>
                      <a:pt x="75" y="25"/>
                      <a:pt x="63" y="35"/>
                      <a:pt x="54" y="35"/>
                    </a:cubicBezTo>
                    <a:cubicBezTo>
                      <a:pt x="46" y="35"/>
                      <a:pt x="3" y="15"/>
                      <a:pt x="3" y="15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1"/>
                      <a:pt x="23" y="64"/>
                      <a:pt x="61" y="69"/>
                    </a:cubicBezTo>
                    <a:cubicBezTo>
                      <a:pt x="92" y="74"/>
                      <a:pt x="114" y="55"/>
                      <a:pt x="114" y="55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9" name="任意多边形: 形状 38"/>
              <p:cNvSpPr/>
              <p:nvPr/>
            </p:nvSpPr>
            <p:spPr bwMode="auto">
              <a:xfrm>
                <a:off x="7767638" y="4857751"/>
                <a:ext cx="120650" cy="85725"/>
              </a:xfrm>
              <a:custGeom>
                <a:avLst/>
                <a:gdLst>
                  <a:gd name="T0" fmla="*/ 24 w 27"/>
                  <a:gd name="T1" fmla="*/ 7 h 19"/>
                  <a:gd name="T2" fmla="*/ 25 w 27"/>
                  <a:gd name="T3" fmla="*/ 15 h 19"/>
                  <a:gd name="T4" fmla="*/ 1 w 27"/>
                  <a:gd name="T5" fmla="*/ 16 h 19"/>
                  <a:gd name="T6" fmla="*/ 18 w 27"/>
                  <a:gd name="T7" fmla="*/ 7 h 19"/>
                  <a:gd name="T8" fmla="*/ 25 w 27"/>
                  <a:gd name="T9" fmla="*/ 0 h 19"/>
                  <a:gd name="T10" fmla="*/ 24 w 27"/>
                  <a:gd name="T11" fmla="*/ 7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19">
                    <a:moveTo>
                      <a:pt x="24" y="7"/>
                    </a:moveTo>
                    <a:cubicBezTo>
                      <a:pt x="24" y="7"/>
                      <a:pt x="27" y="14"/>
                      <a:pt x="25" y="15"/>
                    </a:cubicBezTo>
                    <a:cubicBezTo>
                      <a:pt x="24" y="17"/>
                      <a:pt x="1" y="19"/>
                      <a:pt x="1" y="16"/>
                    </a:cubicBezTo>
                    <a:cubicBezTo>
                      <a:pt x="0" y="14"/>
                      <a:pt x="18" y="7"/>
                      <a:pt x="18" y="7"/>
                    </a:cubicBezTo>
                    <a:cubicBezTo>
                      <a:pt x="25" y="0"/>
                      <a:pt x="25" y="0"/>
                      <a:pt x="25" y="0"/>
                    </a:cubicBezTo>
                    <a:lnTo>
                      <a:pt x="24" y="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0" name="任意多边形: 形状 39"/>
              <p:cNvSpPr/>
              <p:nvPr/>
            </p:nvSpPr>
            <p:spPr bwMode="auto">
              <a:xfrm>
                <a:off x="7727950" y="4048126"/>
                <a:ext cx="174625" cy="850900"/>
              </a:xfrm>
              <a:custGeom>
                <a:avLst/>
                <a:gdLst>
                  <a:gd name="T0" fmla="*/ 0 w 39"/>
                  <a:gd name="T1" fmla="*/ 0 h 190"/>
                  <a:gd name="T2" fmla="*/ 4 w 39"/>
                  <a:gd name="T3" fmla="*/ 78 h 190"/>
                  <a:gd name="T4" fmla="*/ 27 w 39"/>
                  <a:gd name="T5" fmla="*/ 188 h 190"/>
                  <a:gd name="T6" fmla="*/ 33 w 39"/>
                  <a:gd name="T7" fmla="*/ 188 h 190"/>
                  <a:gd name="T8" fmla="*/ 39 w 39"/>
                  <a:gd name="T9" fmla="*/ 130 h 190"/>
                  <a:gd name="T10" fmla="*/ 33 w 39"/>
                  <a:gd name="T11" fmla="*/ 87 h 190"/>
                  <a:gd name="T12" fmla="*/ 38 w 39"/>
                  <a:gd name="T13" fmla="*/ 20 h 190"/>
                  <a:gd name="T14" fmla="*/ 0 w 39"/>
                  <a:gd name="T15" fmla="*/ 0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" h="190">
                    <a:moveTo>
                      <a:pt x="0" y="0"/>
                    </a:moveTo>
                    <a:cubicBezTo>
                      <a:pt x="0" y="0"/>
                      <a:pt x="3" y="46"/>
                      <a:pt x="4" y="78"/>
                    </a:cubicBezTo>
                    <a:cubicBezTo>
                      <a:pt x="6" y="131"/>
                      <a:pt x="26" y="184"/>
                      <a:pt x="27" y="188"/>
                    </a:cubicBezTo>
                    <a:cubicBezTo>
                      <a:pt x="30" y="190"/>
                      <a:pt x="33" y="188"/>
                      <a:pt x="33" y="188"/>
                    </a:cubicBezTo>
                    <a:cubicBezTo>
                      <a:pt x="33" y="188"/>
                      <a:pt x="39" y="152"/>
                      <a:pt x="39" y="130"/>
                    </a:cubicBezTo>
                    <a:cubicBezTo>
                      <a:pt x="39" y="109"/>
                      <a:pt x="33" y="87"/>
                      <a:pt x="33" y="87"/>
                    </a:cubicBezTo>
                    <a:cubicBezTo>
                      <a:pt x="33" y="87"/>
                      <a:pt x="35" y="47"/>
                      <a:pt x="38" y="20"/>
                    </a:cubicBezTo>
                    <a:cubicBezTo>
                      <a:pt x="39" y="8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C3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1" name="任意多边形: 形状 40"/>
              <p:cNvSpPr/>
              <p:nvPr/>
            </p:nvSpPr>
            <p:spPr bwMode="auto">
              <a:xfrm>
                <a:off x="7508875" y="4857751"/>
                <a:ext cx="120650" cy="85725"/>
              </a:xfrm>
              <a:custGeom>
                <a:avLst/>
                <a:gdLst>
                  <a:gd name="T0" fmla="*/ 24 w 27"/>
                  <a:gd name="T1" fmla="*/ 7 h 19"/>
                  <a:gd name="T2" fmla="*/ 25 w 27"/>
                  <a:gd name="T3" fmla="*/ 15 h 19"/>
                  <a:gd name="T4" fmla="*/ 0 w 27"/>
                  <a:gd name="T5" fmla="*/ 16 h 19"/>
                  <a:gd name="T6" fmla="*/ 18 w 27"/>
                  <a:gd name="T7" fmla="*/ 7 h 19"/>
                  <a:gd name="T8" fmla="*/ 25 w 27"/>
                  <a:gd name="T9" fmla="*/ 0 h 19"/>
                  <a:gd name="T10" fmla="*/ 24 w 27"/>
                  <a:gd name="T11" fmla="*/ 7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19">
                    <a:moveTo>
                      <a:pt x="24" y="7"/>
                    </a:moveTo>
                    <a:cubicBezTo>
                      <a:pt x="24" y="7"/>
                      <a:pt x="27" y="14"/>
                      <a:pt x="25" y="15"/>
                    </a:cubicBezTo>
                    <a:cubicBezTo>
                      <a:pt x="24" y="17"/>
                      <a:pt x="1" y="19"/>
                      <a:pt x="0" y="16"/>
                    </a:cubicBezTo>
                    <a:cubicBezTo>
                      <a:pt x="0" y="14"/>
                      <a:pt x="18" y="7"/>
                      <a:pt x="18" y="7"/>
                    </a:cubicBezTo>
                    <a:cubicBezTo>
                      <a:pt x="25" y="0"/>
                      <a:pt x="25" y="0"/>
                      <a:pt x="25" y="0"/>
                    </a:cubicBezTo>
                    <a:lnTo>
                      <a:pt x="24" y="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2" name="任意多边形: 形状 41"/>
              <p:cNvSpPr/>
              <p:nvPr/>
            </p:nvSpPr>
            <p:spPr bwMode="auto">
              <a:xfrm>
                <a:off x="7491413" y="4048126"/>
                <a:ext cx="177800" cy="850900"/>
              </a:xfrm>
              <a:custGeom>
                <a:avLst/>
                <a:gdLst>
                  <a:gd name="T0" fmla="*/ 1 w 40"/>
                  <a:gd name="T1" fmla="*/ 0 h 190"/>
                  <a:gd name="T2" fmla="*/ 1 w 40"/>
                  <a:gd name="T3" fmla="*/ 78 h 190"/>
                  <a:gd name="T4" fmla="*/ 22 w 40"/>
                  <a:gd name="T5" fmla="*/ 188 h 190"/>
                  <a:gd name="T6" fmla="*/ 28 w 40"/>
                  <a:gd name="T7" fmla="*/ 188 h 190"/>
                  <a:gd name="T8" fmla="*/ 35 w 40"/>
                  <a:gd name="T9" fmla="*/ 130 h 190"/>
                  <a:gd name="T10" fmla="*/ 30 w 40"/>
                  <a:gd name="T11" fmla="*/ 87 h 190"/>
                  <a:gd name="T12" fmla="*/ 39 w 40"/>
                  <a:gd name="T13" fmla="*/ 20 h 190"/>
                  <a:gd name="T14" fmla="*/ 1 w 40"/>
                  <a:gd name="T15" fmla="*/ 0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0" h="190">
                    <a:moveTo>
                      <a:pt x="1" y="0"/>
                    </a:moveTo>
                    <a:cubicBezTo>
                      <a:pt x="1" y="0"/>
                      <a:pt x="0" y="46"/>
                      <a:pt x="1" y="78"/>
                    </a:cubicBezTo>
                    <a:cubicBezTo>
                      <a:pt x="3" y="131"/>
                      <a:pt x="21" y="184"/>
                      <a:pt x="22" y="188"/>
                    </a:cubicBezTo>
                    <a:cubicBezTo>
                      <a:pt x="25" y="190"/>
                      <a:pt x="28" y="188"/>
                      <a:pt x="28" y="188"/>
                    </a:cubicBezTo>
                    <a:cubicBezTo>
                      <a:pt x="28" y="188"/>
                      <a:pt x="35" y="152"/>
                      <a:pt x="35" y="130"/>
                    </a:cubicBezTo>
                    <a:cubicBezTo>
                      <a:pt x="35" y="109"/>
                      <a:pt x="30" y="87"/>
                      <a:pt x="30" y="87"/>
                    </a:cubicBezTo>
                    <a:cubicBezTo>
                      <a:pt x="30" y="87"/>
                      <a:pt x="36" y="47"/>
                      <a:pt x="39" y="20"/>
                    </a:cubicBezTo>
                    <a:cubicBezTo>
                      <a:pt x="40" y="8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rgbClr val="FFC3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3" name="任意多边形: 形状 42"/>
              <p:cNvSpPr/>
              <p:nvPr/>
            </p:nvSpPr>
            <p:spPr bwMode="auto">
              <a:xfrm>
                <a:off x="7454900" y="3806826"/>
                <a:ext cx="479425" cy="630238"/>
              </a:xfrm>
              <a:custGeom>
                <a:avLst/>
                <a:gdLst>
                  <a:gd name="T0" fmla="*/ 10 w 107"/>
                  <a:gd name="T1" fmla="*/ 23 h 141"/>
                  <a:gd name="T2" fmla="*/ 7 w 107"/>
                  <a:gd name="T3" fmla="*/ 127 h 141"/>
                  <a:gd name="T4" fmla="*/ 103 w 107"/>
                  <a:gd name="T5" fmla="*/ 126 h 141"/>
                  <a:gd name="T6" fmla="*/ 99 w 107"/>
                  <a:gd name="T7" fmla="*/ 29 h 141"/>
                  <a:gd name="T8" fmla="*/ 78 w 107"/>
                  <a:gd name="T9" fmla="*/ 0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7" h="141">
                    <a:moveTo>
                      <a:pt x="10" y="23"/>
                    </a:moveTo>
                    <a:cubicBezTo>
                      <a:pt x="10" y="23"/>
                      <a:pt x="0" y="74"/>
                      <a:pt x="7" y="127"/>
                    </a:cubicBezTo>
                    <a:cubicBezTo>
                      <a:pt x="56" y="141"/>
                      <a:pt x="103" y="126"/>
                      <a:pt x="103" y="126"/>
                    </a:cubicBezTo>
                    <a:cubicBezTo>
                      <a:pt x="103" y="126"/>
                      <a:pt x="107" y="52"/>
                      <a:pt x="99" y="29"/>
                    </a:cubicBezTo>
                    <a:cubicBezTo>
                      <a:pt x="92" y="4"/>
                      <a:pt x="78" y="0"/>
                      <a:pt x="78" y="0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4" name="任意多边形: 形状 43"/>
              <p:cNvSpPr/>
              <p:nvPr/>
            </p:nvSpPr>
            <p:spPr bwMode="auto">
              <a:xfrm>
                <a:off x="7826375" y="3905251"/>
                <a:ext cx="49213" cy="482600"/>
              </a:xfrm>
              <a:custGeom>
                <a:avLst/>
                <a:gdLst>
                  <a:gd name="T0" fmla="*/ 7 w 11"/>
                  <a:gd name="T1" fmla="*/ 108 h 108"/>
                  <a:gd name="T2" fmla="*/ 6 w 11"/>
                  <a:gd name="T3" fmla="*/ 107 h 108"/>
                  <a:gd name="T4" fmla="*/ 0 w 11"/>
                  <a:gd name="T5" fmla="*/ 1 h 108"/>
                  <a:gd name="T6" fmla="*/ 1 w 11"/>
                  <a:gd name="T7" fmla="*/ 0 h 108"/>
                  <a:gd name="T8" fmla="*/ 7 w 11"/>
                  <a:gd name="T9" fmla="*/ 108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108">
                    <a:moveTo>
                      <a:pt x="7" y="108"/>
                    </a:moveTo>
                    <a:cubicBezTo>
                      <a:pt x="6" y="107"/>
                      <a:pt x="6" y="107"/>
                      <a:pt x="6" y="107"/>
                    </a:cubicBezTo>
                    <a:cubicBezTo>
                      <a:pt x="10" y="46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1"/>
                      <a:pt x="11" y="46"/>
                      <a:pt x="7" y="108"/>
                    </a:cubicBezTo>
                    <a:close/>
                  </a:path>
                </a:pathLst>
              </a:custGeom>
              <a:solidFill>
                <a:srgbClr val="12356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5" name="任意多边形: 形状 44"/>
              <p:cNvSpPr/>
              <p:nvPr/>
            </p:nvSpPr>
            <p:spPr bwMode="auto">
              <a:xfrm>
                <a:off x="7486650" y="3336926"/>
                <a:ext cx="411163" cy="639763"/>
              </a:xfrm>
              <a:custGeom>
                <a:avLst/>
                <a:gdLst>
                  <a:gd name="T0" fmla="*/ 79 w 92"/>
                  <a:gd name="T1" fmla="*/ 25 h 143"/>
                  <a:gd name="T2" fmla="*/ 81 w 92"/>
                  <a:gd name="T3" fmla="*/ 82 h 143"/>
                  <a:gd name="T4" fmla="*/ 92 w 92"/>
                  <a:gd name="T5" fmla="*/ 134 h 143"/>
                  <a:gd name="T6" fmla="*/ 2 w 92"/>
                  <a:gd name="T7" fmla="*/ 134 h 143"/>
                  <a:gd name="T8" fmla="*/ 8 w 92"/>
                  <a:gd name="T9" fmla="*/ 103 h 143"/>
                  <a:gd name="T10" fmla="*/ 9 w 92"/>
                  <a:gd name="T11" fmla="*/ 79 h 143"/>
                  <a:gd name="T12" fmla="*/ 3 w 92"/>
                  <a:gd name="T13" fmla="*/ 45 h 143"/>
                  <a:gd name="T14" fmla="*/ 17 w 92"/>
                  <a:gd name="T15" fmla="*/ 20 h 143"/>
                  <a:gd name="T16" fmla="*/ 50 w 92"/>
                  <a:gd name="T17" fmla="*/ 1 h 143"/>
                  <a:gd name="T18" fmla="*/ 79 w 92"/>
                  <a:gd name="T19" fmla="*/ 25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2" h="143">
                    <a:moveTo>
                      <a:pt x="79" y="25"/>
                    </a:moveTo>
                    <a:cubicBezTo>
                      <a:pt x="86" y="44"/>
                      <a:pt x="81" y="76"/>
                      <a:pt x="81" y="82"/>
                    </a:cubicBezTo>
                    <a:cubicBezTo>
                      <a:pt x="81" y="98"/>
                      <a:pt x="91" y="114"/>
                      <a:pt x="92" y="134"/>
                    </a:cubicBezTo>
                    <a:cubicBezTo>
                      <a:pt x="89" y="138"/>
                      <a:pt x="11" y="143"/>
                      <a:pt x="2" y="134"/>
                    </a:cubicBezTo>
                    <a:cubicBezTo>
                      <a:pt x="3" y="123"/>
                      <a:pt x="6" y="117"/>
                      <a:pt x="8" y="103"/>
                    </a:cubicBezTo>
                    <a:cubicBezTo>
                      <a:pt x="9" y="98"/>
                      <a:pt x="9" y="90"/>
                      <a:pt x="9" y="79"/>
                    </a:cubicBezTo>
                    <a:cubicBezTo>
                      <a:pt x="6" y="64"/>
                      <a:pt x="0" y="57"/>
                      <a:pt x="3" y="45"/>
                    </a:cubicBezTo>
                    <a:cubicBezTo>
                      <a:pt x="4" y="36"/>
                      <a:pt x="13" y="26"/>
                      <a:pt x="17" y="20"/>
                    </a:cubicBezTo>
                    <a:cubicBezTo>
                      <a:pt x="24" y="7"/>
                      <a:pt x="16" y="0"/>
                      <a:pt x="50" y="1"/>
                    </a:cubicBezTo>
                    <a:cubicBezTo>
                      <a:pt x="66" y="1"/>
                      <a:pt x="71" y="6"/>
                      <a:pt x="79" y="25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6" name="任意多边形: 形状 45"/>
              <p:cNvSpPr/>
              <p:nvPr/>
            </p:nvSpPr>
            <p:spPr bwMode="auto">
              <a:xfrm>
                <a:off x="7491413" y="3427413"/>
                <a:ext cx="61913" cy="200025"/>
              </a:xfrm>
              <a:custGeom>
                <a:avLst/>
                <a:gdLst>
                  <a:gd name="T0" fmla="*/ 3 w 14"/>
                  <a:gd name="T1" fmla="*/ 45 h 45"/>
                  <a:gd name="T2" fmla="*/ 1 w 14"/>
                  <a:gd name="T3" fmla="*/ 25 h 45"/>
                  <a:gd name="T4" fmla="*/ 7 w 14"/>
                  <a:gd name="T5" fmla="*/ 12 h 45"/>
                  <a:gd name="T6" fmla="*/ 13 w 14"/>
                  <a:gd name="T7" fmla="*/ 0 h 45"/>
                  <a:gd name="T8" fmla="*/ 14 w 14"/>
                  <a:gd name="T9" fmla="*/ 0 h 45"/>
                  <a:gd name="T10" fmla="*/ 8 w 14"/>
                  <a:gd name="T11" fmla="*/ 12 h 45"/>
                  <a:gd name="T12" fmla="*/ 2 w 14"/>
                  <a:gd name="T13" fmla="*/ 25 h 45"/>
                  <a:gd name="T14" fmla="*/ 4 w 14"/>
                  <a:gd name="T15" fmla="*/ 44 h 45"/>
                  <a:gd name="T16" fmla="*/ 3 w 14"/>
                  <a:gd name="T17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" h="45">
                    <a:moveTo>
                      <a:pt x="3" y="45"/>
                    </a:moveTo>
                    <a:cubicBezTo>
                      <a:pt x="1" y="36"/>
                      <a:pt x="0" y="32"/>
                      <a:pt x="1" y="25"/>
                    </a:cubicBezTo>
                    <a:cubicBezTo>
                      <a:pt x="2" y="20"/>
                      <a:pt x="4" y="16"/>
                      <a:pt x="7" y="12"/>
                    </a:cubicBezTo>
                    <a:cubicBezTo>
                      <a:pt x="9" y="8"/>
                      <a:pt x="11" y="5"/>
                      <a:pt x="13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2" y="5"/>
                      <a:pt x="10" y="9"/>
                      <a:pt x="8" y="12"/>
                    </a:cubicBezTo>
                    <a:cubicBezTo>
                      <a:pt x="5" y="17"/>
                      <a:pt x="3" y="20"/>
                      <a:pt x="2" y="25"/>
                    </a:cubicBezTo>
                    <a:cubicBezTo>
                      <a:pt x="1" y="32"/>
                      <a:pt x="2" y="36"/>
                      <a:pt x="4" y="44"/>
                    </a:cubicBezTo>
                    <a:lnTo>
                      <a:pt x="3" y="45"/>
                    </a:lnTo>
                    <a:close/>
                  </a:path>
                </a:pathLst>
              </a:custGeom>
              <a:solidFill>
                <a:srgbClr val="D1595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7" name="任意多边形: 形状 46"/>
              <p:cNvSpPr/>
              <p:nvPr/>
            </p:nvSpPr>
            <p:spPr bwMode="auto">
              <a:xfrm>
                <a:off x="7575550" y="3127376"/>
                <a:ext cx="134938" cy="204788"/>
              </a:xfrm>
              <a:custGeom>
                <a:avLst/>
                <a:gdLst>
                  <a:gd name="T0" fmla="*/ 10 w 30"/>
                  <a:gd name="T1" fmla="*/ 12 h 46"/>
                  <a:gd name="T2" fmla="*/ 6 w 30"/>
                  <a:gd name="T3" fmla="*/ 41 h 46"/>
                  <a:gd name="T4" fmla="*/ 24 w 30"/>
                  <a:gd name="T5" fmla="*/ 35 h 46"/>
                  <a:gd name="T6" fmla="*/ 10 w 30"/>
                  <a:gd name="T7" fmla="*/ 12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0" h="46">
                    <a:moveTo>
                      <a:pt x="10" y="12"/>
                    </a:moveTo>
                    <a:cubicBezTo>
                      <a:pt x="10" y="12"/>
                      <a:pt x="0" y="37"/>
                      <a:pt x="6" y="41"/>
                    </a:cubicBezTo>
                    <a:cubicBezTo>
                      <a:pt x="12" y="46"/>
                      <a:pt x="22" y="40"/>
                      <a:pt x="24" y="35"/>
                    </a:cubicBezTo>
                    <a:cubicBezTo>
                      <a:pt x="28" y="29"/>
                      <a:pt x="30" y="0"/>
                      <a:pt x="10" y="12"/>
                    </a:cubicBezTo>
                    <a:close/>
                  </a:path>
                </a:pathLst>
              </a:custGeom>
              <a:solidFill>
                <a:srgbClr val="FFC3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8" name="任意多边形: 形状 47"/>
              <p:cNvSpPr/>
              <p:nvPr/>
            </p:nvSpPr>
            <p:spPr bwMode="auto">
              <a:xfrm>
                <a:off x="7639050" y="3260726"/>
                <a:ext cx="61913" cy="117475"/>
              </a:xfrm>
              <a:custGeom>
                <a:avLst/>
                <a:gdLst>
                  <a:gd name="T0" fmla="*/ 1 w 14"/>
                  <a:gd name="T1" fmla="*/ 4 h 26"/>
                  <a:gd name="T2" fmla="*/ 0 w 14"/>
                  <a:gd name="T3" fmla="*/ 21 h 26"/>
                  <a:gd name="T4" fmla="*/ 3 w 14"/>
                  <a:gd name="T5" fmla="*/ 26 h 26"/>
                  <a:gd name="T6" fmla="*/ 14 w 14"/>
                  <a:gd name="T7" fmla="*/ 19 h 26"/>
                  <a:gd name="T8" fmla="*/ 11 w 14"/>
                  <a:gd name="T9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26">
                    <a:moveTo>
                      <a:pt x="1" y="4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0" y="21"/>
                      <a:pt x="1" y="26"/>
                      <a:pt x="3" y="26"/>
                    </a:cubicBezTo>
                    <a:cubicBezTo>
                      <a:pt x="5" y="26"/>
                      <a:pt x="14" y="19"/>
                      <a:pt x="14" y="19"/>
                    </a:cubicBezTo>
                    <a:cubicBezTo>
                      <a:pt x="11" y="0"/>
                      <a:pt x="11" y="0"/>
                      <a:pt x="11" y="0"/>
                    </a:cubicBezTo>
                  </a:path>
                </a:pathLst>
              </a:custGeom>
              <a:solidFill>
                <a:srgbClr val="FFC3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9" name="任意多边形: 形状 48"/>
              <p:cNvSpPr/>
              <p:nvPr/>
            </p:nvSpPr>
            <p:spPr bwMode="auto">
              <a:xfrm>
                <a:off x="7646988" y="3328988"/>
                <a:ext cx="63500" cy="79375"/>
              </a:xfrm>
              <a:custGeom>
                <a:avLst/>
                <a:gdLst>
                  <a:gd name="T0" fmla="*/ 37 w 40"/>
                  <a:gd name="T1" fmla="*/ 0 h 50"/>
                  <a:gd name="T2" fmla="*/ 0 w 40"/>
                  <a:gd name="T3" fmla="*/ 28 h 50"/>
                  <a:gd name="T4" fmla="*/ 14 w 40"/>
                  <a:gd name="T5" fmla="*/ 50 h 50"/>
                  <a:gd name="T6" fmla="*/ 40 w 40"/>
                  <a:gd name="T7" fmla="*/ 8 h 50"/>
                  <a:gd name="T8" fmla="*/ 37 w 40"/>
                  <a:gd name="T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50">
                    <a:moveTo>
                      <a:pt x="37" y="0"/>
                    </a:moveTo>
                    <a:lnTo>
                      <a:pt x="0" y="28"/>
                    </a:lnTo>
                    <a:lnTo>
                      <a:pt x="14" y="50"/>
                    </a:lnTo>
                    <a:lnTo>
                      <a:pt x="40" y="8"/>
                    </a:lnTo>
                    <a:lnTo>
                      <a:pt x="37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0" name="任意多边形: 形状 49"/>
              <p:cNvSpPr/>
              <p:nvPr/>
            </p:nvSpPr>
            <p:spPr bwMode="auto">
              <a:xfrm>
                <a:off x="7620000" y="3336926"/>
                <a:ext cx="26988" cy="63500"/>
              </a:xfrm>
              <a:custGeom>
                <a:avLst/>
                <a:gdLst>
                  <a:gd name="T0" fmla="*/ 17 w 17"/>
                  <a:gd name="T1" fmla="*/ 23 h 40"/>
                  <a:gd name="T2" fmla="*/ 12 w 17"/>
                  <a:gd name="T3" fmla="*/ 0 h 40"/>
                  <a:gd name="T4" fmla="*/ 0 w 17"/>
                  <a:gd name="T5" fmla="*/ 6 h 40"/>
                  <a:gd name="T6" fmla="*/ 3 w 17"/>
                  <a:gd name="T7" fmla="*/ 40 h 40"/>
                  <a:gd name="T8" fmla="*/ 17 w 17"/>
                  <a:gd name="T9" fmla="*/ 23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40">
                    <a:moveTo>
                      <a:pt x="17" y="23"/>
                    </a:moveTo>
                    <a:lnTo>
                      <a:pt x="12" y="0"/>
                    </a:lnTo>
                    <a:lnTo>
                      <a:pt x="0" y="6"/>
                    </a:lnTo>
                    <a:lnTo>
                      <a:pt x="3" y="40"/>
                    </a:lnTo>
                    <a:lnTo>
                      <a:pt x="17" y="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1" name="任意多边形: 形状 50"/>
              <p:cNvSpPr/>
              <p:nvPr/>
            </p:nvSpPr>
            <p:spPr bwMode="auto">
              <a:xfrm>
                <a:off x="7169150" y="3605213"/>
                <a:ext cx="361950" cy="260350"/>
              </a:xfrm>
              <a:custGeom>
                <a:avLst/>
                <a:gdLst>
                  <a:gd name="T0" fmla="*/ 70 w 81"/>
                  <a:gd name="T1" fmla="*/ 3 h 58"/>
                  <a:gd name="T2" fmla="*/ 81 w 81"/>
                  <a:gd name="T3" fmla="*/ 58 h 58"/>
                  <a:gd name="T4" fmla="*/ 12 w 81"/>
                  <a:gd name="T5" fmla="*/ 58 h 58"/>
                  <a:gd name="T6" fmla="*/ 1 w 81"/>
                  <a:gd name="T7" fmla="*/ 2 h 58"/>
                  <a:gd name="T8" fmla="*/ 2 w 81"/>
                  <a:gd name="T9" fmla="*/ 0 h 58"/>
                  <a:gd name="T10" fmla="*/ 67 w 81"/>
                  <a:gd name="T11" fmla="*/ 0 h 58"/>
                  <a:gd name="T12" fmla="*/ 70 w 81"/>
                  <a:gd name="T13" fmla="*/ 3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" h="58">
                    <a:moveTo>
                      <a:pt x="70" y="3"/>
                    </a:moveTo>
                    <a:cubicBezTo>
                      <a:pt x="81" y="58"/>
                      <a:pt x="81" y="58"/>
                      <a:pt x="81" y="58"/>
                    </a:cubicBezTo>
                    <a:cubicBezTo>
                      <a:pt x="12" y="58"/>
                      <a:pt x="12" y="58"/>
                      <a:pt x="12" y="58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67" y="0"/>
                      <a:pt x="67" y="0"/>
                      <a:pt x="67" y="0"/>
                    </a:cubicBezTo>
                    <a:cubicBezTo>
                      <a:pt x="69" y="0"/>
                      <a:pt x="70" y="2"/>
                      <a:pt x="70" y="3"/>
                    </a:cubicBezTo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2" name="任意多边形: 形状 51"/>
              <p:cNvSpPr/>
              <p:nvPr/>
            </p:nvSpPr>
            <p:spPr bwMode="auto">
              <a:xfrm>
                <a:off x="7442200" y="3833813"/>
                <a:ext cx="246063" cy="31750"/>
              </a:xfrm>
              <a:custGeom>
                <a:avLst/>
                <a:gdLst>
                  <a:gd name="T0" fmla="*/ 1 w 55"/>
                  <a:gd name="T1" fmla="*/ 7 h 7"/>
                  <a:gd name="T2" fmla="*/ 55 w 55"/>
                  <a:gd name="T3" fmla="*/ 7 h 7"/>
                  <a:gd name="T4" fmla="*/ 55 w 55"/>
                  <a:gd name="T5" fmla="*/ 4 h 7"/>
                  <a:gd name="T6" fmla="*/ 51 w 55"/>
                  <a:gd name="T7" fmla="*/ 0 h 7"/>
                  <a:gd name="T8" fmla="*/ 0 w 55"/>
                  <a:gd name="T9" fmla="*/ 0 h 7"/>
                  <a:gd name="T10" fmla="*/ 1 w 55"/>
                  <a:gd name="T11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5" h="7">
                    <a:moveTo>
                      <a:pt x="1" y="7"/>
                    </a:moveTo>
                    <a:cubicBezTo>
                      <a:pt x="55" y="7"/>
                      <a:pt x="55" y="7"/>
                      <a:pt x="55" y="7"/>
                    </a:cubicBezTo>
                    <a:cubicBezTo>
                      <a:pt x="55" y="4"/>
                      <a:pt x="55" y="4"/>
                      <a:pt x="55" y="4"/>
                    </a:cubicBezTo>
                    <a:cubicBezTo>
                      <a:pt x="54" y="2"/>
                      <a:pt x="53" y="0"/>
                      <a:pt x="51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" y="7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3" name="任意多边形: 形状 52"/>
              <p:cNvSpPr/>
              <p:nvPr/>
            </p:nvSpPr>
            <p:spPr bwMode="auto">
              <a:xfrm>
                <a:off x="7321550" y="3708401"/>
                <a:ext cx="53975" cy="58738"/>
              </a:xfrm>
              <a:custGeom>
                <a:avLst/>
                <a:gdLst>
                  <a:gd name="T0" fmla="*/ 5 w 12"/>
                  <a:gd name="T1" fmla="*/ 0 h 13"/>
                  <a:gd name="T2" fmla="*/ 1 w 12"/>
                  <a:gd name="T3" fmla="*/ 6 h 13"/>
                  <a:gd name="T4" fmla="*/ 7 w 12"/>
                  <a:gd name="T5" fmla="*/ 13 h 13"/>
                  <a:gd name="T6" fmla="*/ 11 w 12"/>
                  <a:gd name="T7" fmla="*/ 6 h 13"/>
                  <a:gd name="T8" fmla="*/ 5 w 12"/>
                  <a:gd name="T9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3">
                    <a:moveTo>
                      <a:pt x="5" y="0"/>
                    </a:moveTo>
                    <a:cubicBezTo>
                      <a:pt x="2" y="0"/>
                      <a:pt x="0" y="3"/>
                      <a:pt x="1" y="6"/>
                    </a:cubicBezTo>
                    <a:cubicBezTo>
                      <a:pt x="2" y="10"/>
                      <a:pt x="5" y="13"/>
                      <a:pt x="7" y="13"/>
                    </a:cubicBezTo>
                    <a:cubicBezTo>
                      <a:pt x="10" y="13"/>
                      <a:pt x="12" y="10"/>
                      <a:pt x="11" y="6"/>
                    </a:cubicBezTo>
                    <a:cubicBezTo>
                      <a:pt x="10" y="3"/>
                      <a:pt x="8" y="0"/>
                      <a:pt x="5" y="0"/>
                    </a:cubicBezTo>
                  </a:path>
                </a:pathLst>
              </a:custGeom>
              <a:solidFill>
                <a:srgbClr val="DAE2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4" name="任意多边形: 形状 53"/>
              <p:cNvSpPr/>
              <p:nvPr/>
            </p:nvSpPr>
            <p:spPr bwMode="auto">
              <a:xfrm>
                <a:off x="7464425" y="3833813"/>
                <a:ext cx="120650" cy="49213"/>
              </a:xfrm>
              <a:custGeom>
                <a:avLst/>
                <a:gdLst>
                  <a:gd name="T0" fmla="*/ 27 w 27"/>
                  <a:gd name="T1" fmla="*/ 0 h 11"/>
                  <a:gd name="T2" fmla="*/ 18 w 27"/>
                  <a:gd name="T3" fmla="*/ 3 h 11"/>
                  <a:gd name="T4" fmla="*/ 13 w 27"/>
                  <a:gd name="T5" fmla="*/ 2 h 11"/>
                  <a:gd name="T6" fmla="*/ 9 w 27"/>
                  <a:gd name="T7" fmla="*/ 2 h 11"/>
                  <a:gd name="T8" fmla="*/ 9 w 27"/>
                  <a:gd name="T9" fmla="*/ 2 h 11"/>
                  <a:gd name="T10" fmla="*/ 8 w 27"/>
                  <a:gd name="T11" fmla="*/ 2 h 11"/>
                  <a:gd name="T12" fmla="*/ 9 w 27"/>
                  <a:gd name="T13" fmla="*/ 2 h 11"/>
                  <a:gd name="T14" fmla="*/ 11 w 27"/>
                  <a:gd name="T15" fmla="*/ 4 h 11"/>
                  <a:gd name="T16" fmla="*/ 11 w 27"/>
                  <a:gd name="T17" fmla="*/ 5 h 11"/>
                  <a:gd name="T18" fmla="*/ 5 w 27"/>
                  <a:gd name="T19" fmla="*/ 5 h 11"/>
                  <a:gd name="T20" fmla="*/ 1 w 27"/>
                  <a:gd name="T21" fmla="*/ 5 h 11"/>
                  <a:gd name="T22" fmla="*/ 0 w 27"/>
                  <a:gd name="T23" fmla="*/ 6 h 11"/>
                  <a:gd name="T24" fmla="*/ 0 w 27"/>
                  <a:gd name="T25" fmla="*/ 6 h 11"/>
                  <a:gd name="T26" fmla="*/ 4 w 27"/>
                  <a:gd name="T27" fmla="*/ 9 h 11"/>
                  <a:gd name="T28" fmla="*/ 10 w 27"/>
                  <a:gd name="T29" fmla="*/ 11 h 11"/>
                  <a:gd name="T30" fmla="*/ 18 w 27"/>
                  <a:gd name="T31" fmla="*/ 10 h 11"/>
                  <a:gd name="T32" fmla="*/ 24 w 27"/>
                  <a:gd name="T33" fmla="*/ 9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7" h="11">
                    <a:moveTo>
                      <a:pt x="27" y="0"/>
                    </a:moveTo>
                    <a:cubicBezTo>
                      <a:pt x="27" y="0"/>
                      <a:pt x="20" y="3"/>
                      <a:pt x="18" y="3"/>
                    </a:cubicBezTo>
                    <a:cubicBezTo>
                      <a:pt x="16" y="3"/>
                      <a:pt x="14" y="2"/>
                      <a:pt x="13" y="2"/>
                    </a:cubicBezTo>
                    <a:cubicBezTo>
                      <a:pt x="12" y="2"/>
                      <a:pt x="10" y="2"/>
                      <a:pt x="9" y="2"/>
                    </a:cubicBezTo>
                    <a:cubicBezTo>
                      <a:pt x="9" y="2"/>
                      <a:pt x="9" y="2"/>
                      <a:pt x="9" y="2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9" y="2"/>
                      <a:pt x="9" y="2"/>
                      <a:pt x="9" y="2"/>
                    </a:cubicBezTo>
                    <a:cubicBezTo>
                      <a:pt x="9" y="3"/>
                      <a:pt x="10" y="3"/>
                      <a:pt x="11" y="4"/>
                    </a:cubicBezTo>
                    <a:cubicBezTo>
                      <a:pt x="11" y="4"/>
                      <a:pt x="12" y="4"/>
                      <a:pt x="11" y="5"/>
                    </a:cubicBezTo>
                    <a:cubicBezTo>
                      <a:pt x="9" y="5"/>
                      <a:pt x="7" y="5"/>
                      <a:pt x="5" y="5"/>
                    </a:cubicBezTo>
                    <a:cubicBezTo>
                      <a:pt x="4" y="5"/>
                      <a:pt x="2" y="5"/>
                      <a:pt x="1" y="5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" y="8"/>
                      <a:pt x="2" y="8"/>
                      <a:pt x="4" y="9"/>
                    </a:cubicBezTo>
                    <a:cubicBezTo>
                      <a:pt x="6" y="10"/>
                      <a:pt x="8" y="11"/>
                      <a:pt x="10" y="11"/>
                    </a:cubicBezTo>
                    <a:cubicBezTo>
                      <a:pt x="12" y="11"/>
                      <a:pt x="15" y="11"/>
                      <a:pt x="18" y="10"/>
                    </a:cubicBezTo>
                    <a:cubicBezTo>
                      <a:pt x="19" y="10"/>
                      <a:pt x="24" y="9"/>
                      <a:pt x="24" y="9"/>
                    </a:cubicBezTo>
                  </a:path>
                </a:pathLst>
              </a:custGeom>
              <a:solidFill>
                <a:srgbClr val="FFC3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5" name="任意多边形: 形状 54"/>
              <p:cNvSpPr/>
              <p:nvPr/>
            </p:nvSpPr>
            <p:spPr bwMode="auto">
              <a:xfrm>
                <a:off x="7548563" y="3341688"/>
                <a:ext cx="385763" cy="550863"/>
              </a:xfrm>
              <a:custGeom>
                <a:avLst/>
                <a:gdLst>
                  <a:gd name="T0" fmla="*/ 40 w 86"/>
                  <a:gd name="T1" fmla="*/ 36 h 123"/>
                  <a:gd name="T2" fmla="*/ 48 w 86"/>
                  <a:gd name="T3" fmla="*/ 89 h 123"/>
                  <a:gd name="T4" fmla="*/ 0 w 86"/>
                  <a:gd name="T5" fmla="*/ 113 h 123"/>
                  <a:gd name="T6" fmla="*/ 3 w 86"/>
                  <a:gd name="T7" fmla="*/ 121 h 123"/>
                  <a:gd name="T8" fmla="*/ 72 w 86"/>
                  <a:gd name="T9" fmla="*/ 107 h 123"/>
                  <a:gd name="T10" fmla="*/ 73 w 86"/>
                  <a:gd name="T11" fmla="*/ 26 h 123"/>
                  <a:gd name="T12" fmla="*/ 36 w 86"/>
                  <a:gd name="T13" fmla="*/ 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6" h="123">
                    <a:moveTo>
                      <a:pt x="40" y="36"/>
                    </a:moveTo>
                    <a:cubicBezTo>
                      <a:pt x="40" y="36"/>
                      <a:pt x="47" y="71"/>
                      <a:pt x="48" y="89"/>
                    </a:cubicBezTo>
                    <a:cubicBezTo>
                      <a:pt x="44" y="93"/>
                      <a:pt x="0" y="113"/>
                      <a:pt x="0" y="113"/>
                    </a:cubicBezTo>
                    <a:cubicBezTo>
                      <a:pt x="3" y="121"/>
                      <a:pt x="3" y="121"/>
                      <a:pt x="3" y="121"/>
                    </a:cubicBezTo>
                    <a:cubicBezTo>
                      <a:pt x="3" y="121"/>
                      <a:pt x="59" y="123"/>
                      <a:pt x="72" y="107"/>
                    </a:cubicBezTo>
                    <a:cubicBezTo>
                      <a:pt x="86" y="92"/>
                      <a:pt x="81" y="46"/>
                      <a:pt x="73" y="26"/>
                    </a:cubicBezTo>
                    <a:cubicBezTo>
                      <a:pt x="68" y="10"/>
                      <a:pt x="54" y="0"/>
                      <a:pt x="36" y="0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6" name="任意多边形: 形状 55"/>
              <p:cNvSpPr/>
              <p:nvPr/>
            </p:nvSpPr>
            <p:spPr bwMode="auto">
              <a:xfrm>
                <a:off x="7562850" y="3821113"/>
                <a:ext cx="312738" cy="66675"/>
              </a:xfrm>
              <a:custGeom>
                <a:avLst/>
                <a:gdLst>
                  <a:gd name="T0" fmla="*/ 6 w 70"/>
                  <a:gd name="T1" fmla="*/ 14 h 15"/>
                  <a:gd name="T2" fmla="*/ 0 w 70"/>
                  <a:gd name="T3" fmla="*/ 14 h 15"/>
                  <a:gd name="T4" fmla="*/ 0 w 70"/>
                  <a:gd name="T5" fmla="*/ 13 h 15"/>
                  <a:gd name="T6" fmla="*/ 69 w 70"/>
                  <a:gd name="T7" fmla="*/ 0 h 15"/>
                  <a:gd name="T8" fmla="*/ 70 w 70"/>
                  <a:gd name="T9" fmla="*/ 0 h 15"/>
                  <a:gd name="T10" fmla="*/ 6 w 70"/>
                  <a:gd name="T11" fmla="*/ 1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0" h="15">
                    <a:moveTo>
                      <a:pt x="6" y="14"/>
                    </a:moveTo>
                    <a:cubicBezTo>
                      <a:pt x="2" y="14"/>
                      <a:pt x="0" y="14"/>
                      <a:pt x="0" y="14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3"/>
                      <a:pt x="56" y="15"/>
                      <a:pt x="69" y="0"/>
                    </a:cubicBezTo>
                    <a:cubicBezTo>
                      <a:pt x="70" y="0"/>
                      <a:pt x="70" y="0"/>
                      <a:pt x="70" y="0"/>
                    </a:cubicBezTo>
                    <a:cubicBezTo>
                      <a:pt x="59" y="13"/>
                      <a:pt x="20" y="14"/>
                      <a:pt x="6" y="14"/>
                    </a:cubicBezTo>
                    <a:close/>
                  </a:path>
                </a:pathLst>
              </a:custGeom>
              <a:solidFill>
                <a:srgbClr val="D1595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7" name="任意多边形: 形状 56"/>
              <p:cNvSpPr/>
              <p:nvPr/>
            </p:nvSpPr>
            <p:spPr bwMode="auto">
              <a:xfrm>
                <a:off x="7548563" y="3502026"/>
                <a:ext cx="219075" cy="344488"/>
              </a:xfrm>
              <a:custGeom>
                <a:avLst/>
                <a:gdLst>
                  <a:gd name="T0" fmla="*/ 0 w 49"/>
                  <a:gd name="T1" fmla="*/ 77 h 77"/>
                  <a:gd name="T2" fmla="*/ 0 w 49"/>
                  <a:gd name="T3" fmla="*/ 76 h 77"/>
                  <a:gd name="T4" fmla="*/ 48 w 49"/>
                  <a:gd name="T5" fmla="*/ 53 h 77"/>
                  <a:gd name="T6" fmla="*/ 40 w 49"/>
                  <a:gd name="T7" fmla="*/ 0 h 77"/>
                  <a:gd name="T8" fmla="*/ 41 w 49"/>
                  <a:gd name="T9" fmla="*/ 0 h 77"/>
                  <a:gd name="T10" fmla="*/ 49 w 49"/>
                  <a:gd name="T11" fmla="*/ 53 h 77"/>
                  <a:gd name="T12" fmla="*/ 49 w 49"/>
                  <a:gd name="T13" fmla="*/ 53 h 77"/>
                  <a:gd name="T14" fmla="*/ 49 w 49"/>
                  <a:gd name="T15" fmla="*/ 53 h 77"/>
                  <a:gd name="T16" fmla="*/ 0 w 49"/>
                  <a:gd name="T17" fmla="*/ 77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9" h="77">
                    <a:moveTo>
                      <a:pt x="0" y="77"/>
                    </a:moveTo>
                    <a:cubicBezTo>
                      <a:pt x="0" y="76"/>
                      <a:pt x="0" y="76"/>
                      <a:pt x="0" y="76"/>
                    </a:cubicBezTo>
                    <a:cubicBezTo>
                      <a:pt x="15" y="70"/>
                      <a:pt x="44" y="56"/>
                      <a:pt x="48" y="53"/>
                    </a:cubicBezTo>
                    <a:cubicBezTo>
                      <a:pt x="46" y="35"/>
                      <a:pt x="40" y="0"/>
                      <a:pt x="40" y="0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41" y="0"/>
                      <a:pt x="47" y="35"/>
                      <a:pt x="49" y="53"/>
                    </a:cubicBezTo>
                    <a:cubicBezTo>
                      <a:pt x="49" y="53"/>
                      <a:pt x="49" y="53"/>
                      <a:pt x="49" y="53"/>
                    </a:cubicBezTo>
                    <a:cubicBezTo>
                      <a:pt x="49" y="53"/>
                      <a:pt x="49" y="53"/>
                      <a:pt x="49" y="53"/>
                    </a:cubicBezTo>
                    <a:cubicBezTo>
                      <a:pt x="45" y="58"/>
                      <a:pt x="2" y="76"/>
                      <a:pt x="0" y="77"/>
                    </a:cubicBezTo>
                    <a:close/>
                  </a:path>
                </a:pathLst>
              </a:custGeom>
              <a:solidFill>
                <a:srgbClr val="D1595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8" name="任意多边形: 形状 57"/>
              <p:cNvSpPr/>
              <p:nvPr/>
            </p:nvSpPr>
            <p:spPr bwMode="auto">
              <a:xfrm>
                <a:off x="7602538" y="3140076"/>
                <a:ext cx="169863" cy="201613"/>
              </a:xfrm>
              <a:custGeom>
                <a:avLst/>
                <a:gdLst>
                  <a:gd name="T0" fmla="*/ 5 w 38"/>
                  <a:gd name="T1" fmla="*/ 5 h 45"/>
                  <a:gd name="T2" fmla="*/ 22 w 38"/>
                  <a:gd name="T3" fmla="*/ 2 h 45"/>
                  <a:gd name="T4" fmla="*/ 34 w 38"/>
                  <a:gd name="T5" fmla="*/ 19 h 45"/>
                  <a:gd name="T6" fmla="*/ 36 w 38"/>
                  <a:gd name="T7" fmla="*/ 29 h 45"/>
                  <a:gd name="T8" fmla="*/ 38 w 38"/>
                  <a:gd name="T9" fmla="*/ 39 h 45"/>
                  <a:gd name="T10" fmla="*/ 19 w 38"/>
                  <a:gd name="T11" fmla="*/ 44 h 45"/>
                  <a:gd name="T12" fmla="*/ 18 w 38"/>
                  <a:gd name="T13" fmla="*/ 26 h 45"/>
                  <a:gd name="T14" fmla="*/ 13 w 38"/>
                  <a:gd name="T15" fmla="*/ 22 h 45"/>
                  <a:gd name="T16" fmla="*/ 5 w 38"/>
                  <a:gd name="T17" fmla="*/ 12 h 45"/>
                  <a:gd name="T18" fmla="*/ 1 w 38"/>
                  <a:gd name="T19" fmla="*/ 18 h 45"/>
                  <a:gd name="T20" fmla="*/ 5 w 38"/>
                  <a:gd name="T21" fmla="*/ 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8" h="45">
                    <a:moveTo>
                      <a:pt x="5" y="5"/>
                    </a:moveTo>
                    <a:cubicBezTo>
                      <a:pt x="10" y="1"/>
                      <a:pt x="18" y="0"/>
                      <a:pt x="22" y="2"/>
                    </a:cubicBezTo>
                    <a:cubicBezTo>
                      <a:pt x="28" y="5"/>
                      <a:pt x="32" y="10"/>
                      <a:pt x="34" y="19"/>
                    </a:cubicBezTo>
                    <a:cubicBezTo>
                      <a:pt x="35" y="22"/>
                      <a:pt x="36" y="25"/>
                      <a:pt x="36" y="29"/>
                    </a:cubicBezTo>
                    <a:cubicBezTo>
                      <a:pt x="37" y="32"/>
                      <a:pt x="37" y="36"/>
                      <a:pt x="38" y="39"/>
                    </a:cubicBezTo>
                    <a:cubicBezTo>
                      <a:pt x="34" y="42"/>
                      <a:pt x="23" y="45"/>
                      <a:pt x="19" y="44"/>
                    </a:cubicBezTo>
                    <a:cubicBezTo>
                      <a:pt x="19" y="41"/>
                      <a:pt x="19" y="28"/>
                      <a:pt x="18" y="26"/>
                    </a:cubicBezTo>
                    <a:cubicBezTo>
                      <a:pt x="17" y="24"/>
                      <a:pt x="15" y="23"/>
                      <a:pt x="13" y="22"/>
                    </a:cubicBezTo>
                    <a:cubicBezTo>
                      <a:pt x="10" y="21"/>
                      <a:pt x="6" y="16"/>
                      <a:pt x="5" y="12"/>
                    </a:cubicBezTo>
                    <a:cubicBezTo>
                      <a:pt x="3" y="13"/>
                      <a:pt x="2" y="16"/>
                      <a:pt x="1" y="18"/>
                    </a:cubicBezTo>
                    <a:cubicBezTo>
                      <a:pt x="0" y="10"/>
                      <a:pt x="4" y="6"/>
                      <a:pt x="5" y="5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9" name="任意多边形: 形状 58"/>
              <p:cNvSpPr/>
              <p:nvPr/>
            </p:nvSpPr>
            <p:spPr bwMode="auto">
              <a:xfrm>
                <a:off x="7666038" y="3257551"/>
                <a:ext cx="34925" cy="39688"/>
              </a:xfrm>
              <a:custGeom>
                <a:avLst/>
                <a:gdLst>
                  <a:gd name="T0" fmla="*/ 3 w 8"/>
                  <a:gd name="T1" fmla="*/ 2 h 9"/>
                  <a:gd name="T2" fmla="*/ 8 w 8"/>
                  <a:gd name="T3" fmla="*/ 4 h 9"/>
                  <a:gd name="T4" fmla="*/ 6 w 8"/>
                  <a:gd name="T5" fmla="*/ 8 h 9"/>
                  <a:gd name="T6" fmla="*/ 2 w 8"/>
                  <a:gd name="T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9">
                    <a:moveTo>
                      <a:pt x="3" y="2"/>
                    </a:moveTo>
                    <a:cubicBezTo>
                      <a:pt x="5" y="0"/>
                      <a:pt x="7" y="1"/>
                      <a:pt x="8" y="4"/>
                    </a:cubicBezTo>
                    <a:cubicBezTo>
                      <a:pt x="8" y="5"/>
                      <a:pt x="7" y="7"/>
                      <a:pt x="6" y="8"/>
                    </a:cubicBezTo>
                    <a:cubicBezTo>
                      <a:pt x="4" y="9"/>
                      <a:pt x="0" y="7"/>
                      <a:pt x="2" y="5"/>
                    </a:cubicBezTo>
                  </a:path>
                </a:pathLst>
              </a:custGeom>
              <a:solidFill>
                <a:srgbClr val="FFC3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</p:grpSp>
        <p:grpSp>
          <p:nvGrpSpPr>
            <p:cNvPr id="89" name="组合 88"/>
            <p:cNvGrpSpPr/>
            <p:nvPr/>
          </p:nvGrpSpPr>
          <p:grpSpPr>
            <a:xfrm>
              <a:off x="611025" y="2554287"/>
              <a:ext cx="10935851" cy="3272529"/>
              <a:chOff x="611025" y="2554287"/>
              <a:chExt cx="10935851" cy="3272529"/>
            </a:xfrm>
          </p:grpSpPr>
          <p:grpSp>
            <p:nvGrpSpPr>
              <p:cNvPr id="88" name="组合 87"/>
              <p:cNvGrpSpPr/>
              <p:nvPr/>
            </p:nvGrpSpPr>
            <p:grpSpPr>
              <a:xfrm>
                <a:off x="7716043" y="2554287"/>
                <a:ext cx="3830833" cy="1419225"/>
                <a:chOff x="7716043" y="2554287"/>
                <a:chExt cx="3830833" cy="1419225"/>
              </a:xfrm>
            </p:grpSpPr>
            <p:grpSp>
              <p:nvGrpSpPr>
                <p:cNvPr id="87" name="组合 86"/>
                <p:cNvGrpSpPr/>
                <p:nvPr/>
              </p:nvGrpSpPr>
              <p:grpSpPr>
                <a:xfrm>
                  <a:off x="7716043" y="2802289"/>
                  <a:ext cx="1097158" cy="681865"/>
                  <a:chOff x="7716043" y="2802289"/>
                  <a:chExt cx="1097158" cy="681865"/>
                </a:xfrm>
              </p:grpSpPr>
              <p:cxnSp>
                <p:nvCxnSpPr>
                  <p:cNvPr id="62" name="直接连接符 61"/>
                  <p:cNvCxnSpPr/>
                  <p:nvPr/>
                </p:nvCxnSpPr>
                <p:spPr>
                  <a:xfrm>
                    <a:off x="8508832" y="3142663"/>
                    <a:ext cx="304369" cy="0"/>
                  </a:xfrm>
                  <a:prstGeom prst="line">
                    <a:avLst/>
                  </a:prstGeom>
                  <a:ln>
                    <a:solidFill>
                      <a:schemeClr val="accent1"/>
                    </a:solidFill>
                    <a:tailEnd type="oval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63" name="矩形: 圆角 62"/>
                  <p:cNvSpPr/>
                  <p:nvPr/>
                </p:nvSpPr>
                <p:spPr>
                  <a:xfrm rot="18900000" flipV="1">
                    <a:off x="7716043" y="2802289"/>
                    <a:ext cx="681866" cy="681865"/>
                  </a:xfrm>
                  <a:prstGeom prst="roundRect">
                    <a:avLst>
                      <a:gd name="adj" fmla="val 6500"/>
                    </a:avLst>
                  </a:prstGeom>
                  <a:solidFill>
                    <a:schemeClr val="accent1"/>
                  </a:solidFill>
                  <a:ln w="12700" cap="rnd">
                    <a:noFill/>
                    <a:prstDash val="solid"/>
                    <a:round/>
                  </a:ln>
                  <a:effectLst>
                    <a:outerShdw blurRad="254000" dist="127000" algn="ctr" rotWithShape="0">
                      <a:schemeClr val="accent1">
                        <a:alpha val="32000"/>
                      </a:scheme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normAutofit/>
                  </a:bodyPr>
                  <a:lstStyle/>
                  <a:p>
                    <a:pPr algn="ctr" defTabSz="914400"/>
                    <a:endParaRPr lang="zh-CN" altLang="en-US" sz="1600" b="1" dirty="0">
                      <a:solidFill>
                        <a:srgbClr val="FFFFFF"/>
                      </a:solidFill>
                    </a:endParaRPr>
                  </a:p>
                </p:txBody>
              </p:sp>
              <p:sp>
                <p:nvSpPr>
                  <p:cNvPr id="86" name="任意多边形: 形状 85"/>
                  <p:cNvSpPr/>
                  <p:nvPr/>
                </p:nvSpPr>
                <p:spPr bwMode="auto">
                  <a:xfrm>
                    <a:off x="7911629" y="3048800"/>
                    <a:ext cx="290691" cy="187728"/>
                  </a:xfrm>
                  <a:custGeom>
                    <a:avLst/>
                    <a:gdLst>
                      <a:gd name="T0" fmla="*/ 2933 w 2933"/>
                      <a:gd name="T1" fmla="*/ 101 h 1897"/>
                      <a:gd name="T2" fmla="*/ 2076 w 2933"/>
                      <a:gd name="T3" fmla="*/ 708 h 1897"/>
                      <a:gd name="T4" fmla="*/ 2076 w 2933"/>
                      <a:gd name="T5" fmla="*/ 0 h 1897"/>
                      <a:gd name="T6" fmla="*/ 0 w 2933"/>
                      <a:gd name="T7" fmla="*/ 0 h 1897"/>
                      <a:gd name="T8" fmla="*/ 0 w 2933"/>
                      <a:gd name="T9" fmla="*/ 1897 h 1897"/>
                      <a:gd name="T10" fmla="*/ 2076 w 2933"/>
                      <a:gd name="T11" fmla="*/ 1897 h 1897"/>
                      <a:gd name="T12" fmla="*/ 2076 w 2933"/>
                      <a:gd name="T13" fmla="*/ 1189 h 1897"/>
                      <a:gd name="T14" fmla="*/ 2933 w 2933"/>
                      <a:gd name="T15" fmla="*/ 1796 h 1897"/>
                      <a:gd name="T16" fmla="*/ 2933 w 2933"/>
                      <a:gd name="T17" fmla="*/ 101 h 1897"/>
                      <a:gd name="T18" fmla="*/ 1811 w 2933"/>
                      <a:gd name="T19" fmla="*/ 463 h 1897"/>
                      <a:gd name="T20" fmla="*/ 266 w 2933"/>
                      <a:gd name="T21" fmla="*/ 463 h 1897"/>
                      <a:gd name="T22" fmla="*/ 266 w 2933"/>
                      <a:gd name="T23" fmla="*/ 254 h 1897"/>
                      <a:gd name="T24" fmla="*/ 1811 w 2933"/>
                      <a:gd name="T25" fmla="*/ 254 h 1897"/>
                      <a:gd name="T26" fmla="*/ 1811 w 2933"/>
                      <a:gd name="T27" fmla="*/ 463 h 189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2933" h="1897">
                        <a:moveTo>
                          <a:pt x="2933" y="101"/>
                        </a:moveTo>
                        <a:lnTo>
                          <a:pt x="2076" y="708"/>
                        </a:lnTo>
                        <a:lnTo>
                          <a:pt x="2076" y="0"/>
                        </a:lnTo>
                        <a:lnTo>
                          <a:pt x="0" y="0"/>
                        </a:lnTo>
                        <a:lnTo>
                          <a:pt x="0" y="1897"/>
                        </a:lnTo>
                        <a:lnTo>
                          <a:pt x="2076" y="1897"/>
                        </a:lnTo>
                        <a:lnTo>
                          <a:pt x="2076" y="1189"/>
                        </a:lnTo>
                        <a:lnTo>
                          <a:pt x="2933" y="1796"/>
                        </a:lnTo>
                        <a:lnTo>
                          <a:pt x="2933" y="101"/>
                        </a:lnTo>
                        <a:close/>
                        <a:moveTo>
                          <a:pt x="1811" y="463"/>
                        </a:moveTo>
                        <a:lnTo>
                          <a:pt x="266" y="463"/>
                        </a:lnTo>
                        <a:lnTo>
                          <a:pt x="266" y="254"/>
                        </a:lnTo>
                        <a:lnTo>
                          <a:pt x="1811" y="254"/>
                        </a:lnTo>
                        <a:lnTo>
                          <a:pt x="1811" y="46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/>
                  <a:lstStyle>
                    <a:defPPr>
                      <a:defRPr lang="zh-CN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9pPr>
                  </a:lstStyle>
                  <a:p>
                    <a:endParaRPr lang="zh-CN" altLang="en-US" dirty="0">
                      <a:solidFill>
                        <a:srgbClr val="FFFFFF"/>
                      </a:solidFill>
                    </a:endParaRPr>
                  </a:p>
                </p:txBody>
              </p:sp>
            </p:grpSp>
            <p:sp>
              <p:nvSpPr>
                <p:cNvPr id="65" name="文本框 64"/>
                <p:cNvSpPr txBox="1"/>
                <p:nvPr/>
              </p:nvSpPr>
              <p:spPr>
                <a:xfrm>
                  <a:off x="8956869" y="3154530"/>
                  <a:ext cx="2590007" cy="818982"/>
                </a:xfrm>
                <a:prstGeom prst="rect">
                  <a:avLst/>
                </a:prstGeom>
              </p:spPr>
              <p:txBody>
                <a:bodyPr wrap="square" rtlCol="0" anchor="t" anchorCtr="0">
                  <a:normAutofit/>
                </a:bodyPr>
                <a:lstStyle>
                  <a:defPPr>
                    <a:defRPr lang="zh-CN"/>
                  </a:defPPr>
                  <a:lvl1pPr>
                    <a:lnSpc>
                      <a:spcPts val="1500"/>
                    </a:lnSpc>
                    <a:defRPr sz="1200"/>
                  </a:lvl1pPr>
                </a:lstStyle>
                <a:p>
                  <a:pPr>
                    <a:lnSpc>
                      <a:spcPct val="120000"/>
                    </a:lnSpc>
                  </a:pPr>
                  <a:r>
                    <a:rPr lang="zh-CN" altLang="nb-NO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组织脑暴</a:t>
                  </a:r>
                  <a:endParaRPr lang="zh-CN" altLang="nb-NO" dirty="0">
                    <a:latin typeface="华文楷体" panose="02010600040101010101" pitchFamily="2" charset="-122"/>
                    <a:ea typeface="华文楷体" panose="02010600040101010101" pitchFamily="2" charset="-122"/>
                  </a:endParaRPr>
                </a:p>
              </p:txBody>
            </p:sp>
            <p:sp>
              <p:nvSpPr>
                <p:cNvPr id="66" name="文本框 65"/>
                <p:cNvSpPr txBox="1"/>
                <p:nvPr/>
              </p:nvSpPr>
              <p:spPr>
                <a:xfrm>
                  <a:off x="8956868" y="2554287"/>
                  <a:ext cx="2590007" cy="589091"/>
                </a:xfrm>
                <a:prstGeom prst="rect">
                  <a:avLst/>
                </a:prstGeom>
                <a:noFill/>
              </p:spPr>
              <p:txBody>
                <a:bodyPr wrap="square" rtlCol="0" anchor="b" anchorCtr="0">
                  <a:normAutofit/>
                </a:bodyPr>
                <a:lstStyle/>
                <a:p>
                  <a:r>
                    <a:rPr lang="zh-CN" altLang="en-US" b="1" dirty="0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机构一线专家信息萃取</a:t>
                  </a:r>
                  <a:endParaRPr lang="zh-CN" altLang="en-US" b="1" dirty="0">
                    <a:latin typeface="华文楷体" panose="02010600040101010101" pitchFamily="2" charset="-122"/>
                    <a:ea typeface="华文楷体" panose="02010600040101010101" pitchFamily="2" charset="-122"/>
                  </a:endParaRPr>
                </a:p>
              </p:txBody>
            </p:sp>
          </p:grpSp>
          <p:grpSp>
            <p:nvGrpSpPr>
              <p:cNvPr id="68" name="组合 67"/>
              <p:cNvGrpSpPr/>
              <p:nvPr/>
            </p:nvGrpSpPr>
            <p:grpSpPr>
              <a:xfrm flipH="1">
                <a:off x="611025" y="4407591"/>
                <a:ext cx="3970533" cy="1419225"/>
                <a:chOff x="4687105" y="1592610"/>
                <a:chExt cx="5856641" cy="2093392"/>
              </a:xfrm>
            </p:grpSpPr>
            <p:cxnSp>
              <p:nvCxnSpPr>
                <p:cNvPr id="69" name="直接连接符 68"/>
                <p:cNvCxnSpPr/>
                <p:nvPr/>
              </p:nvCxnSpPr>
              <p:spPr>
                <a:xfrm>
                  <a:off x="5856490" y="2460479"/>
                  <a:ext cx="448952" cy="0"/>
                </a:xfrm>
                <a:prstGeom prst="line">
                  <a:avLst/>
                </a:prstGeom>
                <a:ln>
                  <a:solidFill>
                    <a:schemeClr val="accent2"/>
                  </a:solidFill>
                  <a:tailEnd type="oval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0" name="矩形: 圆角 69"/>
                <p:cNvSpPr/>
                <p:nvPr/>
              </p:nvSpPr>
              <p:spPr>
                <a:xfrm rot="18900000" flipV="1">
                  <a:off x="4687105" y="1958419"/>
                  <a:ext cx="1005769" cy="1005769"/>
                </a:xfrm>
                <a:prstGeom prst="roundRect">
                  <a:avLst>
                    <a:gd name="adj" fmla="val 6500"/>
                  </a:avLst>
                </a:prstGeom>
                <a:solidFill>
                  <a:schemeClr val="accent2"/>
                </a:solidFill>
                <a:ln w="12700" cap="rnd">
                  <a:noFill/>
                  <a:prstDash val="solid"/>
                  <a:round/>
                </a:ln>
                <a:effectLst>
                  <a:outerShdw blurRad="254000" dist="127000" algn="ctr" rotWithShape="0">
                    <a:schemeClr val="accent2">
                      <a:alpha val="32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rmAutofit/>
                </a:bodyPr>
                <a:lstStyle/>
                <a:p>
                  <a:pPr algn="ctr" defTabSz="914400"/>
                  <a:endParaRPr lang="zh-CN" altLang="en-US" sz="1600" b="1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71" name="任意多边形: 形状 70"/>
                <p:cNvSpPr/>
                <p:nvPr/>
              </p:nvSpPr>
              <p:spPr bwMode="auto">
                <a:xfrm>
                  <a:off x="4994406" y="2246091"/>
                  <a:ext cx="391163" cy="428777"/>
                </a:xfrm>
                <a:custGeom>
                  <a:avLst/>
                  <a:gdLst>
                    <a:gd name="connsiteX0" fmla="*/ 248770 w 495300"/>
                    <a:gd name="connsiteY0" fmla="*/ 621 h 542925"/>
                    <a:gd name="connsiteX1" fmla="*/ 496420 w 495300"/>
                    <a:gd name="connsiteY1" fmla="*/ 248271 h 542925"/>
                    <a:gd name="connsiteX2" fmla="*/ 323827 w 495300"/>
                    <a:gd name="connsiteY2" fmla="*/ 484396 h 542925"/>
                    <a:gd name="connsiteX3" fmla="*/ 346973 w 495300"/>
                    <a:gd name="connsiteY3" fmla="*/ 524496 h 542925"/>
                    <a:gd name="connsiteX4" fmla="*/ 420220 w 495300"/>
                    <a:gd name="connsiteY4" fmla="*/ 524496 h 542925"/>
                    <a:gd name="connsiteX5" fmla="*/ 420220 w 495300"/>
                    <a:gd name="connsiteY5" fmla="*/ 543546 h 542925"/>
                    <a:gd name="connsiteX6" fmla="*/ 77320 w 495300"/>
                    <a:gd name="connsiteY6" fmla="*/ 543546 h 542925"/>
                    <a:gd name="connsiteX7" fmla="*/ 77320 w 495300"/>
                    <a:gd name="connsiteY7" fmla="*/ 524496 h 542925"/>
                    <a:gd name="connsiteX8" fmla="*/ 150567 w 495300"/>
                    <a:gd name="connsiteY8" fmla="*/ 524496 h 542925"/>
                    <a:gd name="connsiteX9" fmla="*/ 173713 w 495300"/>
                    <a:gd name="connsiteY9" fmla="*/ 484396 h 542925"/>
                    <a:gd name="connsiteX10" fmla="*/ 1120 w 495300"/>
                    <a:gd name="connsiteY10" fmla="*/ 248271 h 542925"/>
                    <a:gd name="connsiteX11" fmla="*/ 248770 w 495300"/>
                    <a:gd name="connsiteY11" fmla="*/ 621 h 542925"/>
                    <a:gd name="connsiteX12" fmla="*/ 192763 w 495300"/>
                    <a:gd name="connsiteY12" fmla="*/ 489539 h 542925"/>
                    <a:gd name="connsiteX13" fmla="*/ 172570 w 495300"/>
                    <a:gd name="connsiteY13" fmla="*/ 524496 h 542925"/>
                    <a:gd name="connsiteX14" fmla="*/ 324970 w 495300"/>
                    <a:gd name="connsiteY14" fmla="*/ 524496 h 542925"/>
                    <a:gd name="connsiteX15" fmla="*/ 304777 w 495300"/>
                    <a:gd name="connsiteY15" fmla="*/ 489539 h 542925"/>
                    <a:gd name="connsiteX16" fmla="*/ 248770 w 495300"/>
                    <a:gd name="connsiteY16" fmla="*/ 495921 h 542925"/>
                    <a:gd name="connsiteX17" fmla="*/ 192763 w 495300"/>
                    <a:gd name="connsiteY17" fmla="*/ 489539 h 542925"/>
                    <a:gd name="connsiteX18" fmla="*/ 248770 w 495300"/>
                    <a:gd name="connsiteY18" fmla="*/ 143496 h 542925"/>
                    <a:gd name="connsiteX19" fmla="*/ 143995 w 495300"/>
                    <a:gd name="connsiteY19" fmla="*/ 248271 h 542925"/>
                    <a:gd name="connsiteX20" fmla="*/ 248770 w 495300"/>
                    <a:gd name="connsiteY20" fmla="*/ 353046 h 542925"/>
                    <a:gd name="connsiteX21" fmla="*/ 353545 w 495300"/>
                    <a:gd name="connsiteY21" fmla="*/ 248271 h 542925"/>
                    <a:gd name="connsiteX22" fmla="*/ 248770 w 495300"/>
                    <a:gd name="connsiteY22" fmla="*/ 143496 h 542925"/>
                    <a:gd name="connsiteX23" fmla="*/ 367833 w 495300"/>
                    <a:gd name="connsiteY23" fmla="*/ 114921 h 542925"/>
                    <a:gd name="connsiteX24" fmla="*/ 353545 w 495300"/>
                    <a:gd name="connsiteY24" fmla="*/ 129209 h 542925"/>
                    <a:gd name="connsiteX25" fmla="*/ 367833 w 495300"/>
                    <a:gd name="connsiteY25" fmla="*/ 143496 h 542925"/>
                    <a:gd name="connsiteX26" fmla="*/ 382120 w 495300"/>
                    <a:gd name="connsiteY26" fmla="*/ 129209 h 542925"/>
                    <a:gd name="connsiteX27" fmla="*/ 367833 w 495300"/>
                    <a:gd name="connsiteY27" fmla="*/ 114921 h 5429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495300" h="542925">
                      <a:moveTo>
                        <a:pt x="248770" y="621"/>
                      </a:moveTo>
                      <a:cubicBezTo>
                        <a:pt x="385549" y="621"/>
                        <a:pt x="496420" y="111492"/>
                        <a:pt x="496420" y="248271"/>
                      </a:cubicBezTo>
                      <a:cubicBezTo>
                        <a:pt x="496420" y="358856"/>
                        <a:pt x="423935" y="452582"/>
                        <a:pt x="323827" y="484396"/>
                      </a:cubicBezTo>
                      <a:lnTo>
                        <a:pt x="346973" y="524496"/>
                      </a:lnTo>
                      <a:lnTo>
                        <a:pt x="420220" y="524496"/>
                      </a:lnTo>
                      <a:lnTo>
                        <a:pt x="420220" y="543546"/>
                      </a:lnTo>
                      <a:lnTo>
                        <a:pt x="77320" y="543546"/>
                      </a:lnTo>
                      <a:lnTo>
                        <a:pt x="77320" y="524496"/>
                      </a:lnTo>
                      <a:lnTo>
                        <a:pt x="150567" y="524496"/>
                      </a:lnTo>
                      <a:lnTo>
                        <a:pt x="173713" y="484396"/>
                      </a:lnTo>
                      <a:cubicBezTo>
                        <a:pt x="73605" y="452582"/>
                        <a:pt x="1120" y="358856"/>
                        <a:pt x="1120" y="248271"/>
                      </a:cubicBezTo>
                      <a:cubicBezTo>
                        <a:pt x="1120" y="111492"/>
                        <a:pt x="111991" y="621"/>
                        <a:pt x="248770" y="621"/>
                      </a:cubicBezTo>
                      <a:close/>
                      <a:moveTo>
                        <a:pt x="192763" y="489539"/>
                      </a:moveTo>
                      <a:lnTo>
                        <a:pt x="172570" y="524496"/>
                      </a:lnTo>
                      <a:lnTo>
                        <a:pt x="324970" y="524496"/>
                      </a:lnTo>
                      <a:lnTo>
                        <a:pt x="304777" y="489539"/>
                      </a:lnTo>
                      <a:cubicBezTo>
                        <a:pt x="286775" y="493730"/>
                        <a:pt x="268010" y="495921"/>
                        <a:pt x="248770" y="495921"/>
                      </a:cubicBezTo>
                      <a:cubicBezTo>
                        <a:pt x="229530" y="495921"/>
                        <a:pt x="210765" y="493730"/>
                        <a:pt x="192763" y="489539"/>
                      </a:cubicBezTo>
                      <a:close/>
                      <a:moveTo>
                        <a:pt x="248770" y="143496"/>
                      </a:moveTo>
                      <a:cubicBezTo>
                        <a:pt x="190858" y="143496"/>
                        <a:pt x="143995" y="190359"/>
                        <a:pt x="143995" y="248271"/>
                      </a:cubicBezTo>
                      <a:cubicBezTo>
                        <a:pt x="143995" y="306183"/>
                        <a:pt x="190858" y="353046"/>
                        <a:pt x="248770" y="353046"/>
                      </a:cubicBezTo>
                      <a:cubicBezTo>
                        <a:pt x="306682" y="353046"/>
                        <a:pt x="353545" y="306183"/>
                        <a:pt x="353545" y="248271"/>
                      </a:cubicBezTo>
                      <a:cubicBezTo>
                        <a:pt x="353545" y="190359"/>
                        <a:pt x="306682" y="143496"/>
                        <a:pt x="248770" y="143496"/>
                      </a:cubicBezTo>
                      <a:close/>
                      <a:moveTo>
                        <a:pt x="367833" y="114921"/>
                      </a:moveTo>
                      <a:cubicBezTo>
                        <a:pt x="359927" y="114921"/>
                        <a:pt x="353545" y="121303"/>
                        <a:pt x="353545" y="129209"/>
                      </a:cubicBezTo>
                      <a:cubicBezTo>
                        <a:pt x="353545" y="137114"/>
                        <a:pt x="359927" y="143496"/>
                        <a:pt x="367833" y="143496"/>
                      </a:cubicBezTo>
                      <a:cubicBezTo>
                        <a:pt x="375738" y="143496"/>
                        <a:pt x="382120" y="137114"/>
                        <a:pt x="382120" y="129209"/>
                      </a:cubicBezTo>
                      <a:cubicBezTo>
                        <a:pt x="382120" y="121303"/>
                        <a:pt x="375738" y="114921"/>
                        <a:pt x="367833" y="11492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zh-CN" altLang="en-US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72" name="文本框 71"/>
                <p:cNvSpPr txBox="1"/>
                <p:nvPr/>
              </p:nvSpPr>
              <p:spPr>
                <a:xfrm>
                  <a:off x="6517356" y="2477983"/>
                  <a:ext cx="4026390" cy="1208019"/>
                </a:xfrm>
                <a:prstGeom prst="rect">
                  <a:avLst/>
                </a:prstGeom>
              </p:spPr>
              <p:txBody>
                <a:bodyPr wrap="square" rtlCol="0" anchor="t" anchorCtr="0">
                  <a:normAutofit/>
                </a:bodyPr>
                <a:lstStyle>
                  <a:defPPr>
                    <a:defRPr lang="zh-CN"/>
                  </a:defPPr>
                  <a:lvl1pPr>
                    <a:lnSpc>
                      <a:spcPts val="1500"/>
                    </a:lnSpc>
                    <a:defRPr sz="1200"/>
                  </a:lvl1pPr>
                </a:lstStyle>
                <a:p>
                  <a:pPr marL="171450" indent="-171450" algn="r">
                    <a:lnSpc>
                      <a:spcPct val="120000"/>
                    </a:lnSpc>
                    <a:buFont typeface="Arial" panose="020B0604020202090204" pitchFamily="34" charset="0"/>
                    <a:buChar char="•"/>
                  </a:pPr>
                  <a:r>
                    <a:rPr lang="zh-CN" altLang="en-US" dirty="0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语音</a:t>
                  </a:r>
                  <a:endParaRPr lang="zh-CN" altLang="en-US" dirty="0">
                    <a:latin typeface="华文楷体" panose="02010600040101010101" pitchFamily="2" charset="-122"/>
                    <a:ea typeface="华文楷体" panose="02010600040101010101" pitchFamily="2" charset="-122"/>
                  </a:endParaRPr>
                </a:p>
                <a:p>
                  <a:pPr marL="171450" indent="-171450" algn="r">
                    <a:lnSpc>
                      <a:spcPct val="120000"/>
                    </a:lnSpc>
                    <a:buFont typeface="Arial" panose="020B0604020202090204" pitchFamily="34" charset="0"/>
                    <a:buChar char="•"/>
                  </a:pPr>
                  <a:r>
                    <a:rPr lang="zh-CN" altLang="en-US" dirty="0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图像</a:t>
                  </a:r>
                  <a:endParaRPr lang="zh-CN" altLang="en-US" dirty="0">
                    <a:latin typeface="华文楷体" panose="02010600040101010101" pitchFamily="2" charset="-122"/>
                    <a:ea typeface="华文楷体" panose="02010600040101010101" pitchFamily="2" charset="-122"/>
                  </a:endParaRPr>
                </a:p>
                <a:p>
                  <a:pPr marL="171450" indent="-171450" algn="r">
                    <a:lnSpc>
                      <a:spcPct val="120000"/>
                    </a:lnSpc>
                    <a:buFont typeface="Arial" panose="020B0604020202090204" pitchFamily="34" charset="0"/>
                    <a:buChar char="•"/>
                  </a:pPr>
                  <a:r>
                    <a:rPr lang="zh-CN" altLang="en-US" dirty="0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文本</a:t>
                  </a:r>
                  <a:endParaRPr lang="zh-CN" altLang="en-US" dirty="0">
                    <a:latin typeface="华文楷体" panose="02010600040101010101" pitchFamily="2" charset="-122"/>
                    <a:ea typeface="华文楷体" panose="02010600040101010101" pitchFamily="2" charset="-122"/>
                  </a:endParaRPr>
                </a:p>
              </p:txBody>
            </p:sp>
            <p:sp>
              <p:nvSpPr>
                <p:cNvPr id="73" name="文本框 72"/>
                <p:cNvSpPr txBox="1"/>
                <p:nvPr/>
              </p:nvSpPr>
              <p:spPr>
                <a:xfrm>
                  <a:off x="6517355" y="1592610"/>
                  <a:ext cx="4026390" cy="868924"/>
                </a:xfrm>
                <a:prstGeom prst="rect">
                  <a:avLst/>
                </a:prstGeom>
                <a:noFill/>
              </p:spPr>
              <p:txBody>
                <a:bodyPr wrap="square" rtlCol="0" anchor="b" anchorCtr="0">
                  <a:normAutofit/>
                </a:bodyPr>
                <a:lstStyle/>
                <a:p>
                  <a:pPr algn="r"/>
                  <a:r>
                    <a:rPr lang="zh-CN" altLang="en-US" b="1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非结构化数据</a:t>
                  </a:r>
                  <a:endParaRPr lang="zh-CN" altLang="en-US" b="1" dirty="0">
                    <a:latin typeface="华文楷体" panose="02010600040101010101" pitchFamily="2" charset="-122"/>
                    <a:ea typeface="华文楷体" panose="02010600040101010101" pitchFamily="2" charset="-122"/>
                  </a:endParaRPr>
                </a:p>
              </p:txBody>
            </p:sp>
          </p:grpSp>
        </p:grpSp>
      </p:grp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群策群力：</a:t>
            </a:r>
            <a:r>
              <a:rPr 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机构一线专家信息萃取</a:t>
            </a:r>
            <a:endParaRPr lang="zh-CN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938530" y="1058545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sz="1800" dirty="0" smtClean="0"/>
              <a:t>组织机构一线专家头脑风暴</a:t>
            </a:r>
            <a:endParaRPr lang="zh-CN" altLang="en-US" sz="1800" dirty="0" smtClean="0"/>
          </a:p>
        </p:txBody>
      </p:sp>
      <p:grpSp>
        <p:nvGrpSpPr>
          <p:cNvPr id="3" name="组合 2"/>
          <p:cNvGrpSpPr/>
          <p:nvPr/>
        </p:nvGrpSpPr>
        <p:grpSpPr>
          <a:xfrm>
            <a:off x="450215" y="995045"/>
            <a:ext cx="389255" cy="427990"/>
            <a:chOff x="450391" y="1977754"/>
            <a:chExt cx="465233" cy="511985"/>
          </a:xfrm>
        </p:grpSpPr>
        <p:sp>
          <p:nvSpPr>
            <p:cNvPr id="488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89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0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1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2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3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5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50" name="任意多边形: 形状 49"/>
          <p:cNvSpPr/>
          <p:nvPr/>
        </p:nvSpPr>
        <p:spPr>
          <a:xfrm>
            <a:off x="1012190" y="1398270"/>
            <a:ext cx="10856595" cy="2537460"/>
          </a:xfrm>
          <a:custGeom>
            <a:avLst/>
            <a:gdLst>
              <a:gd name="connsiteX0" fmla="*/ 496 w 11498735"/>
              <a:gd name="connsiteY0" fmla="*/ 272 h 2688161"/>
              <a:gd name="connsiteX1" fmla="*/ 10216015 w 11498735"/>
              <a:gd name="connsiteY1" fmla="*/ 272 h 2688161"/>
              <a:gd name="connsiteX2" fmla="*/ 11499232 w 11498735"/>
              <a:gd name="connsiteY2" fmla="*/ 1283362 h 2688161"/>
              <a:gd name="connsiteX3" fmla="*/ 10216015 w 11498735"/>
              <a:gd name="connsiteY3" fmla="*/ 2566578 h 2688161"/>
              <a:gd name="connsiteX4" fmla="*/ 3224388 w 11498735"/>
              <a:gd name="connsiteY4" fmla="*/ 2566578 h 2688161"/>
              <a:gd name="connsiteX5" fmla="*/ 3224388 w 11498735"/>
              <a:gd name="connsiteY5" fmla="*/ 2688433 h 2688161"/>
              <a:gd name="connsiteX6" fmla="*/ 2615747 w 11498735"/>
              <a:gd name="connsiteY6" fmla="*/ 2335422 h 2688161"/>
              <a:gd name="connsiteX7" fmla="*/ 3224388 w 11498735"/>
              <a:gd name="connsiteY7" fmla="*/ 1982410 h 2688161"/>
              <a:gd name="connsiteX8" fmla="*/ 3224388 w 11498735"/>
              <a:gd name="connsiteY8" fmla="*/ 2160945 h 2688161"/>
              <a:gd name="connsiteX9" fmla="*/ 10216015 w 11498735"/>
              <a:gd name="connsiteY9" fmla="*/ 2160945 h 2688161"/>
              <a:gd name="connsiteX10" fmla="*/ 11094105 w 11498735"/>
              <a:gd name="connsiteY10" fmla="*/ 1282854 h 2688161"/>
              <a:gd name="connsiteX11" fmla="*/ 10216015 w 11498735"/>
              <a:gd name="connsiteY11" fmla="*/ 404764 h 2688161"/>
              <a:gd name="connsiteX12" fmla="*/ 496 w 11498735"/>
              <a:gd name="connsiteY12" fmla="*/ 404764 h 2688161"/>
              <a:gd name="connsiteX13" fmla="*/ 496 w 11498735"/>
              <a:gd name="connsiteY13" fmla="*/ 272 h 2688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1498735" h="2688161">
                <a:moveTo>
                  <a:pt x="496" y="272"/>
                </a:moveTo>
                <a:lnTo>
                  <a:pt x="10216015" y="272"/>
                </a:lnTo>
                <a:cubicBezTo>
                  <a:pt x="10924345" y="1046"/>
                  <a:pt x="11498395" y="575031"/>
                  <a:pt x="11499232" y="1283362"/>
                </a:cubicBezTo>
                <a:cubicBezTo>
                  <a:pt x="11498395" y="1991718"/>
                  <a:pt x="10924371" y="2565740"/>
                  <a:pt x="10216015" y="2566578"/>
                </a:cubicBezTo>
                <a:lnTo>
                  <a:pt x="3224388" y="2566578"/>
                </a:lnTo>
                <a:lnTo>
                  <a:pt x="3224388" y="2688433"/>
                </a:lnTo>
                <a:lnTo>
                  <a:pt x="2615747" y="2335422"/>
                </a:lnTo>
                <a:lnTo>
                  <a:pt x="3224388" y="1982410"/>
                </a:lnTo>
                <a:lnTo>
                  <a:pt x="3224388" y="2160945"/>
                </a:lnTo>
                <a:lnTo>
                  <a:pt x="10216015" y="2160945"/>
                </a:lnTo>
                <a:cubicBezTo>
                  <a:pt x="10700772" y="2160450"/>
                  <a:pt x="11093611" y="1767611"/>
                  <a:pt x="11094105" y="1282854"/>
                </a:cubicBezTo>
                <a:cubicBezTo>
                  <a:pt x="11093611" y="798098"/>
                  <a:pt x="10700772" y="405259"/>
                  <a:pt x="10216015" y="404764"/>
                </a:cubicBezTo>
                <a:lnTo>
                  <a:pt x="496" y="404764"/>
                </a:lnTo>
                <a:lnTo>
                  <a:pt x="496" y="272"/>
                </a:lnTo>
                <a:close/>
              </a:path>
            </a:pathLst>
          </a:custGeom>
          <a:solidFill>
            <a:schemeClr val="tx2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grpSp>
        <p:nvGrpSpPr>
          <p:cNvPr id="72" name="组合 71"/>
          <p:cNvGrpSpPr/>
          <p:nvPr/>
        </p:nvGrpSpPr>
        <p:grpSpPr>
          <a:xfrm rot="0">
            <a:off x="1183005" y="2001520"/>
            <a:ext cx="1859280" cy="1073785"/>
            <a:chOff x="791568" y="2833979"/>
            <a:chExt cx="1968727" cy="1137178"/>
          </a:xfrm>
        </p:grpSpPr>
        <p:sp>
          <p:nvSpPr>
            <p:cNvPr id="62" name="文本框 61"/>
            <p:cNvSpPr txBox="1"/>
            <p:nvPr/>
          </p:nvSpPr>
          <p:spPr>
            <a:xfrm>
              <a:off x="801604" y="2833979"/>
              <a:ext cx="1958691" cy="3248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 b="1" dirty="0">
                  <a:latin typeface="+mn-ea"/>
                </a:rPr>
                <a:t>明确问题和目标</a:t>
              </a:r>
              <a:endParaRPr lang="zh-CN" altLang="en-US" sz="1400" b="1" dirty="0">
                <a:latin typeface="+mn-ea"/>
              </a:endParaRPr>
            </a:p>
          </p:txBody>
        </p:sp>
        <p:sp>
          <p:nvSpPr>
            <p:cNvPr id="63" name="文本框 62"/>
            <p:cNvSpPr txBox="1"/>
            <p:nvPr/>
          </p:nvSpPr>
          <p:spPr>
            <a:xfrm>
              <a:off x="791568" y="3203175"/>
              <a:ext cx="1958853" cy="767982"/>
            </a:xfrm>
            <a:prstGeom prst="rect">
              <a:avLst/>
            </a:prstGeom>
            <a:ln>
              <a:noFill/>
            </a:ln>
          </p:spPr>
          <p:txBody>
            <a:bodyPr wrap="square" lIns="90000" tIns="46800" rIns="90000" bIns="46800" anchor="t">
              <a:noAutofit/>
            </a:bodyPr>
            <a:lstStyle>
              <a:defPPr>
                <a:defRPr lang="zh-CN"/>
              </a:defPPr>
              <a:lvl1pPr algn="ctr">
                <a:lnSpc>
                  <a:spcPct val="150000"/>
                </a:lnSpc>
                <a:defRPr sz="1000">
                  <a:solidFill>
                    <a:schemeClr val="tx1">
                      <a:lumMod val="85000"/>
                      <a:lumOff val="15000"/>
                    </a:schemeClr>
                  </a:solidFill>
                </a:defRPr>
              </a:lvl1pPr>
            </a:lstStyle>
            <a:p>
              <a:pPr algn="l">
                <a:lnSpc>
                  <a:spcPct val="130000"/>
                </a:lnSpc>
              </a:pPr>
              <a:r>
                <a:rPr lang="en-GB" sz="1200"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明确讨论的问题或目标，‌确保所有参与者对讨论的主题有清晰的理解</a:t>
              </a:r>
              <a:endParaRPr lang="en-GB" sz="120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endParaRPr>
            </a:p>
          </p:txBody>
        </p:sp>
      </p:grpSp>
      <p:sp>
        <p:nvSpPr>
          <p:cNvPr id="75" name="矩形: 圆角 74"/>
          <p:cNvSpPr/>
          <p:nvPr/>
        </p:nvSpPr>
        <p:spPr>
          <a:xfrm>
            <a:off x="1833880" y="1620520"/>
            <a:ext cx="285115" cy="28448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sz="1400" dirty="0">
                <a:solidFill>
                  <a:schemeClr val="lt1">
                    <a:lumMod val="100000"/>
                  </a:schemeClr>
                </a:solidFill>
                <a:latin typeface="Calibri" panose="020F0502020204030204" pitchFamily="34" charset="0"/>
                <a:ea typeface="宋体" pitchFamily="2" charset="-122"/>
              </a:rPr>
              <a:t>1</a:t>
            </a:r>
            <a:endParaRPr lang="zh-CN" altLang="en-US" sz="1400" dirty="0">
              <a:solidFill>
                <a:schemeClr val="lt1">
                  <a:lumMod val="100000"/>
                </a:schemeClr>
              </a:solidFill>
              <a:latin typeface="Calibri" panose="020F0502020204030204" pitchFamily="34" charset="0"/>
              <a:ea typeface="宋体" pitchFamily="2" charset="-122"/>
            </a:endParaRPr>
          </a:p>
        </p:txBody>
      </p:sp>
      <p:grpSp>
        <p:nvGrpSpPr>
          <p:cNvPr id="33" name="组合 32"/>
          <p:cNvGrpSpPr/>
          <p:nvPr/>
        </p:nvGrpSpPr>
        <p:grpSpPr>
          <a:xfrm rot="0">
            <a:off x="3613785" y="2001520"/>
            <a:ext cx="1849755" cy="1160230"/>
            <a:chOff x="1064070" y="2833979"/>
            <a:chExt cx="1958691" cy="1228878"/>
          </a:xfrm>
        </p:grpSpPr>
        <p:sp>
          <p:nvSpPr>
            <p:cNvPr id="36" name="文本框 35"/>
            <p:cNvSpPr txBox="1"/>
            <p:nvPr/>
          </p:nvSpPr>
          <p:spPr>
            <a:xfrm>
              <a:off x="1064070" y="2833979"/>
              <a:ext cx="1958691" cy="3248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latin typeface="华文楷体" panose="02010600040101010101" pitchFamily="2" charset="-122"/>
                  <a:ea typeface="华文楷体" panose="02010600040101010101" pitchFamily="2" charset="-122"/>
                </a:rPr>
                <a:t>组建团队</a:t>
              </a:r>
              <a:endParaRPr lang="en-US" sz="1400" b="1" dirty="0">
                <a:latin typeface="华文楷体" panose="02010600040101010101" pitchFamily="2" charset="-122"/>
                <a:ea typeface="华文楷体" panose="02010600040101010101" pitchFamily="2" charset="-122"/>
              </a:endParaRPr>
            </a:p>
          </p:txBody>
        </p:sp>
        <p:sp>
          <p:nvSpPr>
            <p:cNvPr id="37" name="文本框 36"/>
            <p:cNvSpPr txBox="1"/>
            <p:nvPr/>
          </p:nvSpPr>
          <p:spPr>
            <a:xfrm>
              <a:off x="1064070" y="3203311"/>
              <a:ext cx="1958691" cy="859546"/>
            </a:xfrm>
            <a:prstGeom prst="rect">
              <a:avLst/>
            </a:prstGeom>
            <a:ln>
              <a:noFill/>
            </a:ln>
          </p:spPr>
          <p:txBody>
            <a:bodyPr wrap="square" lIns="90000" tIns="46800" rIns="90000" bIns="46800" anchor="t">
              <a:spAutoFit/>
            </a:bodyPr>
            <a:lstStyle>
              <a:defPPr>
                <a:defRPr lang="zh-CN"/>
              </a:defPPr>
              <a:lvl1pPr algn="ctr">
                <a:lnSpc>
                  <a:spcPct val="150000"/>
                </a:lnSpc>
                <a:defRPr sz="1000">
                  <a:solidFill>
                    <a:schemeClr val="tx1">
                      <a:lumMod val="85000"/>
                      <a:lumOff val="15000"/>
                    </a:schemeClr>
                  </a:solidFill>
                </a:defRPr>
              </a:lvl1pPr>
            </a:lstStyle>
            <a:p>
              <a:pPr algn="l">
                <a:lnSpc>
                  <a:spcPct val="130000"/>
                </a:lnSpc>
              </a:pPr>
              <a:r>
                <a:rPr lang="zh-CN" altLang="en-US" sz="1200" dirty="0"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选择典型机构，组建</a:t>
              </a:r>
              <a:r>
                <a:rPr lang="en-US" altLang="zh-CN" sz="1200" dirty="0"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10</a:t>
              </a:r>
              <a:r>
                <a:rPr lang="zh-CN" altLang="en-US" sz="1200" dirty="0"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人左右专岗团队，尽可能专业背景多样化</a:t>
              </a:r>
              <a:endParaRPr lang="zh-CN" altLang="en-US" sz="1200" dirty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endParaRPr>
            </a:p>
          </p:txBody>
        </p:sp>
      </p:grpSp>
      <p:sp>
        <p:nvSpPr>
          <p:cNvPr id="35" name="矩形: 圆角 34"/>
          <p:cNvSpPr/>
          <p:nvPr/>
        </p:nvSpPr>
        <p:spPr>
          <a:xfrm>
            <a:off x="4283075" y="1620520"/>
            <a:ext cx="285115" cy="284480"/>
          </a:xfrm>
          <a:prstGeom prst="roundRect">
            <a:avLst>
              <a:gd name="adj" fmla="val 50000"/>
            </a:avLst>
          </a:prstGeom>
          <a:solidFill>
            <a:srgbClr val="778495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sz="1400" dirty="0">
                <a:solidFill>
                  <a:schemeClr val="lt1">
                    <a:lumMod val="100000"/>
                  </a:schemeClr>
                </a:solidFill>
                <a:latin typeface="Calibri" panose="020F0502020204030204" pitchFamily="34" charset="0"/>
                <a:ea typeface="宋体" pitchFamily="2" charset="-122"/>
              </a:rPr>
              <a:t>2</a:t>
            </a:r>
            <a:endParaRPr lang="zh-CN" altLang="en-US" sz="1400" dirty="0">
              <a:solidFill>
                <a:schemeClr val="lt1">
                  <a:lumMod val="100000"/>
                </a:schemeClr>
              </a:solidFill>
              <a:latin typeface="Calibri" panose="020F0502020204030204" pitchFamily="34" charset="0"/>
              <a:ea typeface="宋体" pitchFamily="2" charset="-122"/>
            </a:endParaRPr>
          </a:p>
        </p:txBody>
      </p:sp>
      <p:grpSp>
        <p:nvGrpSpPr>
          <p:cNvPr id="39" name="组合 38"/>
          <p:cNvGrpSpPr/>
          <p:nvPr/>
        </p:nvGrpSpPr>
        <p:grpSpPr>
          <a:xfrm rot="0">
            <a:off x="6062980" y="2001520"/>
            <a:ext cx="1849755" cy="1160230"/>
            <a:chOff x="1064070" y="2833979"/>
            <a:chExt cx="1958691" cy="1228878"/>
          </a:xfrm>
        </p:grpSpPr>
        <p:sp>
          <p:nvSpPr>
            <p:cNvPr id="41" name="文本框 40"/>
            <p:cNvSpPr txBox="1"/>
            <p:nvPr/>
          </p:nvSpPr>
          <p:spPr>
            <a:xfrm>
              <a:off x="1064070" y="2833979"/>
              <a:ext cx="1958691" cy="3248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latin typeface="华文楷体" panose="02010600040101010101" pitchFamily="2" charset="-122"/>
                  <a:ea typeface="华文楷体" panose="02010600040101010101" pitchFamily="2" charset="-122"/>
                </a:rPr>
                <a:t>热身活动</a:t>
              </a:r>
              <a:endParaRPr lang="en-US" sz="1400" b="1" dirty="0">
                <a:latin typeface="华文楷体" panose="02010600040101010101" pitchFamily="2" charset="-122"/>
                <a:ea typeface="华文楷体" panose="02010600040101010101" pitchFamily="2" charset="-122"/>
              </a:endParaRPr>
            </a:p>
          </p:txBody>
        </p:sp>
        <p:sp>
          <p:nvSpPr>
            <p:cNvPr id="42" name="文本框 41"/>
            <p:cNvSpPr txBox="1"/>
            <p:nvPr/>
          </p:nvSpPr>
          <p:spPr>
            <a:xfrm>
              <a:off x="1064070" y="3203311"/>
              <a:ext cx="1958691" cy="859546"/>
            </a:xfrm>
            <a:prstGeom prst="rect">
              <a:avLst/>
            </a:prstGeom>
            <a:ln>
              <a:noFill/>
            </a:ln>
          </p:spPr>
          <p:txBody>
            <a:bodyPr wrap="square" lIns="90000" tIns="46800" rIns="90000" bIns="46800" anchor="t">
              <a:spAutoFit/>
            </a:bodyPr>
            <a:lstStyle>
              <a:defPPr>
                <a:defRPr lang="zh-CN"/>
              </a:defPPr>
              <a:lvl1pPr algn="ctr">
                <a:lnSpc>
                  <a:spcPct val="150000"/>
                </a:lnSpc>
                <a:defRPr sz="1000">
                  <a:solidFill>
                    <a:schemeClr val="tx1">
                      <a:lumMod val="85000"/>
                      <a:lumOff val="15000"/>
                    </a:schemeClr>
                  </a:solidFill>
                </a:defRPr>
              </a:lvl1pPr>
            </a:lstStyle>
            <a:p>
              <a:pPr algn="l">
                <a:lnSpc>
                  <a:spcPct val="130000"/>
                </a:lnSpc>
              </a:pPr>
              <a:r>
                <a:rPr lang="en-GB" sz="1200"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如简单的讨论或交流，‌以帮助成员放松并进入状态</a:t>
              </a:r>
              <a:endParaRPr lang="en-GB" sz="120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endParaRPr>
            </a:p>
          </p:txBody>
        </p:sp>
      </p:grpSp>
      <p:sp>
        <p:nvSpPr>
          <p:cNvPr id="40" name="矩形: 圆角 39"/>
          <p:cNvSpPr/>
          <p:nvPr/>
        </p:nvSpPr>
        <p:spPr>
          <a:xfrm>
            <a:off x="6732270" y="1620520"/>
            <a:ext cx="285115" cy="28448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sz="1400" dirty="0">
                <a:solidFill>
                  <a:schemeClr val="lt1">
                    <a:lumMod val="100000"/>
                  </a:schemeClr>
                </a:solidFill>
                <a:latin typeface="Calibri" panose="020F0502020204030204" pitchFamily="34" charset="0"/>
                <a:ea typeface="宋体" pitchFamily="2" charset="-122"/>
              </a:rPr>
              <a:t>3</a:t>
            </a:r>
            <a:endParaRPr lang="zh-CN" altLang="en-US" sz="1400" dirty="0">
              <a:solidFill>
                <a:schemeClr val="lt1">
                  <a:lumMod val="100000"/>
                </a:schemeClr>
              </a:solidFill>
              <a:latin typeface="Calibri" panose="020F0502020204030204" pitchFamily="34" charset="0"/>
              <a:ea typeface="宋体" pitchFamily="2" charset="-122"/>
            </a:endParaRPr>
          </a:p>
        </p:txBody>
      </p:sp>
      <p:grpSp>
        <p:nvGrpSpPr>
          <p:cNvPr id="44" name="组合 43"/>
          <p:cNvGrpSpPr/>
          <p:nvPr/>
        </p:nvGrpSpPr>
        <p:grpSpPr>
          <a:xfrm rot="0">
            <a:off x="8512175" y="2001520"/>
            <a:ext cx="1849755" cy="920835"/>
            <a:chOff x="1064070" y="2833979"/>
            <a:chExt cx="1958691" cy="975319"/>
          </a:xfrm>
        </p:grpSpPr>
        <p:sp>
          <p:nvSpPr>
            <p:cNvPr id="46" name="文本框 45"/>
            <p:cNvSpPr txBox="1"/>
            <p:nvPr/>
          </p:nvSpPr>
          <p:spPr>
            <a:xfrm>
              <a:off x="1064070" y="2833979"/>
              <a:ext cx="1958691" cy="3248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latin typeface="华文楷体" panose="02010600040101010101" pitchFamily="2" charset="-122"/>
                  <a:ea typeface="华文楷体" panose="02010600040101010101" pitchFamily="2" charset="-122"/>
                </a:rPr>
                <a:t>发表意见</a:t>
              </a:r>
              <a:endParaRPr lang="en-US" sz="1400" b="1" dirty="0">
                <a:latin typeface="华文楷体" panose="02010600040101010101" pitchFamily="2" charset="-122"/>
                <a:ea typeface="华文楷体" panose="02010600040101010101" pitchFamily="2" charset="-122"/>
              </a:endParaRPr>
            </a:p>
          </p:txBody>
        </p:sp>
        <p:sp>
          <p:nvSpPr>
            <p:cNvPr id="47" name="文本框 46"/>
            <p:cNvSpPr txBox="1"/>
            <p:nvPr/>
          </p:nvSpPr>
          <p:spPr>
            <a:xfrm>
              <a:off x="1064070" y="3203311"/>
              <a:ext cx="1958691" cy="605987"/>
            </a:xfrm>
            <a:prstGeom prst="rect">
              <a:avLst/>
            </a:prstGeom>
            <a:ln>
              <a:noFill/>
            </a:ln>
          </p:spPr>
          <p:txBody>
            <a:bodyPr wrap="square" lIns="90000" tIns="46800" rIns="90000" bIns="46800" anchor="t">
              <a:spAutoFit/>
            </a:bodyPr>
            <a:lstStyle>
              <a:defPPr>
                <a:defRPr lang="zh-CN"/>
              </a:defPPr>
              <a:lvl1pPr algn="ctr">
                <a:lnSpc>
                  <a:spcPct val="150000"/>
                </a:lnSpc>
                <a:defRPr sz="1000">
                  <a:solidFill>
                    <a:schemeClr val="tx1">
                      <a:lumMod val="85000"/>
                      <a:lumOff val="15000"/>
                    </a:schemeClr>
                  </a:solidFill>
                </a:defRPr>
              </a:lvl1pPr>
            </a:lstStyle>
            <a:p>
              <a:pPr algn="l">
                <a:lnSpc>
                  <a:spcPct val="130000"/>
                </a:lnSpc>
              </a:pPr>
              <a:r>
                <a:rPr lang="zh-CN" altLang="en-GB" sz="1200" dirty="0">
                  <a:latin typeface="华文楷体" panose="02010600040101010101" pitchFamily="2" charset="-122"/>
                  <a:ea typeface="华文楷体" panose="02010600040101010101" pitchFamily="2" charset="-122"/>
                </a:rPr>
                <a:t>每个成员可发表意见，保持所有想法可见性</a:t>
              </a:r>
              <a:endParaRPr lang="zh-CN" altLang="en-GB" sz="1200" dirty="0">
                <a:latin typeface="华文楷体" panose="02010600040101010101" pitchFamily="2" charset="-122"/>
                <a:ea typeface="华文楷体" panose="02010600040101010101" pitchFamily="2" charset="-122"/>
              </a:endParaRPr>
            </a:p>
          </p:txBody>
        </p:sp>
      </p:grpSp>
      <p:sp>
        <p:nvSpPr>
          <p:cNvPr id="45" name="矩形: 圆角 44"/>
          <p:cNvSpPr/>
          <p:nvPr/>
        </p:nvSpPr>
        <p:spPr>
          <a:xfrm>
            <a:off x="9181465" y="1620520"/>
            <a:ext cx="285115" cy="284480"/>
          </a:xfrm>
          <a:prstGeom prst="roundRect">
            <a:avLst>
              <a:gd name="adj" fmla="val 50000"/>
            </a:avLst>
          </a:prstGeom>
          <a:solidFill>
            <a:srgbClr val="778495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sz="1400" dirty="0">
                <a:solidFill>
                  <a:schemeClr val="lt1">
                    <a:lumMod val="100000"/>
                  </a:schemeClr>
                </a:solidFill>
                <a:latin typeface="Calibri" panose="020F0502020204030204" pitchFamily="34" charset="0"/>
                <a:ea typeface="宋体" pitchFamily="2" charset="-122"/>
              </a:rPr>
              <a:t>4</a:t>
            </a:r>
            <a:endParaRPr lang="zh-CN" altLang="en-US" sz="1400" dirty="0">
              <a:solidFill>
                <a:schemeClr val="lt1">
                  <a:lumMod val="100000"/>
                </a:schemeClr>
              </a:solidFill>
              <a:latin typeface="Calibri" panose="020F0502020204030204" pitchFamily="34" charset="0"/>
              <a:ea typeface="宋体" pitchFamily="2" charset="-122"/>
            </a:endParaRPr>
          </a:p>
        </p:txBody>
      </p:sp>
      <p:grpSp>
        <p:nvGrpSpPr>
          <p:cNvPr id="52" name="组合 51"/>
          <p:cNvGrpSpPr/>
          <p:nvPr/>
        </p:nvGrpSpPr>
        <p:grpSpPr>
          <a:xfrm rot="0">
            <a:off x="3699510" y="4076065"/>
            <a:ext cx="1849755" cy="1160230"/>
            <a:chOff x="1064070" y="2833979"/>
            <a:chExt cx="1958691" cy="1228878"/>
          </a:xfrm>
        </p:grpSpPr>
        <p:sp>
          <p:nvSpPr>
            <p:cNvPr id="54" name="文本框 53"/>
            <p:cNvSpPr txBox="1"/>
            <p:nvPr/>
          </p:nvSpPr>
          <p:spPr>
            <a:xfrm>
              <a:off x="1064070" y="2833979"/>
              <a:ext cx="1958691" cy="3248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latin typeface="华文楷体" panose="02010600040101010101" pitchFamily="2" charset="-122"/>
                  <a:ea typeface="华文楷体" panose="02010600040101010101" pitchFamily="2" charset="-122"/>
                </a:rPr>
                <a:t>评价和筛选</a:t>
              </a:r>
              <a:endParaRPr lang="en-US" sz="1400" b="1" dirty="0">
                <a:latin typeface="华文楷体" panose="02010600040101010101" pitchFamily="2" charset="-122"/>
                <a:ea typeface="华文楷体" panose="02010600040101010101" pitchFamily="2" charset="-122"/>
              </a:endParaRPr>
            </a:p>
          </p:txBody>
        </p:sp>
        <p:sp>
          <p:nvSpPr>
            <p:cNvPr id="55" name="文本框 54"/>
            <p:cNvSpPr txBox="1"/>
            <p:nvPr/>
          </p:nvSpPr>
          <p:spPr>
            <a:xfrm>
              <a:off x="1064070" y="3203311"/>
              <a:ext cx="1958691" cy="859546"/>
            </a:xfrm>
            <a:prstGeom prst="rect">
              <a:avLst/>
            </a:prstGeom>
            <a:ln>
              <a:noFill/>
            </a:ln>
          </p:spPr>
          <p:txBody>
            <a:bodyPr wrap="square" lIns="90000" tIns="46800" rIns="90000" bIns="46800" anchor="t">
              <a:spAutoFit/>
            </a:bodyPr>
            <a:lstStyle>
              <a:defPPr>
                <a:defRPr lang="zh-CN"/>
              </a:defPPr>
              <a:lvl1pPr algn="ctr">
                <a:lnSpc>
                  <a:spcPct val="150000"/>
                </a:lnSpc>
                <a:defRPr sz="1000">
                  <a:solidFill>
                    <a:schemeClr val="tx1">
                      <a:lumMod val="85000"/>
                      <a:lumOff val="15000"/>
                    </a:schemeClr>
                  </a:solidFill>
                </a:defRPr>
              </a:lvl1pPr>
            </a:lstStyle>
            <a:p>
              <a:pPr algn="l">
                <a:lnSpc>
                  <a:spcPct val="130000"/>
                </a:lnSpc>
              </a:pPr>
              <a:r>
                <a:rPr lang="en-GB" sz="1200"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可以对提出的想法进行鉴别和评价，‌选择可行的解决方案</a:t>
              </a:r>
              <a:r>
                <a:rPr lang="zh-CN" altLang="en-GB" sz="1200"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再讨论</a:t>
              </a:r>
              <a:endParaRPr lang="zh-CN" altLang="en-GB" sz="120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endParaRPr>
            </a:p>
          </p:txBody>
        </p:sp>
      </p:grpSp>
      <p:sp>
        <p:nvSpPr>
          <p:cNvPr id="53" name="矩形: 圆角 52"/>
          <p:cNvSpPr/>
          <p:nvPr/>
        </p:nvSpPr>
        <p:spPr>
          <a:xfrm>
            <a:off x="4283075" y="3695065"/>
            <a:ext cx="285115" cy="28448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sz="1400" dirty="0">
                <a:solidFill>
                  <a:schemeClr val="lt1">
                    <a:lumMod val="100000"/>
                  </a:schemeClr>
                </a:solidFill>
                <a:latin typeface="Calibri" panose="020F0502020204030204" pitchFamily="34" charset="0"/>
                <a:ea typeface="宋体" pitchFamily="2" charset="-122"/>
              </a:rPr>
              <a:t>7</a:t>
            </a:r>
            <a:endParaRPr lang="zh-CN" altLang="en-US" sz="1400" dirty="0">
              <a:solidFill>
                <a:schemeClr val="lt1">
                  <a:lumMod val="100000"/>
                </a:schemeClr>
              </a:solidFill>
              <a:latin typeface="Calibri" panose="020F0502020204030204" pitchFamily="34" charset="0"/>
              <a:ea typeface="宋体" pitchFamily="2" charset="-122"/>
            </a:endParaRPr>
          </a:p>
        </p:txBody>
      </p:sp>
      <p:grpSp>
        <p:nvGrpSpPr>
          <p:cNvPr id="57" name="组合 56"/>
          <p:cNvGrpSpPr/>
          <p:nvPr/>
        </p:nvGrpSpPr>
        <p:grpSpPr>
          <a:xfrm rot="0">
            <a:off x="6148705" y="4076065"/>
            <a:ext cx="1849755" cy="1400260"/>
            <a:chOff x="1064070" y="2833979"/>
            <a:chExt cx="1958691" cy="1483110"/>
          </a:xfrm>
        </p:grpSpPr>
        <p:sp>
          <p:nvSpPr>
            <p:cNvPr id="59" name="文本框 58"/>
            <p:cNvSpPr txBox="1"/>
            <p:nvPr/>
          </p:nvSpPr>
          <p:spPr>
            <a:xfrm>
              <a:off x="1064070" y="2833979"/>
              <a:ext cx="1958691" cy="3248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latin typeface="华文楷体" panose="02010600040101010101" pitchFamily="2" charset="-122"/>
                  <a:ea typeface="华文楷体" panose="02010600040101010101" pitchFamily="2" charset="-122"/>
                </a:rPr>
                <a:t>结束头脑风暴</a:t>
              </a:r>
              <a:endParaRPr lang="en-US" sz="1400" b="1" dirty="0">
                <a:latin typeface="华文楷体" panose="02010600040101010101" pitchFamily="2" charset="-122"/>
                <a:ea typeface="华文楷体" panose="02010600040101010101" pitchFamily="2" charset="-122"/>
              </a:endParaRPr>
            </a:p>
          </p:txBody>
        </p:sp>
        <p:sp>
          <p:nvSpPr>
            <p:cNvPr id="60" name="文本框 59"/>
            <p:cNvSpPr txBox="1"/>
            <p:nvPr/>
          </p:nvSpPr>
          <p:spPr>
            <a:xfrm>
              <a:off x="1064070" y="3203311"/>
              <a:ext cx="1958691" cy="1113778"/>
            </a:xfrm>
            <a:prstGeom prst="rect">
              <a:avLst/>
            </a:prstGeom>
            <a:ln>
              <a:noFill/>
            </a:ln>
          </p:spPr>
          <p:txBody>
            <a:bodyPr wrap="square" lIns="90000" tIns="46800" rIns="90000" bIns="46800" anchor="t">
              <a:spAutoFit/>
            </a:bodyPr>
            <a:lstStyle>
              <a:defPPr>
                <a:defRPr lang="zh-CN"/>
              </a:defPPr>
              <a:lvl1pPr algn="ctr">
                <a:lnSpc>
                  <a:spcPct val="150000"/>
                </a:lnSpc>
                <a:defRPr sz="1000">
                  <a:solidFill>
                    <a:schemeClr val="tx1">
                      <a:lumMod val="85000"/>
                      <a:lumOff val="15000"/>
                    </a:schemeClr>
                  </a:solidFill>
                </a:defRPr>
              </a:lvl1pPr>
            </a:lstStyle>
            <a:p>
              <a:pPr algn="l">
                <a:lnSpc>
                  <a:spcPct val="130000"/>
                </a:lnSpc>
              </a:pPr>
              <a:r>
                <a:rPr lang="en-GB" sz="1200"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当没有新的意见产生时，‌可以结束头脑风暴，‌并对之前的想法进行解释和确认</a:t>
              </a:r>
              <a:endParaRPr lang="en-GB" sz="120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endParaRPr>
            </a:p>
          </p:txBody>
        </p:sp>
      </p:grpSp>
      <p:sp>
        <p:nvSpPr>
          <p:cNvPr id="58" name="矩形: 圆角 57"/>
          <p:cNvSpPr/>
          <p:nvPr/>
        </p:nvSpPr>
        <p:spPr>
          <a:xfrm>
            <a:off x="6732270" y="3695065"/>
            <a:ext cx="285115" cy="284480"/>
          </a:xfrm>
          <a:prstGeom prst="roundRect">
            <a:avLst>
              <a:gd name="adj" fmla="val 50000"/>
            </a:avLst>
          </a:prstGeom>
          <a:solidFill>
            <a:srgbClr val="778495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sz="1400" dirty="0">
                <a:solidFill>
                  <a:schemeClr val="lt1">
                    <a:lumMod val="100000"/>
                  </a:schemeClr>
                </a:solidFill>
                <a:latin typeface="Calibri" panose="020F0502020204030204" pitchFamily="34" charset="0"/>
                <a:ea typeface="宋体" pitchFamily="2" charset="-122"/>
              </a:rPr>
              <a:t>6</a:t>
            </a:r>
            <a:endParaRPr lang="zh-CN" altLang="en-US" sz="1400" dirty="0">
              <a:solidFill>
                <a:schemeClr val="lt1">
                  <a:lumMod val="100000"/>
                </a:schemeClr>
              </a:solidFill>
              <a:latin typeface="Calibri" panose="020F0502020204030204" pitchFamily="34" charset="0"/>
              <a:ea typeface="宋体" pitchFamily="2" charset="-122"/>
            </a:endParaRPr>
          </a:p>
        </p:txBody>
      </p:sp>
      <p:grpSp>
        <p:nvGrpSpPr>
          <p:cNvPr id="65" name="组合 64"/>
          <p:cNvGrpSpPr/>
          <p:nvPr/>
        </p:nvGrpSpPr>
        <p:grpSpPr>
          <a:xfrm rot="0">
            <a:off x="8597900" y="4076065"/>
            <a:ext cx="1849755" cy="1400260"/>
            <a:chOff x="1064070" y="2833979"/>
            <a:chExt cx="1958691" cy="1483110"/>
          </a:xfrm>
        </p:grpSpPr>
        <p:sp>
          <p:nvSpPr>
            <p:cNvPr id="67" name="文本框 66"/>
            <p:cNvSpPr txBox="1"/>
            <p:nvPr/>
          </p:nvSpPr>
          <p:spPr>
            <a:xfrm>
              <a:off x="1064070" y="2833979"/>
              <a:ext cx="1958691" cy="3248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latin typeface="华文楷体" panose="02010600040101010101" pitchFamily="2" charset="-122"/>
                  <a:ea typeface="华文楷体" panose="02010600040101010101" pitchFamily="2" charset="-122"/>
                </a:rPr>
                <a:t>激发更多观点</a:t>
              </a:r>
              <a:endParaRPr lang="en-US" sz="1400" b="1" dirty="0">
                <a:latin typeface="华文楷体" panose="02010600040101010101" pitchFamily="2" charset="-122"/>
                <a:ea typeface="华文楷体" panose="02010600040101010101" pitchFamily="2" charset="-122"/>
              </a:endParaRPr>
            </a:p>
          </p:txBody>
        </p:sp>
        <p:sp>
          <p:nvSpPr>
            <p:cNvPr id="68" name="文本框 67"/>
            <p:cNvSpPr txBox="1"/>
            <p:nvPr/>
          </p:nvSpPr>
          <p:spPr>
            <a:xfrm>
              <a:off x="1064070" y="3203311"/>
              <a:ext cx="1958691" cy="1113778"/>
            </a:xfrm>
            <a:prstGeom prst="rect">
              <a:avLst/>
            </a:prstGeom>
            <a:ln>
              <a:noFill/>
            </a:ln>
          </p:spPr>
          <p:txBody>
            <a:bodyPr wrap="square" lIns="90000" tIns="46800" rIns="90000" bIns="46800" anchor="t">
              <a:spAutoFit/>
            </a:bodyPr>
            <a:lstStyle>
              <a:defPPr>
                <a:defRPr lang="zh-CN"/>
              </a:defPPr>
              <a:lvl1pPr algn="ctr">
                <a:lnSpc>
                  <a:spcPct val="150000"/>
                </a:lnSpc>
                <a:defRPr sz="1000">
                  <a:solidFill>
                    <a:schemeClr val="tx1">
                      <a:lumMod val="85000"/>
                      <a:lumOff val="15000"/>
                    </a:schemeClr>
                  </a:solidFill>
                </a:defRPr>
              </a:lvl1pPr>
            </a:lstStyle>
            <a:p>
              <a:pPr algn="l">
                <a:lnSpc>
                  <a:spcPct val="130000"/>
                </a:lnSpc>
              </a:pPr>
              <a:r>
                <a:rPr lang="en-GB" sz="1200"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当团队成员没有新想法时，‌主持人可以通过提问或引导来激发更多的观点</a:t>
              </a:r>
              <a:endParaRPr lang="en-GB" sz="120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endParaRPr>
            </a:p>
          </p:txBody>
        </p:sp>
      </p:grpSp>
      <p:sp>
        <p:nvSpPr>
          <p:cNvPr id="66" name="矩形: 圆角 65"/>
          <p:cNvSpPr/>
          <p:nvPr/>
        </p:nvSpPr>
        <p:spPr>
          <a:xfrm>
            <a:off x="9181465" y="3695065"/>
            <a:ext cx="285115" cy="28448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sz="1400" dirty="0">
                <a:solidFill>
                  <a:schemeClr val="lt1">
                    <a:lumMod val="100000"/>
                  </a:schemeClr>
                </a:solidFill>
                <a:latin typeface="Calibri" panose="020F0502020204030204" pitchFamily="34" charset="0"/>
                <a:ea typeface="宋体" pitchFamily="2" charset="-122"/>
              </a:rPr>
              <a:t>5</a:t>
            </a:r>
            <a:endParaRPr lang="zh-CN" altLang="en-US" sz="1400" dirty="0">
              <a:solidFill>
                <a:schemeClr val="lt1">
                  <a:lumMod val="100000"/>
                </a:schemeClr>
              </a:solidFill>
              <a:latin typeface="Calibri" panose="020F0502020204030204" pitchFamily="34" charset="0"/>
              <a:ea typeface="宋体" pitchFamily="2" charset="-122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938530" y="5404485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sz="1800" dirty="0" smtClean="0"/>
              <a:t>注意事项</a:t>
            </a:r>
            <a:endParaRPr lang="zh-CN" altLang="en-US" sz="1800" dirty="0" smtClean="0"/>
          </a:p>
        </p:txBody>
      </p:sp>
      <p:grpSp>
        <p:nvGrpSpPr>
          <p:cNvPr id="16" name="组合 15"/>
          <p:cNvGrpSpPr/>
          <p:nvPr/>
        </p:nvGrpSpPr>
        <p:grpSpPr>
          <a:xfrm>
            <a:off x="450215" y="5302885"/>
            <a:ext cx="389255" cy="427990"/>
            <a:chOff x="450391" y="1977754"/>
            <a:chExt cx="465233" cy="511985"/>
          </a:xfrm>
        </p:grpSpPr>
        <p:sp>
          <p:nvSpPr>
            <p:cNvPr id="19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0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1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4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5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6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7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8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29" name="文本框 28"/>
          <p:cNvSpPr txBox="1"/>
          <p:nvPr/>
        </p:nvSpPr>
        <p:spPr>
          <a:xfrm>
            <a:off x="1206500" y="5767705"/>
            <a:ext cx="8976360" cy="995680"/>
          </a:xfrm>
          <a:prstGeom prst="rect">
            <a:avLst/>
          </a:prstGeom>
        </p:spPr>
        <p:txBody>
          <a:bodyPr vert="horz" wrap="square" lIns="91440" tIns="45720" rIns="91440" bIns="45720" rtlCol="0"/>
          <a:p>
            <a:pPr marL="285750" indent="-179705" fontAlgn="auto">
              <a:lnSpc>
                <a:spcPts val="1800"/>
              </a:lnSpc>
              <a:buFont typeface="Arial" panose="020B0604020202090204" pitchFamily="34" charset="0"/>
              <a:buChar char="•"/>
            </a:pPr>
            <a:r>
              <a:rPr lang="zh-CN" altLang="en-US" sz="1400" dirty="0" smtClean="0"/>
              <a:t>延迟判断：过程中不做评价和判断</a:t>
            </a:r>
            <a:endParaRPr lang="zh-CN" altLang="en-US" sz="1400" dirty="0" smtClean="0"/>
          </a:p>
          <a:p>
            <a:pPr marL="285750" indent="-179705" fontAlgn="auto">
              <a:lnSpc>
                <a:spcPts val="1800"/>
              </a:lnSpc>
              <a:buFont typeface="Arial" panose="020B0604020202090204" pitchFamily="34" charset="0"/>
              <a:buChar char="•"/>
            </a:pPr>
            <a:r>
              <a:rPr lang="zh-CN" altLang="en-US" sz="1400" dirty="0" smtClean="0"/>
              <a:t>鼓励多样性：不限制思维的边界</a:t>
            </a:r>
            <a:endParaRPr lang="zh-CN" altLang="en-US" sz="1400" dirty="0" smtClean="0"/>
          </a:p>
          <a:p>
            <a:pPr marL="285750" indent="-179705" fontAlgn="auto">
              <a:lnSpc>
                <a:spcPts val="1800"/>
              </a:lnSpc>
              <a:buFont typeface="Arial" panose="020B0604020202090204" pitchFamily="34" charset="0"/>
              <a:buChar char="•"/>
            </a:pPr>
            <a:r>
              <a:rPr lang="zh-CN" altLang="en-US" sz="1400" dirty="0" smtClean="0"/>
              <a:t>数量产生质量：想法尽可能多</a:t>
            </a:r>
            <a:endParaRPr lang="zh-CN" altLang="en-US" sz="1400" dirty="0" smtClean="0"/>
          </a:p>
          <a:p>
            <a:pPr marL="285750" indent="-179705" fontAlgn="auto">
              <a:lnSpc>
                <a:spcPts val="1800"/>
              </a:lnSpc>
              <a:buFont typeface="Arial" panose="020B0604020202090204" pitchFamily="34" charset="0"/>
              <a:buChar char="•"/>
            </a:pPr>
            <a:r>
              <a:rPr lang="zh-CN" altLang="en-US" sz="1400" dirty="0" smtClean="0"/>
              <a:t>保持积极氛围：主持人引导团队保持积极、开发的态度，鼓励创新想法</a:t>
            </a:r>
            <a:endParaRPr lang="zh-CN" altLang="en-US" sz="1400" dirty="0" smtClean="0"/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群策群力：</a:t>
            </a:r>
            <a:r>
              <a:rPr 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机构一线专家信息萃取</a:t>
            </a:r>
            <a:endParaRPr lang="zh-CN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938530" y="112522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sz="1800" dirty="0" smtClean="0"/>
              <a:t>示例</a:t>
            </a:r>
            <a:r>
              <a:rPr lang="en-US" altLang="zh-CN" sz="1800" dirty="0" smtClean="0"/>
              <a:t>-</a:t>
            </a:r>
            <a:r>
              <a:rPr lang="zh-CN" altLang="en-US" sz="1800" dirty="0" smtClean="0"/>
              <a:t>劝留模型</a:t>
            </a:r>
            <a:endParaRPr lang="zh-CN" altLang="en-US" sz="1800" dirty="0" smtClean="0"/>
          </a:p>
        </p:txBody>
      </p:sp>
      <p:grpSp>
        <p:nvGrpSpPr>
          <p:cNvPr id="3" name="组合 2"/>
          <p:cNvGrpSpPr/>
          <p:nvPr/>
        </p:nvGrpSpPr>
        <p:grpSpPr>
          <a:xfrm>
            <a:off x="450215" y="1061720"/>
            <a:ext cx="389255" cy="427990"/>
            <a:chOff x="450391" y="1977754"/>
            <a:chExt cx="465233" cy="511985"/>
          </a:xfrm>
        </p:grpSpPr>
        <p:sp>
          <p:nvSpPr>
            <p:cNvPr id="488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89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0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1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2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3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5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6" name="矩形 5"/>
          <p:cNvSpPr/>
          <p:nvPr/>
        </p:nvSpPr>
        <p:spPr>
          <a:xfrm flipH="1">
            <a:off x="1066165" y="1804035"/>
            <a:ext cx="3331210" cy="4768215"/>
          </a:xfrm>
          <a:prstGeom prst="rect">
            <a:avLst/>
          </a:prstGeom>
          <a:noFill/>
          <a:ln w="12700" cap="flat" cmpd="sng" algn="ctr">
            <a:gradFill flip="none" rotWithShape="1">
              <a:gsLst>
                <a:gs pos="79967">
                  <a:srgbClr val="FF6600"/>
                </a:gs>
                <a:gs pos="28000">
                  <a:srgbClr val="FF6600"/>
                </a:gs>
                <a:gs pos="0">
                  <a:srgbClr val="FF6600">
                    <a:alpha val="0"/>
                  </a:srgbClr>
                </a:gs>
                <a:gs pos="100000">
                  <a:srgbClr val="FF6600">
                    <a:alpha val="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93266" tIns="46632" rIns="93266" bIns="46632" rtlCol="0" anchor="ctr"/>
          <a:lstStyle/>
          <a:p>
            <a:pPr marL="0" marR="0" lvl="0" indent="0" algn="ctr" defTabSz="93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1835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</p:txBody>
      </p:sp>
      <p:sp>
        <p:nvSpPr>
          <p:cNvPr id="8" name="剪去对角的矩形 7"/>
          <p:cNvSpPr/>
          <p:nvPr/>
        </p:nvSpPr>
        <p:spPr>
          <a:xfrm>
            <a:off x="1478915" y="1700530"/>
            <a:ext cx="2523490" cy="362585"/>
          </a:xfrm>
          <a:prstGeom prst="snip2DiagRect">
            <a:avLst>
              <a:gd name="adj1" fmla="val 0"/>
              <a:gd name="adj2" fmla="val 13556"/>
            </a:avLst>
          </a:prstGeom>
          <a:solidFill>
            <a:srgbClr val="FF5805"/>
          </a:solidFill>
          <a:ln w="25400" cap="flat" cmpd="sng" algn="ctr">
            <a:noFill/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3276" tIns="46638" rIns="93276" bIns="46638" rtlCol="0" anchor="ctr"/>
          <a:lstStyle/>
          <a:p>
            <a:pPr marL="0" marR="0" lvl="0" indent="0" algn="ctr" defTabSz="93218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1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90204"/>
                <a:ea typeface="华文楷体" panose="02010600040101010101" pitchFamily="2" charset="-122"/>
                <a:cs typeface="Arial" panose="020B0604020202090204" pitchFamily="34" charset="0"/>
              </a:rPr>
              <a:t>专家脑暴风险场景</a:t>
            </a:r>
            <a:endParaRPr kumimoji="1" lang="zh-CN" altLang="en-US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90204"/>
              <a:ea typeface="华文楷体" panose="02010600040101010101" pitchFamily="2" charset="-122"/>
              <a:cs typeface="Arial" panose="020B0604020202090204" pitchFamily="34" charset="0"/>
            </a:endParaRPr>
          </a:p>
        </p:txBody>
      </p:sp>
      <p:sp>
        <p:nvSpPr>
          <p:cNvPr id="163" name="object 8"/>
          <p:cNvSpPr txBox="1"/>
          <p:nvPr/>
        </p:nvSpPr>
        <p:spPr>
          <a:xfrm>
            <a:off x="1438910" y="2173605"/>
            <a:ext cx="2585085" cy="1140460"/>
          </a:xfrm>
          <a:prstGeom prst="rect">
            <a:avLst/>
          </a:prstGeom>
          <a:solidFill>
            <a:sysClr val="window" lastClr="FFFFFF"/>
          </a:solidFill>
          <a:ln w="19050" cap="rnd" cmpd="sng" algn="ctr">
            <a:solidFill>
              <a:srgbClr val="FE8637">
                <a:lumMod val="75000"/>
              </a:srgbClr>
            </a:solidFill>
            <a:prstDash val="solid"/>
            <a:rou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noAutofit/>
          </a:bodyPr>
          <a:lstStyle>
            <a:defPPr>
              <a:defRPr lang="en-US"/>
            </a:defPPr>
            <a:lvl1pPr>
              <a:defRPr sz="1400" b="1">
                <a:latin typeface="Arial" panose="020B0604020202090204" pitchFamily="34" charset="0"/>
                <a:ea typeface="华文楷体" panose="02010600040101010101" pitchFamily="2" charset="-122"/>
                <a:cs typeface="+mn-ea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b="0" i="0" u="none" strike="noStrike" kern="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 panose="02010600040101010101" pitchFamily="2" charset="-122"/>
                <a:sym typeface="Arial" panose="020B0604020202090204" pitchFamily="34" charset="0"/>
              </a:rPr>
              <a:t>收入不稳定客户</a:t>
            </a:r>
            <a:endParaRPr kumimoji="0" lang="zh-CN" altLang="en-US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 panose="02010600040101010101" pitchFamily="2" charset="-122"/>
              <a:sym typeface="Arial" panose="020B0604020202090204" pitchFamily="34" charset="0"/>
            </a:endParaRPr>
          </a:p>
        </p:txBody>
      </p:sp>
      <p:sp>
        <p:nvSpPr>
          <p:cNvPr id="169" name="object 8"/>
          <p:cNvSpPr txBox="1"/>
          <p:nvPr/>
        </p:nvSpPr>
        <p:spPr>
          <a:xfrm>
            <a:off x="1438910" y="3620135"/>
            <a:ext cx="2585085" cy="712470"/>
          </a:xfrm>
          <a:prstGeom prst="rect">
            <a:avLst/>
          </a:prstGeom>
          <a:solidFill>
            <a:sysClr val="window" lastClr="FFFFFF"/>
          </a:solidFill>
          <a:ln w="19050" cap="rnd" cmpd="sng" algn="ctr">
            <a:solidFill>
              <a:srgbClr val="FE8637">
                <a:lumMod val="75000"/>
              </a:srgbClr>
            </a:solidFill>
            <a:prstDash val="solid"/>
            <a:rou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noAutofit/>
          </a:bodyPr>
          <a:lstStyle>
            <a:defPPr>
              <a:defRPr lang="en-US"/>
            </a:defPPr>
            <a:lvl1pPr>
              <a:defRPr sz="1400" b="1">
                <a:latin typeface="Arial" panose="020B0604020202090204" pitchFamily="34" charset="0"/>
                <a:ea typeface="华文楷体" panose="02010600040101010101" pitchFamily="2" charset="-122"/>
                <a:cs typeface="+mn-ea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b="0" i="0" u="none" strike="noStrike" kern="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 panose="02010600040101010101" pitchFamily="2" charset="-122"/>
                <a:sym typeface="Arial" panose="020B0604020202090204" pitchFamily="34" charset="0"/>
              </a:rPr>
              <a:t>客户保险意识较强</a:t>
            </a:r>
            <a:endParaRPr kumimoji="0" lang="zh-CN" altLang="en-US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 panose="02010600040101010101" pitchFamily="2" charset="-122"/>
              <a:sym typeface="Arial" panose="020B0604020202090204" pitchFamily="34" charset="0"/>
            </a:endParaRPr>
          </a:p>
        </p:txBody>
      </p:sp>
      <p:sp>
        <p:nvSpPr>
          <p:cNvPr id="181" name="object 8"/>
          <p:cNvSpPr txBox="1"/>
          <p:nvPr/>
        </p:nvSpPr>
        <p:spPr>
          <a:xfrm>
            <a:off x="1438910" y="4629150"/>
            <a:ext cx="2585085" cy="711835"/>
          </a:xfrm>
          <a:prstGeom prst="rect">
            <a:avLst/>
          </a:prstGeom>
          <a:solidFill>
            <a:sysClr val="window" lastClr="FFFFFF"/>
          </a:solidFill>
          <a:ln w="19050" cap="rnd" cmpd="sng" algn="ctr">
            <a:solidFill>
              <a:srgbClr val="FE8637">
                <a:lumMod val="75000"/>
              </a:srgbClr>
            </a:solidFill>
            <a:prstDash val="solid"/>
            <a:rou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noAutofit/>
          </a:bodyPr>
          <a:lstStyle>
            <a:defPPr>
              <a:defRPr lang="en-US"/>
            </a:defPPr>
            <a:lvl1pPr>
              <a:defRPr sz="1400" b="1">
                <a:latin typeface="Arial" panose="020B0604020202090204" pitchFamily="34" charset="0"/>
                <a:ea typeface="华文楷体" panose="02010600040101010101" pitchFamily="2" charset="-122"/>
                <a:cs typeface="+mn-ea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b="0" i="0" u="none" strike="noStrike" kern="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 panose="02010600040101010101" pitchFamily="2" charset="-122"/>
                <a:sym typeface="Arial" panose="020B0604020202090204" pitchFamily="34" charset="0"/>
              </a:rPr>
              <a:t>出单业务员品质优</a:t>
            </a:r>
            <a:endParaRPr kumimoji="0" lang="zh-CN" altLang="en-US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 panose="02010600040101010101" pitchFamily="2" charset="-122"/>
              <a:sym typeface="Arial" panose="020B0604020202090204" pitchFamily="34" charset="0"/>
            </a:endParaRPr>
          </a:p>
        </p:txBody>
      </p:sp>
      <p:sp>
        <p:nvSpPr>
          <p:cNvPr id="214" name="object 8"/>
          <p:cNvSpPr txBox="1"/>
          <p:nvPr/>
        </p:nvSpPr>
        <p:spPr>
          <a:xfrm>
            <a:off x="1438910" y="5718810"/>
            <a:ext cx="2585085" cy="667385"/>
          </a:xfrm>
          <a:prstGeom prst="rect">
            <a:avLst/>
          </a:prstGeom>
          <a:solidFill>
            <a:sysClr val="window" lastClr="FFFFFF"/>
          </a:solidFill>
          <a:ln w="19050" cap="rnd" cmpd="sng" algn="ctr">
            <a:solidFill>
              <a:srgbClr val="FE8637">
                <a:lumMod val="75000"/>
              </a:srgbClr>
            </a:solidFill>
            <a:prstDash val="solid"/>
            <a:rou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noAutofit/>
          </a:bodyPr>
          <a:lstStyle>
            <a:defPPr>
              <a:defRPr lang="en-US"/>
            </a:defPPr>
            <a:lvl1pPr>
              <a:defRPr sz="1400" b="1">
                <a:latin typeface="Arial" panose="020B0604020202090204" pitchFamily="34" charset="0"/>
                <a:ea typeface="华文楷体" panose="02010600040101010101" pitchFamily="2" charset="-122"/>
                <a:cs typeface="+mn-ea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b="0" kern="0" smtClean="0">
                <a:solidFill>
                  <a:schemeClr val="tx1"/>
                </a:solidFill>
                <a:latin typeface="华文楷体" panose="02010600040101010101" pitchFamily="2" charset="-122"/>
                <a:sym typeface="Arial" panose="020B0604020202090204" pitchFamily="34" charset="0"/>
              </a:rPr>
              <a:t>……</a:t>
            </a:r>
            <a:endParaRPr kumimoji="0" lang="en-US" altLang="zh-CN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 panose="02010600040101010101" pitchFamily="2" charset="-122"/>
              <a:sym typeface="Arial" panose="020B0604020202090204" pitchFamily="34" charset="0"/>
            </a:endParaRPr>
          </a:p>
        </p:txBody>
      </p:sp>
      <p:sp>
        <p:nvSpPr>
          <p:cNvPr id="101" name="矩形 100"/>
          <p:cNvSpPr/>
          <p:nvPr/>
        </p:nvSpPr>
        <p:spPr>
          <a:xfrm flipH="1">
            <a:off x="6120130" y="1800860"/>
            <a:ext cx="5137785" cy="4770755"/>
          </a:xfrm>
          <a:prstGeom prst="rect">
            <a:avLst/>
          </a:prstGeom>
          <a:noFill/>
          <a:ln w="12700" cap="flat" cmpd="sng" algn="ctr">
            <a:gradFill flip="none" rotWithShape="1">
              <a:gsLst>
                <a:gs pos="79967">
                  <a:srgbClr val="FF6600"/>
                </a:gs>
                <a:gs pos="28000">
                  <a:srgbClr val="FF6600"/>
                </a:gs>
                <a:gs pos="0">
                  <a:srgbClr val="FF6600">
                    <a:alpha val="0"/>
                  </a:srgbClr>
                </a:gs>
                <a:gs pos="100000">
                  <a:srgbClr val="FF6600">
                    <a:alpha val="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93266" tIns="46632" rIns="93266" bIns="46632" rtlCol="0" anchor="ctr"/>
          <a:lstStyle/>
          <a:p>
            <a:pPr marL="0" marR="0" lvl="0" indent="0" algn="ctr" defTabSz="93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1835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</p:txBody>
      </p:sp>
      <p:sp>
        <p:nvSpPr>
          <p:cNvPr id="103" name="剪去对角的矩形 102"/>
          <p:cNvSpPr/>
          <p:nvPr/>
        </p:nvSpPr>
        <p:spPr>
          <a:xfrm>
            <a:off x="7311390" y="1700530"/>
            <a:ext cx="2523600" cy="362585"/>
          </a:xfrm>
          <a:prstGeom prst="snip2DiagRect">
            <a:avLst>
              <a:gd name="adj1" fmla="val 0"/>
              <a:gd name="adj2" fmla="val 13556"/>
            </a:avLst>
          </a:prstGeom>
          <a:solidFill>
            <a:srgbClr val="FF5805"/>
          </a:solidFill>
          <a:ln w="25400" cap="flat" cmpd="sng" algn="ctr">
            <a:noFill/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3276" tIns="46638" rIns="93276" bIns="46638" rtlCol="0" anchor="ctr"/>
          <a:lstStyle/>
          <a:p>
            <a:pPr marL="0" marR="0" lvl="0" indent="0" algn="ctr" defTabSz="93218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1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90204"/>
                <a:ea typeface="华文楷体" panose="02010600040101010101" pitchFamily="2" charset="-122"/>
                <a:cs typeface="Arial" panose="020B0604020202090204" pitchFamily="34" charset="0"/>
              </a:rPr>
              <a:t>衍生标签</a:t>
            </a:r>
            <a:endParaRPr kumimoji="1" lang="zh-CN" altLang="en-US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90204"/>
              <a:ea typeface="华文楷体" panose="02010600040101010101" pitchFamily="2" charset="-122"/>
              <a:cs typeface="Arial" panose="020B0604020202090204" pitchFamily="34" charset="0"/>
            </a:endParaRPr>
          </a:p>
        </p:txBody>
      </p:sp>
      <p:sp>
        <p:nvSpPr>
          <p:cNvPr id="9" name="object 8"/>
          <p:cNvSpPr txBox="1"/>
          <p:nvPr/>
        </p:nvSpPr>
        <p:spPr>
          <a:xfrm>
            <a:off x="6292215" y="2173605"/>
            <a:ext cx="4734560" cy="1140460"/>
          </a:xfrm>
          <a:prstGeom prst="rect">
            <a:avLst/>
          </a:prstGeom>
          <a:solidFill>
            <a:sysClr val="window" lastClr="FFFFFF"/>
          </a:solidFill>
          <a:ln w="19050" cap="rnd" cmpd="sng" algn="ctr">
            <a:solidFill>
              <a:srgbClr val="FE8637">
                <a:lumMod val="75000"/>
              </a:srgbClr>
            </a:solidFill>
            <a:prstDash val="solid"/>
            <a:rou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noAutofit/>
          </a:bodyPr>
          <a:lstStyle>
            <a:defPPr>
              <a:defRPr lang="en-US"/>
            </a:defPPr>
            <a:lvl1pPr>
              <a:defRPr sz="1400" b="1">
                <a:latin typeface="Arial" panose="020B0604020202090204" pitchFamily="34" charset="0"/>
                <a:ea typeface="华文楷体" panose="02010600040101010101" pitchFamily="2" charset="-122"/>
                <a:cs typeface="+mn-ea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285750" marR="0" lvl="0" indent="-285750" algn="l" defTabSz="914400" fontAlgn="auto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Char char="•"/>
              <a:defRPr/>
            </a:pPr>
            <a:endParaRPr kumimoji="0" lang="zh-CN" altLang="en-US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 panose="02010600040101010101" pitchFamily="2" charset="-122"/>
              <a:sym typeface="Arial" panose="020B0604020202090204" pitchFamily="34" charset="0"/>
            </a:endParaRPr>
          </a:p>
        </p:txBody>
      </p:sp>
      <p:sp>
        <p:nvSpPr>
          <p:cNvPr id="10" name="object 8"/>
          <p:cNvSpPr txBox="1"/>
          <p:nvPr/>
        </p:nvSpPr>
        <p:spPr>
          <a:xfrm>
            <a:off x="6292215" y="3620135"/>
            <a:ext cx="4735195" cy="711835"/>
          </a:xfrm>
          <a:prstGeom prst="rect">
            <a:avLst/>
          </a:prstGeom>
          <a:solidFill>
            <a:sysClr val="window" lastClr="FFFFFF"/>
          </a:solidFill>
          <a:ln w="19050" cap="rnd" cmpd="sng" algn="ctr">
            <a:solidFill>
              <a:srgbClr val="FE8637">
                <a:lumMod val="75000"/>
              </a:srgbClr>
            </a:solidFill>
            <a:prstDash val="solid"/>
            <a:rou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noAutofit/>
          </a:bodyPr>
          <a:lstStyle>
            <a:defPPr>
              <a:defRPr lang="en-US"/>
            </a:defPPr>
            <a:lvl1pPr>
              <a:defRPr sz="1400" b="1">
                <a:latin typeface="Arial" panose="020B0604020202090204" pitchFamily="34" charset="0"/>
                <a:ea typeface="华文楷体" panose="02010600040101010101" pitchFamily="2" charset="-122"/>
                <a:cs typeface="+mn-ea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285750" marR="0" lvl="0" indent="-285750" algn="l" defTabSz="914400" fontAlgn="auto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Char char="•"/>
              <a:defRPr/>
            </a:pPr>
            <a:endParaRPr kumimoji="0" lang="zh-CN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 panose="02010600040101010101" pitchFamily="2" charset="-122"/>
              <a:sym typeface="Arial" panose="020B0604020202090204" pitchFamily="34" charset="0"/>
            </a:endParaRPr>
          </a:p>
        </p:txBody>
      </p:sp>
      <p:sp>
        <p:nvSpPr>
          <p:cNvPr id="11" name="object 8"/>
          <p:cNvSpPr txBox="1"/>
          <p:nvPr/>
        </p:nvSpPr>
        <p:spPr>
          <a:xfrm>
            <a:off x="6292215" y="4629150"/>
            <a:ext cx="4735195" cy="711835"/>
          </a:xfrm>
          <a:prstGeom prst="rect">
            <a:avLst/>
          </a:prstGeom>
          <a:solidFill>
            <a:sysClr val="window" lastClr="FFFFFF"/>
          </a:solidFill>
          <a:ln w="19050" cap="rnd" cmpd="sng" algn="ctr">
            <a:solidFill>
              <a:srgbClr val="FE8637">
                <a:lumMod val="75000"/>
              </a:srgbClr>
            </a:solidFill>
            <a:prstDash val="solid"/>
            <a:rou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noAutofit/>
          </a:bodyPr>
          <a:lstStyle>
            <a:defPPr>
              <a:defRPr lang="en-US"/>
            </a:defPPr>
            <a:lvl1pPr>
              <a:defRPr sz="1400" b="1">
                <a:latin typeface="Arial" panose="020B0604020202090204" pitchFamily="34" charset="0"/>
                <a:ea typeface="华文楷体" panose="02010600040101010101" pitchFamily="2" charset="-122"/>
                <a:cs typeface="+mn-ea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285750" marR="0" lvl="0" indent="-285750" algn="l" defTabSz="914400" fontAlgn="auto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Char char="•"/>
              <a:defRPr/>
            </a:pPr>
            <a:endParaRPr kumimoji="0" lang="zh-CN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 panose="02010600040101010101" pitchFamily="2" charset="-122"/>
              <a:sym typeface="Arial" panose="020B0604020202090204" pitchFamily="34" charset="0"/>
            </a:endParaRPr>
          </a:p>
        </p:txBody>
      </p:sp>
      <p:sp>
        <p:nvSpPr>
          <p:cNvPr id="12" name="object 8"/>
          <p:cNvSpPr txBox="1"/>
          <p:nvPr/>
        </p:nvSpPr>
        <p:spPr>
          <a:xfrm>
            <a:off x="6292215" y="5674360"/>
            <a:ext cx="4735195" cy="711835"/>
          </a:xfrm>
          <a:prstGeom prst="rect">
            <a:avLst/>
          </a:prstGeom>
          <a:solidFill>
            <a:sysClr val="window" lastClr="FFFFFF"/>
          </a:solidFill>
          <a:ln w="19050" cap="rnd" cmpd="sng" algn="ctr">
            <a:solidFill>
              <a:srgbClr val="FE8637">
                <a:lumMod val="75000"/>
              </a:srgbClr>
            </a:solidFill>
            <a:prstDash val="solid"/>
            <a:rou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noAutofit/>
          </a:bodyPr>
          <a:lstStyle>
            <a:defPPr>
              <a:defRPr lang="en-US"/>
            </a:defPPr>
            <a:lvl1pPr>
              <a:defRPr sz="1400" b="1">
                <a:latin typeface="Arial" panose="020B0604020202090204" pitchFamily="34" charset="0"/>
                <a:ea typeface="华文楷体" panose="02010600040101010101" pitchFamily="2" charset="-122"/>
                <a:cs typeface="+mn-ea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285750" marR="0" lvl="0" indent="-285750" algn="l" defTabSz="914400" fontAlgn="auto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Char char="•"/>
              <a:defRPr/>
            </a:pPr>
            <a:endParaRPr kumimoji="0" lang="en-US" altLang="zh-CN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 panose="02010600040101010101" pitchFamily="2" charset="-122"/>
              <a:sym typeface="Arial" panose="020B0604020202090204" pitchFamily="34" charset="0"/>
            </a:endParaRPr>
          </a:p>
        </p:txBody>
      </p:sp>
      <p:sp>
        <p:nvSpPr>
          <p:cNvPr id="13" name="等腰三角形 12"/>
          <p:cNvSpPr/>
          <p:nvPr/>
        </p:nvSpPr>
        <p:spPr>
          <a:xfrm rot="5400000">
            <a:off x="3314065" y="3728720"/>
            <a:ext cx="3888740" cy="914400"/>
          </a:xfrm>
          <a:prstGeom prst="triangle">
            <a:avLst/>
          </a:prstGeom>
          <a:solidFill>
            <a:schemeClr val="bg1">
              <a:lumMod val="95000"/>
            </a:schemeClr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rtlCol="0" anchor="t" anchorCtr="0" compatLnSpc="1"/>
          <a:p>
            <a:endParaRPr lang="zh-CN" altLang="en-US"/>
          </a:p>
        </p:txBody>
      </p:sp>
      <p:sp>
        <p:nvSpPr>
          <p:cNvPr id="14" name="文本框 13"/>
          <p:cNvSpPr txBox="1"/>
          <p:nvPr/>
        </p:nvSpPr>
        <p:spPr>
          <a:xfrm>
            <a:off x="6564630" y="2190115"/>
            <a:ext cx="4158615" cy="1132840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285750" marR="0" lvl="0" indent="-285750" algn="l" defTabSz="914400" fontAlgn="auto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Char char="•"/>
              <a:defRPr/>
            </a:pPr>
            <a:r>
              <a:rPr lang="zh-CN" altLang="en-US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90204" pitchFamily="34" charset="0"/>
              </a:rPr>
              <a:t>近</a:t>
            </a:r>
            <a:r>
              <a:rPr lang="en-US" altLang="zh-CN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90204" pitchFamily="34" charset="0"/>
              </a:rPr>
              <a:t>1</a:t>
            </a:r>
            <a:r>
              <a:rPr lang="zh-CN" altLang="en-US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90204" pitchFamily="34" charset="0"/>
              </a:rPr>
              <a:t>个月</a:t>
            </a:r>
            <a:r>
              <a:rPr lang="en-US" altLang="zh-CN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90204" pitchFamily="34" charset="0"/>
              </a:rPr>
              <a:t>\3</a:t>
            </a:r>
            <a:r>
              <a:rPr lang="zh-CN" altLang="en-US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90204" pitchFamily="34" charset="0"/>
              </a:rPr>
              <a:t>个月</a:t>
            </a:r>
            <a:r>
              <a:rPr lang="en-US" altLang="zh-CN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90204" pitchFamily="34" charset="0"/>
              </a:rPr>
              <a:t>\</a:t>
            </a:r>
            <a:r>
              <a:rPr lang="zh-CN" altLang="en-US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90204" pitchFamily="34" charset="0"/>
              </a:rPr>
              <a:t>历史是否有多次试算退保</a:t>
            </a:r>
            <a:endParaRPr kumimoji="0" lang="zh-CN" altLang="en-US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 panose="02010600040101010101" pitchFamily="2" charset="-122"/>
              <a:sym typeface="Arial" panose="020B0604020202090204" pitchFamily="34" charset="0"/>
            </a:endParaRPr>
          </a:p>
          <a:p>
            <a:pPr marL="285750" marR="0" lvl="0" indent="-285750" algn="l" defTabSz="914400" fontAlgn="auto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Char char="•"/>
              <a:defRPr/>
            </a:pPr>
            <a:r>
              <a:rPr lang="zh-CN" altLang="en-US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90204" pitchFamily="34" charset="0"/>
              </a:rPr>
              <a:t>近</a:t>
            </a:r>
            <a:r>
              <a:rPr lang="en-US" altLang="zh-CN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90204" pitchFamily="34" charset="0"/>
              </a:rPr>
              <a:t>1</a:t>
            </a:r>
            <a:r>
              <a:rPr lang="zh-CN" altLang="en-US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90204" pitchFamily="34" charset="0"/>
              </a:rPr>
              <a:t>个月</a:t>
            </a:r>
            <a:r>
              <a:rPr lang="en-US" altLang="zh-CN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90204" pitchFamily="34" charset="0"/>
              </a:rPr>
              <a:t>\3</a:t>
            </a:r>
            <a:r>
              <a:rPr lang="zh-CN" altLang="en-US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90204" pitchFamily="34" charset="0"/>
              </a:rPr>
              <a:t>个月</a:t>
            </a:r>
            <a:r>
              <a:rPr lang="en-US" altLang="zh-CN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90204" pitchFamily="34" charset="0"/>
              </a:rPr>
              <a:t>\</a:t>
            </a:r>
            <a:r>
              <a:rPr lang="zh-CN" altLang="en-US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90204" pitchFamily="34" charset="0"/>
              </a:rPr>
              <a:t>历史是否有保单贷款记录</a:t>
            </a:r>
            <a:endParaRPr kumimoji="0" lang="zh-CN" altLang="en-US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 panose="02010600040101010101" pitchFamily="2" charset="-122"/>
              <a:sym typeface="Arial" panose="020B0604020202090204" pitchFamily="34" charset="0"/>
            </a:endParaRPr>
          </a:p>
          <a:p>
            <a:pPr marL="285750" marR="0" lvl="0" indent="-285750" algn="l" defTabSz="914400" fontAlgn="auto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Char char="•"/>
              <a:defRPr/>
            </a:pPr>
            <a:r>
              <a:rPr lang="zh-CN" altLang="en-US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90204" pitchFamily="34" charset="0"/>
              </a:rPr>
              <a:t>近</a:t>
            </a:r>
            <a:r>
              <a:rPr lang="en-US" altLang="zh-CN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90204" pitchFamily="34" charset="0"/>
              </a:rPr>
              <a:t>1</a:t>
            </a:r>
            <a:r>
              <a:rPr lang="zh-CN" altLang="en-US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90204" pitchFamily="34" charset="0"/>
              </a:rPr>
              <a:t>个月</a:t>
            </a:r>
            <a:r>
              <a:rPr lang="en-US" altLang="zh-CN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90204" pitchFamily="34" charset="0"/>
              </a:rPr>
              <a:t>\3</a:t>
            </a:r>
            <a:r>
              <a:rPr lang="zh-CN" altLang="en-US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90204" pitchFamily="34" charset="0"/>
              </a:rPr>
              <a:t>个月</a:t>
            </a:r>
            <a:r>
              <a:rPr lang="en-US" altLang="zh-CN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90204" pitchFamily="34" charset="0"/>
              </a:rPr>
              <a:t>\</a:t>
            </a:r>
            <a:r>
              <a:rPr lang="zh-CN" altLang="en-US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90204" pitchFamily="34" charset="0"/>
              </a:rPr>
              <a:t>历史是否有停失效</a:t>
            </a:r>
            <a:endParaRPr kumimoji="0" lang="zh-CN" altLang="en-US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 panose="02010600040101010101" pitchFamily="2" charset="-122"/>
              <a:sym typeface="Arial" panose="020B0604020202090204" pitchFamily="34" charset="0"/>
            </a:endParaRPr>
          </a:p>
          <a:p>
            <a:pPr marL="285750" marR="0" lvl="0" indent="-285750" algn="l" defTabSz="914400" fontAlgn="auto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Char char="•"/>
              <a:defRPr/>
            </a:pPr>
            <a:r>
              <a:rPr lang="zh-CN" altLang="en-US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90204" pitchFamily="34" charset="0"/>
              </a:rPr>
              <a:t>近</a:t>
            </a:r>
            <a:r>
              <a:rPr lang="en-US" altLang="zh-CN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90204" pitchFamily="34" charset="0"/>
              </a:rPr>
              <a:t>1</a:t>
            </a:r>
            <a:r>
              <a:rPr lang="zh-CN" altLang="en-US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90204" pitchFamily="34" charset="0"/>
              </a:rPr>
              <a:t>个月</a:t>
            </a:r>
            <a:r>
              <a:rPr lang="en-US" altLang="zh-CN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90204" pitchFamily="34" charset="0"/>
              </a:rPr>
              <a:t>\3</a:t>
            </a:r>
            <a:r>
              <a:rPr lang="zh-CN" altLang="en-US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90204" pitchFamily="34" charset="0"/>
              </a:rPr>
              <a:t>个月</a:t>
            </a:r>
            <a:r>
              <a:rPr lang="en-US" altLang="zh-CN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90204" pitchFamily="34" charset="0"/>
              </a:rPr>
              <a:t>\</a:t>
            </a:r>
            <a:r>
              <a:rPr lang="zh-CN" altLang="en-US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90204" pitchFamily="34" charset="0"/>
              </a:rPr>
              <a:t>历史是否有部分领取记录</a:t>
            </a:r>
            <a:endParaRPr lang="zh-CN" altLang="en-US" sz="1400" b="1" kern="0" noProof="0" dirty="0" smtClean="0">
              <a:ln>
                <a:noFill/>
              </a:ln>
              <a:effectLst/>
              <a:uLnTx/>
              <a:uFillTx/>
              <a:latin typeface="华文楷体" panose="02010600040101010101" pitchFamily="2" charset="-122"/>
              <a:sym typeface="Arial" panose="020B0604020202090204" pitchFamily="34" charset="0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6564630" y="3615055"/>
            <a:ext cx="4158615" cy="727075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285750" marR="0" lvl="0" indent="-285750" algn="l" defTabSz="914400" fontAlgn="auto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Char char="•"/>
              <a:defRPr/>
            </a:pPr>
            <a:r>
              <a:rPr lang="zh-CN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90204" pitchFamily="34" charset="0"/>
              </a:rPr>
              <a:t>客户名下历史保单个数</a:t>
            </a:r>
            <a:endParaRPr kumimoji="0" lang="zh-CN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 panose="02010600040101010101" pitchFamily="2" charset="-122"/>
              <a:sym typeface="Arial" panose="020B0604020202090204" pitchFamily="34" charset="0"/>
            </a:endParaRPr>
          </a:p>
          <a:p>
            <a:pPr marL="285750" marR="0" lvl="0" indent="-285750" algn="l" defTabSz="914400" fontAlgn="auto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Char char="•"/>
              <a:defRPr/>
            </a:pPr>
            <a:r>
              <a:rPr lang="zh-CN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90204" pitchFamily="34" charset="0"/>
              </a:rPr>
              <a:t>客户名下有效保单个数</a:t>
            </a:r>
            <a:endParaRPr lang="zh-CN" altLang="en-US" sz="1400" b="1" kern="0" noProof="0" dirty="0" smtClean="0">
              <a:ln>
                <a:noFill/>
              </a:ln>
              <a:effectLst/>
              <a:uLnTx/>
              <a:uFillTx/>
              <a:latin typeface="华文楷体" panose="02010600040101010101" pitchFamily="2" charset="-122"/>
              <a:sym typeface="Arial" panose="020B0604020202090204" pitchFamily="34" charset="0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6564630" y="4629150"/>
            <a:ext cx="4158615" cy="727075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285750" marR="0" lvl="0" indent="-285750" algn="l" defTabSz="914400" fontAlgn="auto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Char char="•"/>
              <a:defRPr/>
            </a:pPr>
            <a:r>
              <a:rPr lang="zh-CN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90204" pitchFamily="34" charset="0"/>
              </a:rPr>
              <a:t>签单业务员近</a:t>
            </a:r>
            <a:r>
              <a:rPr lang="en-US" altLang="zh-CN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90204" pitchFamily="34" charset="0"/>
              </a:rPr>
              <a:t>1</a:t>
            </a:r>
            <a:r>
              <a:rPr lang="zh-CN" altLang="en-US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90204" pitchFamily="34" charset="0"/>
              </a:rPr>
              <a:t>个月</a:t>
            </a:r>
            <a:r>
              <a:rPr lang="en-US" altLang="zh-CN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90204" pitchFamily="34" charset="0"/>
              </a:rPr>
              <a:t>\3</a:t>
            </a:r>
            <a:r>
              <a:rPr lang="zh-CN" altLang="en-US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90204" pitchFamily="34" charset="0"/>
              </a:rPr>
              <a:t>个月</a:t>
            </a:r>
            <a:r>
              <a:rPr lang="en-US" altLang="zh-CN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90204" pitchFamily="34" charset="0"/>
              </a:rPr>
              <a:t>\</a:t>
            </a:r>
            <a:r>
              <a:rPr lang="zh-CN" altLang="en-US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90204" pitchFamily="34" charset="0"/>
              </a:rPr>
              <a:t>历史</a:t>
            </a:r>
            <a:r>
              <a:rPr lang="zh-CN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90204" pitchFamily="34" charset="0"/>
              </a:rPr>
              <a:t>被投诉次数</a:t>
            </a:r>
            <a:endParaRPr kumimoji="0" lang="zh-CN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 panose="02010600040101010101" pitchFamily="2" charset="-122"/>
              <a:sym typeface="Arial" panose="020B0604020202090204" pitchFamily="34" charset="0"/>
            </a:endParaRPr>
          </a:p>
          <a:p>
            <a:pPr marL="285750" marR="0" lvl="0" indent="-285750" algn="l" defTabSz="914400" fontAlgn="auto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Char char="•"/>
              <a:defRPr/>
            </a:pPr>
            <a:r>
              <a:rPr lang="zh-CN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90204" pitchFamily="34" charset="0"/>
              </a:rPr>
              <a:t>签单业务员是否为钻石业务员</a:t>
            </a:r>
            <a:endParaRPr lang="zh-CN" altLang="en-US" sz="1400" b="1" kern="0" noProof="0" dirty="0" smtClean="0">
              <a:ln>
                <a:noFill/>
              </a:ln>
              <a:effectLst/>
              <a:uLnTx/>
              <a:uFillTx/>
              <a:latin typeface="华文楷体" panose="02010600040101010101" pitchFamily="2" charset="-122"/>
              <a:sym typeface="Arial" panose="020B0604020202090204" pitchFamily="34" charset="0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6564630" y="5680710"/>
            <a:ext cx="4158615" cy="680085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285750" marR="0" lvl="0" indent="-285750" algn="l" defTabSz="914400" fontAlgn="auto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Char char="•"/>
              <a:defRPr/>
            </a:pPr>
            <a:r>
              <a:rPr lang="en-US" altLang="zh-CN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90204" pitchFamily="34" charset="0"/>
              </a:rPr>
              <a:t>......</a:t>
            </a:r>
            <a:endParaRPr lang="zh-CN" altLang="en-US" sz="1400" b="1" kern="0" noProof="0" dirty="0" smtClean="0">
              <a:ln>
                <a:noFill/>
              </a:ln>
              <a:effectLst/>
              <a:uLnTx/>
              <a:uFillTx/>
              <a:latin typeface="华文楷体" panose="02010600040101010101" pitchFamily="2" charset="-122"/>
              <a:sym typeface="Arial" panose="020B0604020202090204" pitchFamily="34" charset="0"/>
            </a:endParaRPr>
          </a:p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掘金文本：解锁非结构化数据</a:t>
            </a:r>
            <a:endParaRPr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938530" y="112522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sz="1800" dirty="0" smtClean="0"/>
              <a:t>非结构化数据挖掘示例</a:t>
            </a:r>
            <a:endParaRPr lang="en-US" altLang="zh-CN" sz="1800" dirty="0" smtClean="0"/>
          </a:p>
        </p:txBody>
      </p:sp>
      <p:grpSp>
        <p:nvGrpSpPr>
          <p:cNvPr id="3" name="组合 2"/>
          <p:cNvGrpSpPr/>
          <p:nvPr/>
        </p:nvGrpSpPr>
        <p:grpSpPr>
          <a:xfrm>
            <a:off x="450215" y="1061720"/>
            <a:ext cx="389255" cy="427990"/>
            <a:chOff x="450391" y="1977754"/>
            <a:chExt cx="465233" cy="511985"/>
          </a:xfrm>
        </p:grpSpPr>
        <p:sp>
          <p:nvSpPr>
            <p:cNvPr id="488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89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0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1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2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3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5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pic>
        <p:nvPicPr>
          <p:cNvPr id="14" name="图片 1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618990" y="2218690"/>
            <a:ext cx="2752725" cy="466725"/>
          </a:xfrm>
          <a:prstGeom prst="rect">
            <a:avLst/>
          </a:prstGeom>
        </p:spPr>
      </p:pic>
      <p:sp>
        <p:nvSpPr>
          <p:cNvPr id="16" name="等腰三角形 15"/>
          <p:cNvSpPr/>
          <p:nvPr/>
        </p:nvSpPr>
        <p:spPr>
          <a:xfrm rot="10800000">
            <a:off x="3279140" y="2987675"/>
            <a:ext cx="950595" cy="167005"/>
          </a:xfrm>
          <a:prstGeom prst="triangle">
            <a:avLst/>
          </a:prstGeom>
          <a:gradFill>
            <a:gsLst>
              <a:gs pos="100000">
                <a:schemeClr val="accent1">
                  <a:lumMod val="5000"/>
                  <a:lumOff val="95000"/>
                  <a:alpha val="60000"/>
                </a:schemeClr>
              </a:gs>
              <a:gs pos="23000">
                <a:srgbClr val="FF6600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9" name="文本框 18"/>
          <p:cNvSpPr txBox="1"/>
          <p:nvPr/>
        </p:nvSpPr>
        <p:spPr>
          <a:xfrm>
            <a:off x="4469130" y="3361055"/>
            <a:ext cx="3923665" cy="589280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 indent="0">
              <a:buFont typeface="Arial" panose="020B0604020202090204" pitchFamily="34" charset="0"/>
              <a:buNone/>
            </a:pPr>
            <a:r>
              <a:rPr lang="zh-CN" altLang="en-US" sz="140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你们这什么烂公司，骗我钱，我要退保，你们公司欺骗我，我要到监管部门投诉</a:t>
            </a:r>
            <a:r>
              <a:rPr lang="en-US" altLang="zh-CN" sz="140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...</a:t>
            </a:r>
            <a:endParaRPr lang="en-US" altLang="zh-CN" sz="1400" smtClean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sp>
        <p:nvSpPr>
          <p:cNvPr id="20" name="等腰三角形 19"/>
          <p:cNvSpPr/>
          <p:nvPr/>
        </p:nvSpPr>
        <p:spPr>
          <a:xfrm rot="10800000">
            <a:off x="3279140" y="4138930"/>
            <a:ext cx="950595" cy="167005"/>
          </a:xfrm>
          <a:prstGeom prst="triangle">
            <a:avLst/>
          </a:prstGeom>
          <a:gradFill>
            <a:gsLst>
              <a:gs pos="100000">
                <a:schemeClr val="accent1">
                  <a:lumMod val="5000"/>
                  <a:lumOff val="95000"/>
                  <a:alpha val="60000"/>
                </a:schemeClr>
              </a:gs>
              <a:gs pos="23000">
                <a:srgbClr val="FF6600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1" name="文本框 20"/>
          <p:cNvSpPr txBox="1"/>
          <p:nvPr/>
        </p:nvSpPr>
        <p:spPr>
          <a:xfrm>
            <a:off x="4469130" y="4474210"/>
            <a:ext cx="3052445" cy="721995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391795" indent="-285750">
              <a:buFont typeface="Arial" panose="020B0604020202090204" pitchFamily="34" charset="0"/>
              <a:buChar char="•"/>
            </a:pPr>
            <a:r>
              <a:rPr lang="zh-CN" altLang="en-US" sz="1400" smtClean="0">
                <a:latin typeface="华文楷体" panose="02010600040101010101" pitchFamily="2" charset="-122"/>
                <a:ea typeface="华文楷体" panose="02010600040101010101" pitchFamily="2" charset="-122"/>
                <a:cs typeface="微软雅黑" panose="020B0503020204020204" charset="-122"/>
              </a:rPr>
              <a:t>客户情绪：负面</a:t>
            </a:r>
            <a:endParaRPr lang="zh-CN" altLang="en-US" sz="1400" smtClean="0">
              <a:latin typeface="华文楷体" panose="02010600040101010101" pitchFamily="2" charset="-122"/>
              <a:ea typeface="华文楷体" panose="02010600040101010101" pitchFamily="2" charset="-122"/>
              <a:cs typeface="微软雅黑" panose="020B0503020204020204" charset="-122"/>
            </a:endParaRPr>
          </a:p>
          <a:p>
            <a:pPr marL="391795" indent="-285750">
              <a:buFont typeface="Arial" panose="020B0604020202090204" pitchFamily="34" charset="0"/>
              <a:buChar char="•"/>
            </a:pPr>
            <a:r>
              <a:rPr lang="zh-CN" altLang="en-US" sz="1400" smtClean="0">
                <a:latin typeface="华文楷体" panose="02010600040101010101" pitchFamily="2" charset="-122"/>
                <a:ea typeface="华文楷体" panose="02010600040101010101" pitchFamily="2" charset="-122"/>
                <a:cs typeface="微软雅黑" panose="020B0503020204020204" charset="-122"/>
              </a:rPr>
              <a:t>客户是否反馈要退保：是</a:t>
            </a:r>
            <a:endParaRPr lang="zh-CN" altLang="en-US" sz="1400" smtClean="0">
              <a:latin typeface="华文楷体" panose="02010600040101010101" pitchFamily="2" charset="-122"/>
              <a:ea typeface="华文楷体" panose="02010600040101010101" pitchFamily="2" charset="-122"/>
              <a:cs typeface="微软雅黑" panose="020B0503020204020204" charset="-122"/>
            </a:endParaRPr>
          </a:p>
          <a:p>
            <a:pPr marL="391795" indent="-285750">
              <a:buFont typeface="Arial" panose="020B0604020202090204" pitchFamily="34" charset="0"/>
              <a:buChar char="•"/>
            </a:pPr>
            <a:r>
              <a:rPr lang="zh-CN" altLang="en-US" sz="1400" smtClean="0">
                <a:latin typeface="华文楷体" panose="02010600040101010101" pitchFamily="2" charset="-122"/>
                <a:ea typeface="华文楷体" panose="02010600040101010101" pitchFamily="2" charset="-122"/>
                <a:cs typeface="微软雅黑" panose="020B0503020204020204" charset="-122"/>
              </a:rPr>
              <a:t>客户是否反馈要投诉：是</a:t>
            </a:r>
            <a:endParaRPr lang="zh-CN" altLang="en-US" sz="1400" smtClean="0">
              <a:latin typeface="华文楷体" panose="02010600040101010101" pitchFamily="2" charset="-122"/>
              <a:ea typeface="华文楷体" panose="02010600040101010101" pitchFamily="2" charset="-122"/>
              <a:cs typeface="微软雅黑" panose="020B0503020204020204" charset="-122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2964815" y="2084070"/>
            <a:ext cx="1504315" cy="748800"/>
          </a:xfrm>
          <a:prstGeom prst="rect">
            <a:avLst/>
          </a:prstGeom>
          <a:solidFill>
            <a:srgbClr val="F05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zh-CN" alt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语音接入</a:t>
            </a:r>
            <a:endParaRPr kumimoji="0" lang="zh-CN" altLang="en-US" sz="1600" b="1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2964815" y="3279275"/>
            <a:ext cx="1504315" cy="748665"/>
          </a:xfrm>
          <a:prstGeom prst="rect">
            <a:avLst/>
          </a:prstGeom>
          <a:solidFill>
            <a:srgbClr val="F05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zh-CN" alt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语音转文本</a:t>
            </a:r>
            <a:endParaRPr kumimoji="0" lang="zh-CN" altLang="en-US" sz="1600" b="1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2964815" y="4474345"/>
            <a:ext cx="1504315" cy="749935"/>
          </a:xfrm>
          <a:prstGeom prst="rect">
            <a:avLst/>
          </a:prstGeom>
          <a:solidFill>
            <a:srgbClr val="F05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zh-CN" alt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文本转特征</a:t>
            </a:r>
            <a:endParaRPr kumimoji="0" lang="zh-CN" altLang="en-US" sz="1600" b="1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2961005" y="2077085"/>
            <a:ext cx="6028690" cy="3162935"/>
          </a:xfrm>
          <a:prstGeom prst="rect">
            <a:avLst/>
          </a:prstGeom>
          <a:noFill/>
          <a:ln w="0">
            <a:solidFill>
              <a:schemeClr val="bg1">
                <a:lumMod val="95000"/>
              </a:schemeClr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lumMod val="40000"/>
                    <a:lumOff val="60000"/>
                  </a:schemeClr>
                </a:solidFill>
              </a14:hiddenFill>
            </a:ext>
          </a:extLst>
        </p:spPr>
        <p:txBody>
          <a:bodyPr vert="horz" wrap="square" lIns="91440" tIns="45720" rIns="91440" bIns="45720" numCol="1" rtlCol="0" anchor="t" anchorCtr="0" compatLnSpc="1"/>
          <a:p>
            <a:endParaRPr lang="zh-CN" altLang="en-US"/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精选标签：高效筛选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&amp;</a:t>
            </a: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提升性能</a:t>
            </a:r>
            <a:endParaRPr lang="en-US" altLang="zh-CN" sz="2800" b="1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938530" y="112522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sz="1800" dirty="0" smtClean="0"/>
              <a:t>通过自动化方式筛选</a:t>
            </a:r>
            <a:endParaRPr lang="en-US" altLang="zh-CN" sz="1800" dirty="0" smtClean="0"/>
          </a:p>
        </p:txBody>
      </p:sp>
      <p:grpSp>
        <p:nvGrpSpPr>
          <p:cNvPr id="3" name="组合 2"/>
          <p:cNvGrpSpPr/>
          <p:nvPr/>
        </p:nvGrpSpPr>
        <p:grpSpPr>
          <a:xfrm>
            <a:off x="450215" y="1061720"/>
            <a:ext cx="389255" cy="427990"/>
            <a:chOff x="450391" y="1977754"/>
            <a:chExt cx="465233" cy="511985"/>
          </a:xfrm>
        </p:grpSpPr>
        <p:sp>
          <p:nvSpPr>
            <p:cNvPr id="488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89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0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1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2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3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5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36" name="圆: 空心 35"/>
          <p:cNvSpPr/>
          <p:nvPr/>
        </p:nvSpPr>
        <p:spPr>
          <a:xfrm>
            <a:off x="1330960" y="2422525"/>
            <a:ext cx="3719830" cy="3719830"/>
          </a:xfrm>
          <a:prstGeom prst="donut">
            <a:avLst>
              <a:gd name="adj" fmla="val 771"/>
            </a:avLst>
          </a:prstGeom>
          <a:solidFill>
            <a:schemeClr val="tx2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200" b="1">
              <a:solidFill>
                <a:schemeClr val="tx1"/>
              </a:solidFill>
            </a:endParaRPr>
          </a:p>
        </p:txBody>
      </p:sp>
      <p:sp>
        <p:nvSpPr>
          <p:cNvPr id="37" name="椭圆 36"/>
          <p:cNvSpPr/>
          <p:nvPr/>
        </p:nvSpPr>
        <p:spPr>
          <a:xfrm rot="659" flipH="1">
            <a:off x="2139950" y="3231515"/>
            <a:ext cx="2102485" cy="210248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b="1" dirty="0">
                <a:solidFill>
                  <a:srgbClr val="FFFFFF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自动过滤</a:t>
            </a:r>
            <a:endParaRPr kumimoji="1" lang="zh-CN" altLang="en-US" b="1" dirty="0">
              <a:solidFill>
                <a:srgbClr val="FFFFFF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40" name="椭圆 39"/>
          <p:cNvSpPr/>
          <p:nvPr/>
        </p:nvSpPr>
        <p:spPr>
          <a:xfrm>
            <a:off x="4681220" y="3467100"/>
            <a:ext cx="1262380" cy="126238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b="1">
                <a:solidFill>
                  <a:schemeClr val="bg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饱和度</a:t>
            </a:r>
            <a:endParaRPr kumimoji="1" lang="zh-CN" altLang="en-US" b="1" dirty="0">
              <a:solidFill>
                <a:schemeClr val="bg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42" name="椭圆 41"/>
          <p:cNvSpPr/>
          <p:nvPr/>
        </p:nvSpPr>
        <p:spPr>
          <a:xfrm rot="10800000" flipH="1" flipV="1">
            <a:off x="1330960" y="1809115"/>
            <a:ext cx="1262380" cy="126238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</a:rPr>
              <a:t>IV</a:t>
            </a:r>
            <a:endParaRPr kumimoji="1" lang="en-US" altLang="zh-CN" b="1" dirty="0">
              <a:solidFill>
                <a:schemeClr val="bg1"/>
              </a:solidFill>
              <a:latin typeface="Calibri" panose="020F0502020204030204" pitchFamily="34" charset="0"/>
              <a:ea typeface="宋体" pitchFamily="2" charset="-122"/>
            </a:endParaRPr>
          </a:p>
        </p:txBody>
      </p:sp>
      <p:grpSp>
        <p:nvGrpSpPr>
          <p:cNvPr id="11" name="组合 10"/>
          <p:cNvGrpSpPr/>
          <p:nvPr/>
        </p:nvGrpSpPr>
        <p:grpSpPr>
          <a:xfrm rot="0">
            <a:off x="7605395" y="2194560"/>
            <a:ext cx="3785870" cy="990632"/>
            <a:chOff x="7119257" y="2419545"/>
            <a:chExt cx="4495009" cy="974788"/>
          </a:xfrm>
          <a:noFill/>
        </p:grpSpPr>
        <p:sp>
          <p:nvSpPr>
            <p:cNvPr id="14" name="矩形 13"/>
            <p:cNvSpPr/>
            <p:nvPr/>
          </p:nvSpPr>
          <p:spPr>
            <a:xfrm>
              <a:off x="7119257" y="2419545"/>
              <a:ext cx="2097758" cy="3311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b" anchorCtr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r>
                <a:rPr kumimoji="1" lang="en-US" altLang="zh-CN" sz="1600" b="1" dirty="0">
                  <a:solidFill>
                    <a:schemeClr val="tx1"/>
                  </a:solidFill>
                  <a:latin typeface="Calibri" panose="020F0502020204030204" pitchFamily="34" charset="0"/>
                  <a:ea typeface="宋体" pitchFamily="2" charset="-122"/>
                </a:rPr>
                <a:t>IV</a:t>
              </a:r>
              <a:endParaRPr kumimoji="1" lang="en-US" altLang="zh-CN" sz="1600" b="1" dirty="0">
                <a:solidFill>
                  <a:schemeClr val="tx1"/>
                </a:solidFill>
                <a:latin typeface="Calibri" panose="020F0502020204030204" pitchFamily="34" charset="0"/>
                <a:ea typeface="宋体" pitchFamily="2" charset="-122"/>
              </a:endParaRPr>
            </a:p>
          </p:txBody>
        </p:sp>
        <p:sp>
          <p:nvSpPr>
            <p:cNvPr id="16" name="矩形 15"/>
            <p:cNvSpPr/>
            <p:nvPr/>
          </p:nvSpPr>
          <p:spPr>
            <a:xfrm>
              <a:off x="7119257" y="2754493"/>
              <a:ext cx="4495009" cy="63984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 anchorCtr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marL="171450" indent="-171450">
                <a:lnSpc>
                  <a:spcPct val="130000"/>
                </a:lnSpc>
                <a:buFont typeface="Arial" panose="020B0604020202090204" pitchFamily="34" charset="0"/>
                <a:buChar char="•"/>
              </a:pPr>
              <a:r>
                <a:rPr kumimoji="1" lang="zh-CN" altLang="en-US" sz="1400" dirty="0">
                  <a:solidFill>
                    <a:schemeClr val="tx1"/>
                  </a:solidFill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有效特征多时，可以剔除</a:t>
              </a:r>
              <a:r>
                <a:rPr kumimoji="1" lang="en-US" altLang="zh-CN" sz="1400" dirty="0">
                  <a:solidFill>
                    <a:schemeClr val="tx1"/>
                  </a:solidFill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IV&lt;0.02</a:t>
              </a:r>
              <a:r>
                <a:rPr kumimoji="1" lang="zh-CN" altLang="en-US" sz="1400" dirty="0">
                  <a:solidFill>
                    <a:schemeClr val="tx1"/>
                  </a:solidFill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标签</a:t>
              </a:r>
              <a:endParaRPr kumimoji="1" lang="zh-CN" altLang="en-US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endParaRPr>
            </a:p>
            <a:p>
              <a:pPr marL="171450" indent="-171450">
                <a:lnSpc>
                  <a:spcPct val="130000"/>
                </a:lnSpc>
                <a:buFont typeface="Arial" panose="020B0604020202090204" pitchFamily="34" charset="0"/>
                <a:buChar char="•"/>
              </a:pPr>
              <a:r>
                <a:rPr kumimoji="1" lang="zh-CN" altLang="en-US" sz="1400" dirty="0">
                  <a:solidFill>
                    <a:schemeClr val="tx1"/>
                  </a:solidFill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有效特征少时，可以适当减小阈值，如</a:t>
              </a:r>
              <a:r>
                <a:rPr kumimoji="1" lang="en-US" altLang="zh-CN" sz="1400" dirty="0">
                  <a:solidFill>
                    <a:schemeClr val="tx1"/>
                  </a:solidFill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0.01</a:t>
              </a:r>
              <a:endParaRPr kumimoji="1" lang="en-US" altLang="zh-CN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endParaRPr>
            </a:p>
          </p:txBody>
        </p:sp>
      </p:grpSp>
      <p:sp>
        <p:nvSpPr>
          <p:cNvPr id="29" name="文本框 28"/>
          <p:cNvSpPr txBox="1"/>
          <p:nvPr/>
        </p:nvSpPr>
        <p:spPr>
          <a:xfrm>
            <a:off x="7052945" y="2275205"/>
            <a:ext cx="480695" cy="480695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91440" tIns="45720" rIns="91440" bIns="45720" rtlCol="0" anchor="ctr" anchorCtr="0">
            <a:noAutofit/>
          </a:bodyPr>
          <a:lstStyle/>
          <a:p>
            <a:pPr algn="ctr"/>
            <a:r>
              <a:rPr kumimoji="1" lang="en-US" altLang="zh-CN" sz="2000" b="1" dirty="0">
                <a:solidFill>
                  <a:srgbClr val="FFFFFF"/>
                </a:solidFill>
                <a:latin typeface="Calibri" panose="020F0502020204030204" pitchFamily="34" charset="0"/>
                <a:ea typeface="宋体" pitchFamily="2" charset="-122"/>
              </a:rPr>
              <a:t>01</a:t>
            </a:r>
            <a:endParaRPr kumimoji="1" lang="zh-CN" altLang="en-US" sz="2000" b="1" dirty="0">
              <a:solidFill>
                <a:srgbClr val="FFFFFF"/>
              </a:solidFill>
              <a:latin typeface="Calibri" panose="020F0502020204030204" pitchFamily="34" charset="0"/>
              <a:ea typeface="宋体" pitchFamily="2" charset="-122"/>
            </a:endParaRPr>
          </a:p>
        </p:txBody>
      </p:sp>
      <p:grpSp>
        <p:nvGrpSpPr>
          <p:cNvPr id="24" name="组合 23"/>
          <p:cNvGrpSpPr/>
          <p:nvPr/>
        </p:nvGrpSpPr>
        <p:grpSpPr>
          <a:xfrm rot="0">
            <a:off x="7598410" y="3601085"/>
            <a:ext cx="3785235" cy="1550678"/>
            <a:chOff x="7119257" y="2418942"/>
            <a:chExt cx="4495009" cy="1525883"/>
          </a:xfrm>
          <a:noFill/>
        </p:grpSpPr>
        <p:sp>
          <p:nvSpPr>
            <p:cNvPr id="20" name="矩形 19"/>
            <p:cNvSpPr/>
            <p:nvPr/>
          </p:nvSpPr>
          <p:spPr>
            <a:xfrm>
              <a:off x="7119257" y="2418942"/>
              <a:ext cx="2097759" cy="33179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b" anchorCtr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r>
                <a:rPr kumimoji="1" lang="zh-CN" altLang="en-US" sz="1600" b="1" dirty="0">
                  <a:solidFill>
                    <a:schemeClr val="tx1"/>
                  </a:solidFill>
                  <a:latin typeface="华文楷体" panose="02010600040101010101" pitchFamily="2" charset="-122"/>
                  <a:ea typeface="华文楷体" panose="02010600040101010101" pitchFamily="2" charset="-122"/>
                </a:rPr>
                <a:t>饱和度</a:t>
              </a:r>
              <a:endParaRPr kumimoji="1" lang="zh-CN" altLang="en-US" sz="1600" b="1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endParaRPr>
            </a:p>
          </p:txBody>
        </p:sp>
        <p:sp>
          <p:nvSpPr>
            <p:cNvPr id="21" name="矩形 20"/>
            <p:cNvSpPr/>
            <p:nvPr/>
          </p:nvSpPr>
          <p:spPr>
            <a:xfrm>
              <a:off x="7119257" y="2754492"/>
              <a:ext cx="4495009" cy="11903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 anchorCtr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marL="171450" indent="-171450">
                <a:lnSpc>
                  <a:spcPct val="130000"/>
                </a:lnSpc>
                <a:buFont typeface="Arial" panose="020B0604020202090204" pitchFamily="34" charset="0"/>
                <a:buChar char="•"/>
              </a:pPr>
              <a:r>
                <a:rPr kumimoji="1" lang="zh-CN" altLang="en-US" sz="1400" dirty="0">
                  <a:solidFill>
                    <a:schemeClr val="tx1"/>
                  </a:solidFill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剔除饱和度低标签</a:t>
              </a:r>
              <a:endParaRPr kumimoji="1" lang="zh-CN" altLang="en-US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endParaRPr>
            </a:p>
            <a:p>
              <a:pPr marL="171450" indent="-171450">
                <a:lnSpc>
                  <a:spcPct val="130000"/>
                </a:lnSpc>
                <a:buFont typeface="Arial" panose="020B0604020202090204" pitchFamily="34" charset="0"/>
                <a:buChar char="•"/>
              </a:pPr>
              <a:r>
                <a:rPr kumimoji="1" lang="zh-CN" altLang="en-US" sz="1400" dirty="0">
                  <a:solidFill>
                    <a:schemeClr val="tx1"/>
                  </a:solidFill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注意连续型和离散型标签（离散型取值为</a:t>
              </a:r>
              <a:r>
                <a:rPr kumimoji="1" lang="en-US" altLang="zh-CN" sz="1400" dirty="0">
                  <a:solidFill>
                    <a:schemeClr val="tx1"/>
                  </a:solidFill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0</a:t>
              </a:r>
              <a:r>
                <a:rPr kumimoji="1" lang="zh-CN" altLang="en-US" sz="1400" dirty="0">
                  <a:solidFill>
                    <a:schemeClr val="tx1"/>
                  </a:solidFill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的不是缺失，连续型为</a:t>
              </a:r>
              <a:r>
                <a:rPr kumimoji="1" lang="en-US" altLang="zh-CN" sz="1400" dirty="0">
                  <a:solidFill>
                    <a:schemeClr val="tx1"/>
                  </a:solidFill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0</a:t>
              </a:r>
              <a:r>
                <a:rPr kumimoji="1" lang="zh-CN" altLang="en-US" sz="1400" dirty="0">
                  <a:solidFill>
                    <a:schemeClr val="tx1"/>
                  </a:solidFill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的视业务意义确定是否缺失）</a:t>
              </a:r>
              <a:endParaRPr kumimoji="1" lang="zh-CN" altLang="en-US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endParaRPr>
            </a:p>
          </p:txBody>
        </p:sp>
      </p:grpSp>
      <p:sp>
        <p:nvSpPr>
          <p:cNvPr id="32" name="文本框 31"/>
          <p:cNvSpPr txBox="1"/>
          <p:nvPr/>
        </p:nvSpPr>
        <p:spPr>
          <a:xfrm>
            <a:off x="7052945" y="3689985"/>
            <a:ext cx="473710" cy="473710"/>
          </a:xfrm>
          <a:prstGeom prst="roundRect">
            <a:avLst>
              <a:gd name="adj" fmla="val 50000"/>
            </a:avLst>
          </a:prstGeom>
          <a:solidFill>
            <a:schemeClr val="tx2">
              <a:alpha val="15000"/>
            </a:schemeClr>
          </a:solidFill>
        </p:spPr>
        <p:txBody>
          <a:bodyPr wrap="none" lIns="91440" tIns="45720" rIns="91440" bIns="45720" rtlCol="0" anchor="ctr" anchorCtr="0">
            <a:noAutofit/>
          </a:bodyPr>
          <a:lstStyle>
            <a:defPPr>
              <a:defRPr lang="zh-CN"/>
            </a:defPPr>
            <a:lvl1pPr algn="ctr">
              <a:defRPr kumimoji="1" sz="2000" b="1"/>
            </a:lvl1pPr>
          </a:lstStyle>
          <a:p>
            <a:r>
              <a:rPr lang="en-US" altLang="zh-CN" dirty="0">
                <a:latin typeface="Calibri" panose="020F0502020204030204" pitchFamily="34" charset="0"/>
                <a:ea typeface="宋体" pitchFamily="2" charset="-122"/>
              </a:rPr>
              <a:t>02</a:t>
            </a:r>
            <a:endParaRPr lang="zh-CN" altLang="en-US" dirty="0">
              <a:latin typeface="Calibri" panose="020F0502020204030204" pitchFamily="34" charset="0"/>
              <a:ea typeface="宋体" pitchFamily="2" charset="-122"/>
            </a:endParaRPr>
          </a:p>
        </p:txBody>
      </p:sp>
      <p:cxnSp>
        <p:nvCxnSpPr>
          <p:cNvPr id="38" name="直接连接符 37"/>
          <p:cNvCxnSpPr/>
          <p:nvPr/>
        </p:nvCxnSpPr>
        <p:spPr>
          <a:xfrm>
            <a:off x="6096000" y="1808480"/>
            <a:ext cx="0" cy="4333240"/>
          </a:xfrm>
          <a:prstGeom prst="line">
            <a:avLst/>
          </a:prstGeom>
          <a:ln>
            <a:solidFill>
              <a:schemeClr val="tx2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组合 40"/>
          <p:cNvGrpSpPr/>
          <p:nvPr/>
        </p:nvGrpSpPr>
        <p:grpSpPr>
          <a:xfrm rot="0">
            <a:off x="7598410" y="5247005"/>
            <a:ext cx="3785235" cy="991242"/>
            <a:chOff x="7119257" y="2418942"/>
            <a:chExt cx="4495009" cy="975395"/>
          </a:xfrm>
          <a:noFill/>
        </p:grpSpPr>
        <p:sp>
          <p:nvSpPr>
            <p:cNvPr id="43" name="矩形 42"/>
            <p:cNvSpPr/>
            <p:nvPr/>
          </p:nvSpPr>
          <p:spPr>
            <a:xfrm>
              <a:off x="7119257" y="2418942"/>
              <a:ext cx="2097759" cy="33179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b" anchorCtr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r>
                <a:rPr kumimoji="1" lang="zh-CN" altLang="en-US" sz="1600" b="1" dirty="0">
                  <a:solidFill>
                    <a:schemeClr val="tx1"/>
                  </a:solidFill>
                  <a:latin typeface="华文楷体" panose="02010600040101010101" pitchFamily="2" charset="-122"/>
                  <a:ea typeface="华文楷体" panose="02010600040101010101" pitchFamily="2" charset="-122"/>
                </a:rPr>
                <a:t>特征重要性</a:t>
              </a:r>
              <a:endParaRPr kumimoji="1" lang="zh-CN" altLang="en-US" sz="1600" b="1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endParaRPr>
            </a:p>
          </p:txBody>
        </p:sp>
        <p:sp>
          <p:nvSpPr>
            <p:cNvPr id="44" name="矩形 43"/>
            <p:cNvSpPr/>
            <p:nvPr/>
          </p:nvSpPr>
          <p:spPr>
            <a:xfrm>
              <a:off x="7119257" y="2754492"/>
              <a:ext cx="4495009" cy="63984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 anchorCtr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marL="171450" indent="-171450">
                <a:lnSpc>
                  <a:spcPct val="130000"/>
                </a:lnSpc>
                <a:buFont typeface="Arial" panose="020B0604020202090204" pitchFamily="34" charset="0"/>
                <a:buChar char="•"/>
              </a:pPr>
              <a:r>
                <a:rPr kumimoji="1" lang="zh-CN" altLang="en-US" sz="1400" dirty="0">
                  <a:solidFill>
                    <a:schemeClr val="tx1"/>
                  </a:solidFill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通过分类算法的</a:t>
              </a:r>
              <a:r>
                <a:rPr kumimoji="1" lang="en-US" altLang="zh-CN" sz="1400" dirty="0">
                  <a:solidFill>
                    <a:schemeClr val="tx1"/>
                  </a:solidFill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feature_importance</a:t>
              </a:r>
              <a:r>
                <a:rPr kumimoji="1" lang="zh-CN" altLang="en-US" sz="1400" dirty="0">
                  <a:solidFill>
                    <a:schemeClr val="tx1"/>
                  </a:solidFill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保留排在前面的标签</a:t>
              </a:r>
              <a:endParaRPr kumimoji="1" lang="zh-CN" altLang="en-US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endParaRPr>
            </a:p>
          </p:txBody>
        </p:sp>
      </p:grpSp>
      <p:sp>
        <p:nvSpPr>
          <p:cNvPr id="45" name="文本框 44"/>
          <p:cNvSpPr txBox="1"/>
          <p:nvPr/>
        </p:nvSpPr>
        <p:spPr>
          <a:xfrm>
            <a:off x="7052945" y="5335905"/>
            <a:ext cx="473710" cy="473710"/>
          </a:xfrm>
          <a:prstGeom prst="roundRect">
            <a:avLst>
              <a:gd name="adj" fmla="val 50000"/>
            </a:avLst>
          </a:prstGeom>
          <a:solidFill>
            <a:schemeClr val="tx2">
              <a:alpha val="15000"/>
            </a:schemeClr>
          </a:solidFill>
        </p:spPr>
        <p:txBody>
          <a:bodyPr wrap="none" lIns="91440" tIns="45720" rIns="91440" bIns="45720" rtlCol="0" anchor="ctr" anchorCtr="0">
            <a:noAutofit/>
          </a:bodyPr>
          <a:lstStyle>
            <a:defPPr>
              <a:defRPr lang="zh-CN"/>
            </a:defPPr>
            <a:lvl1pPr algn="ctr">
              <a:defRPr kumimoji="1" sz="2000" b="1"/>
            </a:lvl1pPr>
          </a:lstStyle>
          <a:p>
            <a:r>
              <a:rPr lang="en-US" altLang="zh-CN" dirty="0">
                <a:latin typeface="Calibri" panose="020F0502020204030204" pitchFamily="34" charset="0"/>
                <a:ea typeface="宋体" pitchFamily="2" charset="-122"/>
              </a:rPr>
              <a:t>03</a:t>
            </a:r>
            <a:endParaRPr lang="zh-CN" altLang="en-US" dirty="0">
              <a:latin typeface="Calibri" panose="020F0502020204030204" pitchFamily="34" charset="0"/>
              <a:ea typeface="宋体" pitchFamily="2" charset="-122"/>
            </a:endParaRPr>
          </a:p>
        </p:txBody>
      </p:sp>
      <p:sp>
        <p:nvSpPr>
          <p:cNvPr id="46" name="椭圆 45"/>
          <p:cNvSpPr/>
          <p:nvPr/>
        </p:nvSpPr>
        <p:spPr>
          <a:xfrm>
            <a:off x="1016635" y="4982210"/>
            <a:ext cx="1262380" cy="12623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b="1">
                <a:solidFill>
                  <a:srgbClr val="FFFFFF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特征重要性</a:t>
            </a:r>
            <a:endParaRPr kumimoji="1" lang="zh-CN" altLang="en-US" b="1" dirty="0">
              <a:solidFill>
                <a:srgbClr val="FFFFFF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群策群力：</a:t>
            </a:r>
            <a:r>
              <a:rPr 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机构一线专家信息萃取</a:t>
            </a:r>
            <a:endParaRPr lang="zh-CN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938530" y="1058545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sz="1800" dirty="0" smtClean="0"/>
              <a:t>组织机构一线专家头脑风暴</a:t>
            </a:r>
            <a:endParaRPr lang="zh-CN" altLang="en-US" sz="1800" dirty="0" smtClean="0"/>
          </a:p>
        </p:txBody>
      </p:sp>
      <p:grpSp>
        <p:nvGrpSpPr>
          <p:cNvPr id="3" name="组合 2"/>
          <p:cNvGrpSpPr/>
          <p:nvPr/>
        </p:nvGrpSpPr>
        <p:grpSpPr>
          <a:xfrm>
            <a:off x="450215" y="995045"/>
            <a:ext cx="389255" cy="427990"/>
            <a:chOff x="450391" y="1977754"/>
            <a:chExt cx="465233" cy="511985"/>
          </a:xfrm>
        </p:grpSpPr>
        <p:sp>
          <p:nvSpPr>
            <p:cNvPr id="488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89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0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1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2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3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5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50" name="任意多边形: 形状 49"/>
          <p:cNvSpPr/>
          <p:nvPr/>
        </p:nvSpPr>
        <p:spPr>
          <a:xfrm>
            <a:off x="1012190" y="1398270"/>
            <a:ext cx="10856595" cy="3203575"/>
          </a:xfrm>
          <a:custGeom>
            <a:avLst/>
            <a:gdLst>
              <a:gd name="connsiteX0" fmla="*/ 496 w 11498735"/>
              <a:gd name="connsiteY0" fmla="*/ 272 h 2688161"/>
              <a:gd name="connsiteX1" fmla="*/ 10216015 w 11498735"/>
              <a:gd name="connsiteY1" fmla="*/ 272 h 2688161"/>
              <a:gd name="connsiteX2" fmla="*/ 11499232 w 11498735"/>
              <a:gd name="connsiteY2" fmla="*/ 1283362 h 2688161"/>
              <a:gd name="connsiteX3" fmla="*/ 10216015 w 11498735"/>
              <a:gd name="connsiteY3" fmla="*/ 2566578 h 2688161"/>
              <a:gd name="connsiteX4" fmla="*/ 3224388 w 11498735"/>
              <a:gd name="connsiteY4" fmla="*/ 2566578 h 2688161"/>
              <a:gd name="connsiteX5" fmla="*/ 3224388 w 11498735"/>
              <a:gd name="connsiteY5" fmla="*/ 2688433 h 2688161"/>
              <a:gd name="connsiteX6" fmla="*/ 2615747 w 11498735"/>
              <a:gd name="connsiteY6" fmla="*/ 2335422 h 2688161"/>
              <a:gd name="connsiteX7" fmla="*/ 3224388 w 11498735"/>
              <a:gd name="connsiteY7" fmla="*/ 1982410 h 2688161"/>
              <a:gd name="connsiteX8" fmla="*/ 3224388 w 11498735"/>
              <a:gd name="connsiteY8" fmla="*/ 2160945 h 2688161"/>
              <a:gd name="connsiteX9" fmla="*/ 10216015 w 11498735"/>
              <a:gd name="connsiteY9" fmla="*/ 2160945 h 2688161"/>
              <a:gd name="connsiteX10" fmla="*/ 11094105 w 11498735"/>
              <a:gd name="connsiteY10" fmla="*/ 1282854 h 2688161"/>
              <a:gd name="connsiteX11" fmla="*/ 10216015 w 11498735"/>
              <a:gd name="connsiteY11" fmla="*/ 404764 h 2688161"/>
              <a:gd name="connsiteX12" fmla="*/ 496 w 11498735"/>
              <a:gd name="connsiteY12" fmla="*/ 404764 h 2688161"/>
              <a:gd name="connsiteX13" fmla="*/ 496 w 11498735"/>
              <a:gd name="connsiteY13" fmla="*/ 272 h 2688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1498735" h="2688161">
                <a:moveTo>
                  <a:pt x="496" y="272"/>
                </a:moveTo>
                <a:lnTo>
                  <a:pt x="10216015" y="272"/>
                </a:lnTo>
                <a:cubicBezTo>
                  <a:pt x="10924345" y="1046"/>
                  <a:pt x="11498395" y="575031"/>
                  <a:pt x="11499232" y="1283362"/>
                </a:cubicBezTo>
                <a:cubicBezTo>
                  <a:pt x="11498395" y="1991718"/>
                  <a:pt x="10924371" y="2565740"/>
                  <a:pt x="10216015" y="2566578"/>
                </a:cubicBezTo>
                <a:lnTo>
                  <a:pt x="3224388" y="2566578"/>
                </a:lnTo>
                <a:lnTo>
                  <a:pt x="3224388" y="2688433"/>
                </a:lnTo>
                <a:lnTo>
                  <a:pt x="2615747" y="2335422"/>
                </a:lnTo>
                <a:lnTo>
                  <a:pt x="3224388" y="1982410"/>
                </a:lnTo>
                <a:lnTo>
                  <a:pt x="3224388" y="2160945"/>
                </a:lnTo>
                <a:lnTo>
                  <a:pt x="10216015" y="2160945"/>
                </a:lnTo>
                <a:cubicBezTo>
                  <a:pt x="10700772" y="2160450"/>
                  <a:pt x="11093611" y="1767611"/>
                  <a:pt x="11094105" y="1282854"/>
                </a:cubicBezTo>
                <a:cubicBezTo>
                  <a:pt x="11093611" y="798098"/>
                  <a:pt x="10700772" y="405259"/>
                  <a:pt x="10216015" y="404764"/>
                </a:cubicBezTo>
                <a:lnTo>
                  <a:pt x="496" y="404764"/>
                </a:lnTo>
                <a:lnTo>
                  <a:pt x="496" y="272"/>
                </a:lnTo>
                <a:close/>
              </a:path>
            </a:pathLst>
          </a:custGeom>
          <a:solidFill>
            <a:schemeClr val="tx2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grpSp>
        <p:nvGrpSpPr>
          <p:cNvPr id="72" name="组合 71"/>
          <p:cNvGrpSpPr/>
          <p:nvPr/>
        </p:nvGrpSpPr>
        <p:grpSpPr>
          <a:xfrm rot="0">
            <a:off x="1183005" y="2098040"/>
            <a:ext cx="1934845" cy="1399540"/>
            <a:chOff x="791568" y="2833979"/>
            <a:chExt cx="2048740" cy="1114920"/>
          </a:xfrm>
        </p:grpSpPr>
        <p:sp>
          <p:nvSpPr>
            <p:cNvPr id="62" name="文本框 61"/>
            <p:cNvSpPr txBox="1"/>
            <p:nvPr/>
          </p:nvSpPr>
          <p:spPr>
            <a:xfrm>
              <a:off x="801604" y="2833979"/>
              <a:ext cx="1958691" cy="244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 b="1" dirty="0">
                  <a:latin typeface="华文楷体" panose="02010600040101010101" pitchFamily="2" charset="-122"/>
                  <a:ea typeface="华文楷体" panose="02010600040101010101" pitchFamily="2" charset="-122"/>
                </a:rPr>
                <a:t>预加载技术</a:t>
              </a:r>
              <a:endParaRPr lang="zh-CN" altLang="en-US" sz="1400" b="1" dirty="0">
                <a:latin typeface="华文楷体" panose="02010600040101010101" pitchFamily="2" charset="-122"/>
                <a:ea typeface="华文楷体" panose="02010600040101010101" pitchFamily="2" charset="-122"/>
              </a:endParaRPr>
            </a:p>
          </p:txBody>
        </p:sp>
        <p:sp>
          <p:nvSpPr>
            <p:cNvPr id="63" name="文本框 62"/>
            <p:cNvSpPr txBox="1"/>
            <p:nvPr/>
          </p:nvSpPr>
          <p:spPr>
            <a:xfrm>
              <a:off x="791568" y="3111697"/>
              <a:ext cx="2048740" cy="837202"/>
            </a:xfrm>
            <a:prstGeom prst="rect">
              <a:avLst/>
            </a:prstGeom>
            <a:ln>
              <a:noFill/>
            </a:ln>
          </p:spPr>
          <p:txBody>
            <a:bodyPr wrap="square" lIns="90000" tIns="46800" rIns="90000" bIns="46800" anchor="t">
              <a:noAutofit/>
            </a:bodyPr>
            <a:lstStyle>
              <a:defPPr>
                <a:defRPr lang="zh-CN"/>
              </a:defPPr>
              <a:lvl1pPr algn="ctr">
                <a:lnSpc>
                  <a:spcPct val="150000"/>
                </a:lnSpc>
                <a:defRPr sz="1000">
                  <a:solidFill>
                    <a:schemeClr val="tx1">
                      <a:lumMod val="85000"/>
                      <a:lumOff val="15000"/>
                    </a:schemeClr>
                  </a:solidFill>
                </a:defRPr>
              </a:lvl1pPr>
            </a:lstStyle>
            <a:p>
              <a:pPr algn="l">
                <a:lnSpc>
                  <a:spcPct val="130000"/>
                </a:lnSpc>
              </a:pPr>
              <a:r>
                <a:rPr lang="zh-CN" altLang="en-US" sz="1200"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提前解析：</a:t>
              </a:r>
              <a:r>
                <a:rPr lang="en-US" altLang="en-GB" sz="1200"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DNS prefetch</a:t>
              </a:r>
              <a:br>
                <a:rPr lang="zh-CN" altLang="en-US" sz="1200"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</a:br>
              <a:r>
                <a:rPr lang="zh-CN" altLang="en-US" sz="1200"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提前获取：</a:t>
              </a:r>
              <a:r>
                <a:rPr lang="en-US" altLang="zh-CN" sz="1200"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Preconnect</a:t>
              </a:r>
              <a:r>
                <a:rPr lang="zh-CN" altLang="en-US" sz="1200"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、</a:t>
              </a:r>
              <a:r>
                <a:rPr lang="en-US" altLang="zh-CN" sz="1200"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Preload</a:t>
              </a:r>
              <a:r>
                <a:rPr lang="zh-CN" altLang="en-US" sz="1200"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、</a:t>
              </a:r>
              <a:r>
                <a:rPr lang="en-US" altLang="zh-CN" sz="1200"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Prefetch</a:t>
              </a:r>
              <a:br>
                <a:rPr lang="en-US" altLang="zh-CN" sz="1200"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</a:br>
              <a:r>
                <a:rPr lang="zh-CN" altLang="en-US" sz="1200"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提前渲染</a:t>
              </a:r>
              <a:r>
                <a:rPr lang="en-US" altLang="zh-CN" sz="1200"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Prerender</a:t>
              </a:r>
              <a:endParaRPr lang="en-US" altLang="zh-CN" sz="120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endParaRPr>
            </a:p>
          </p:txBody>
        </p:sp>
      </p:grpSp>
      <p:sp>
        <p:nvSpPr>
          <p:cNvPr id="75" name="矩形: 圆角 74"/>
          <p:cNvSpPr/>
          <p:nvPr/>
        </p:nvSpPr>
        <p:spPr>
          <a:xfrm>
            <a:off x="1833880" y="1717040"/>
            <a:ext cx="285115" cy="28448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sz="1400" dirty="0">
                <a:solidFill>
                  <a:schemeClr val="lt1">
                    <a:lumMod val="100000"/>
                  </a:schemeClr>
                </a:solidFill>
                <a:latin typeface="Calibri" panose="020F0502020204030204" pitchFamily="34" charset="0"/>
                <a:ea typeface="宋体" pitchFamily="2" charset="-122"/>
              </a:rPr>
              <a:t>1</a:t>
            </a:r>
            <a:endParaRPr lang="zh-CN" altLang="en-US" sz="1400" dirty="0">
              <a:solidFill>
                <a:schemeClr val="lt1">
                  <a:lumMod val="100000"/>
                </a:schemeClr>
              </a:solidFill>
              <a:latin typeface="Calibri" panose="020F0502020204030204" pitchFamily="34" charset="0"/>
              <a:ea typeface="宋体" pitchFamily="2" charset="-122"/>
            </a:endParaRPr>
          </a:p>
        </p:txBody>
      </p:sp>
      <p:grpSp>
        <p:nvGrpSpPr>
          <p:cNvPr id="33" name="组合 32"/>
          <p:cNvGrpSpPr/>
          <p:nvPr/>
        </p:nvGrpSpPr>
        <p:grpSpPr>
          <a:xfrm rot="0">
            <a:off x="3336925" y="2098040"/>
            <a:ext cx="2295525" cy="1400175"/>
            <a:chOff x="770905" y="2833979"/>
            <a:chExt cx="2430713" cy="1483020"/>
          </a:xfrm>
        </p:grpSpPr>
        <p:sp>
          <p:nvSpPr>
            <p:cNvPr id="36" name="文本框 35"/>
            <p:cNvSpPr txBox="1"/>
            <p:nvPr/>
          </p:nvSpPr>
          <p:spPr>
            <a:xfrm>
              <a:off x="1064070" y="2833979"/>
              <a:ext cx="1958691" cy="3248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 b="1" dirty="0">
                  <a:latin typeface="华文楷体" panose="02010600040101010101" pitchFamily="2" charset="-122"/>
                  <a:ea typeface="华文楷体" panose="02010600040101010101" pitchFamily="2" charset="-122"/>
                </a:rPr>
                <a:t>代码</a:t>
              </a:r>
              <a:r>
                <a:rPr lang="zh-CN" altLang="en-US" sz="1400" b="1" dirty="0">
                  <a:latin typeface="华文楷体" panose="02010600040101010101" pitchFamily="2" charset="-122"/>
                  <a:ea typeface="华文楷体" panose="02010600040101010101" pitchFamily="2" charset="-122"/>
                </a:rPr>
                <a:t>压缩</a:t>
              </a:r>
              <a:endParaRPr lang="zh-CN" altLang="en-US" sz="1400" b="1" dirty="0">
                <a:latin typeface="华文楷体" panose="02010600040101010101" pitchFamily="2" charset="-122"/>
                <a:ea typeface="华文楷体" panose="02010600040101010101" pitchFamily="2" charset="-122"/>
              </a:endParaRPr>
            </a:p>
          </p:txBody>
        </p:sp>
        <p:sp>
          <p:nvSpPr>
            <p:cNvPr id="37" name="文本框 36"/>
            <p:cNvSpPr txBox="1"/>
            <p:nvPr/>
          </p:nvSpPr>
          <p:spPr>
            <a:xfrm>
              <a:off x="770905" y="3203221"/>
              <a:ext cx="2430713" cy="1113778"/>
            </a:xfrm>
            <a:prstGeom prst="rect">
              <a:avLst/>
            </a:prstGeom>
            <a:ln>
              <a:noFill/>
            </a:ln>
          </p:spPr>
          <p:txBody>
            <a:bodyPr wrap="square" lIns="90000" tIns="46800" rIns="90000" bIns="46800" anchor="t">
              <a:spAutoFit/>
            </a:bodyPr>
            <a:lstStyle>
              <a:defPPr>
                <a:defRPr lang="zh-CN"/>
              </a:defPPr>
              <a:lvl1pPr algn="ctr">
                <a:lnSpc>
                  <a:spcPct val="150000"/>
                </a:lnSpc>
                <a:defRPr sz="1000">
                  <a:solidFill>
                    <a:schemeClr val="tx1">
                      <a:lumMod val="85000"/>
                      <a:lumOff val="15000"/>
                    </a:schemeClr>
                  </a:solidFill>
                </a:defRPr>
              </a:lvl1pPr>
            </a:lstStyle>
            <a:p>
              <a:pPr algn="l">
                <a:lnSpc>
                  <a:spcPct val="130000"/>
                </a:lnSpc>
              </a:pPr>
              <a:r>
                <a:rPr lang="zh-CN" altLang="en-US" sz="1200" dirty="0"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  <a:sym typeface="+mn-ea"/>
                </a:rPr>
                <a:t>通过</a:t>
              </a:r>
              <a:r>
                <a:rPr lang="en-US" altLang="zh-CN" sz="1200" dirty="0"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  <a:sym typeface="+mn-ea"/>
                </a:rPr>
                <a:t>terserPlugin</a:t>
              </a:r>
              <a:r>
                <a:rPr lang="zh-CN" altLang="en-US" sz="1200" dirty="0"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  <a:sym typeface="+mn-ea"/>
                </a:rPr>
                <a:t>、</a:t>
              </a:r>
              <a:r>
                <a:rPr lang="en-US" altLang="zh-CN" sz="1200" dirty="0"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  <a:sym typeface="+mn-ea"/>
                </a:rPr>
                <a:t>cssMinimizer</a:t>
              </a:r>
              <a:r>
                <a:rPr lang="zh-CN" altLang="en-US" sz="1200" dirty="0"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  <a:sym typeface="+mn-ea"/>
                </a:rPr>
                <a:t>插件去除空白字符、注释以及重命名变量等方式来减少代码体积</a:t>
              </a:r>
              <a:endParaRPr lang="zh-CN" altLang="en-US" sz="1200" dirty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endParaRPr>
            </a:p>
          </p:txBody>
        </p:sp>
      </p:grpSp>
      <p:sp>
        <p:nvSpPr>
          <p:cNvPr id="35" name="矩形: 圆角 34"/>
          <p:cNvSpPr/>
          <p:nvPr/>
        </p:nvSpPr>
        <p:spPr>
          <a:xfrm>
            <a:off x="4283075" y="1717040"/>
            <a:ext cx="285115" cy="284480"/>
          </a:xfrm>
          <a:prstGeom prst="roundRect">
            <a:avLst>
              <a:gd name="adj" fmla="val 50000"/>
            </a:avLst>
          </a:prstGeom>
          <a:solidFill>
            <a:srgbClr val="778495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sz="1400" dirty="0">
                <a:solidFill>
                  <a:schemeClr val="lt1">
                    <a:lumMod val="100000"/>
                  </a:schemeClr>
                </a:solidFill>
                <a:latin typeface="Calibri" panose="020F0502020204030204" pitchFamily="34" charset="0"/>
                <a:ea typeface="宋体" pitchFamily="2" charset="-122"/>
              </a:rPr>
              <a:t>2</a:t>
            </a:r>
            <a:endParaRPr lang="zh-CN" altLang="en-US" sz="1400" dirty="0">
              <a:solidFill>
                <a:schemeClr val="lt1">
                  <a:lumMod val="100000"/>
                </a:schemeClr>
              </a:solidFill>
              <a:latin typeface="Calibri" panose="020F0502020204030204" pitchFamily="34" charset="0"/>
              <a:ea typeface="宋体" pitchFamily="2" charset="-122"/>
            </a:endParaRPr>
          </a:p>
        </p:txBody>
      </p:sp>
      <p:grpSp>
        <p:nvGrpSpPr>
          <p:cNvPr id="39" name="组合 38"/>
          <p:cNvGrpSpPr/>
          <p:nvPr/>
        </p:nvGrpSpPr>
        <p:grpSpPr>
          <a:xfrm rot="0">
            <a:off x="6062980" y="2098040"/>
            <a:ext cx="1849755" cy="1160230"/>
            <a:chOff x="1064070" y="2833979"/>
            <a:chExt cx="1958691" cy="1228878"/>
          </a:xfrm>
        </p:grpSpPr>
        <p:sp>
          <p:nvSpPr>
            <p:cNvPr id="41" name="文本框 40"/>
            <p:cNvSpPr txBox="1"/>
            <p:nvPr/>
          </p:nvSpPr>
          <p:spPr>
            <a:xfrm>
              <a:off x="1064070" y="2833979"/>
              <a:ext cx="1958691" cy="3248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 b="1" dirty="0">
                  <a:latin typeface="华文楷体" panose="02010600040101010101" pitchFamily="2" charset="-122"/>
                  <a:ea typeface="华文楷体" panose="02010600040101010101" pitchFamily="2" charset="-122"/>
                </a:rPr>
                <a:t>图片优化</a:t>
              </a:r>
              <a:endParaRPr lang="zh-CN" altLang="en-US" sz="1400" b="1" dirty="0">
                <a:latin typeface="华文楷体" panose="02010600040101010101" pitchFamily="2" charset="-122"/>
                <a:ea typeface="华文楷体" panose="02010600040101010101" pitchFamily="2" charset="-122"/>
              </a:endParaRPr>
            </a:p>
          </p:txBody>
        </p:sp>
        <p:sp>
          <p:nvSpPr>
            <p:cNvPr id="42" name="文本框 41"/>
            <p:cNvSpPr txBox="1"/>
            <p:nvPr/>
          </p:nvSpPr>
          <p:spPr>
            <a:xfrm>
              <a:off x="1064070" y="3203311"/>
              <a:ext cx="1958691" cy="859546"/>
            </a:xfrm>
            <a:prstGeom prst="rect">
              <a:avLst/>
            </a:prstGeom>
            <a:ln>
              <a:noFill/>
            </a:ln>
          </p:spPr>
          <p:txBody>
            <a:bodyPr wrap="square" lIns="90000" tIns="46800" rIns="90000" bIns="46800" anchor="t">
              <a:spAutoFit/>
            </a:bodyPr>
            <a:lstStyle>
              <a:defPPr>
                <a:defRPr lang="zh-CN"/>
              </a:defPPr>
              <a:lvl1pPr algn="ctr">
                <a:lnSpc>
                  <a:spcPct val="150000"/>
                </a:lnSpc>
                <a:defRPr sz="1000">
                  <a:solidFill>
                    <a:schemeClr val="tx1">
                      <a:lumMod val="85000"/>
                      <a:lumOff val="15000"/>
                    </a:schemeClr>
                  </a:solidFill>
                </a:defRPr>
              </a:lvl1pPr>
            </a:lstStyle>
            <a:p>
              <a:pPr algn="l">
                <a:lnSpc>
                  <a:spcPct val="130000"/>
                </a:lnSpc>
              </a:pPr>
              <a:r>
                <a:rPr lang="en-GB" sz="1200"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  <a:sym typeface="+mn-ea"/>
                </a:rPr>
                <a:t>通过 imagemin </a:t>
              </a:r>
              <a:r>
                <a:rPr lang="zh-CN" altLang="en-GB" sz="1200"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  <a:sym typeface="+mn-ea"/>
                </a:rPr>
                <a:t>插件压缩图片</a:t>
              </a:r>
              <a:r>
                <a:rPr lang="en-GB" sz="1200"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  <a:sym typeface="+mn-ea"/>
                </a:rPr>
                <a:t>，可以有效减少图片和 SVG 文件的体积</a:t>
              </a:r>
              <a:endParaRPr lang="en-GB" sz="120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endParaRPr>
            </a:p>
          </p:txBody>
        </p:sp>
      </p:grpSp>
      <p:sp>
        <p:nvSpPr>
          <p:cNvPr id="40" name="矩形: 圆角 39"/>
          <p:cNvSpPr/>
          <p:nvPr/>
        </p:nvSpPr>
        <p:spPr>
          <a:xfrm>
            <a:off x="6732270" y="1717040"/>
            <a:ext cx="285115" cy="28448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sz="1400" dirty="0">
                <a:solidFill>
                  <a:schemeClr val="lt1">
                    <a:lumMod val="100000"/>
                  </a:schemeClr>
                </a:solidFill>
                <a:latin typeface="Calibri" panose="020F0502020204030204" pitchFamily="34" charset="0"/>
                <a:ea typeface="宋体" pitchFamily="2" charset="-122"/>
              </a:rPr>
              <a:t>3</a:t>
            </a:r>
            <a:endParaRPr lang="zh-CN" altLang="en-US" sz="1400" dirty="0">
              <a:solidFill>
                <a:schemeClr val="lt1">
                  <a:lumMod val="100000"/>
                </a:schemeClr>
              </a:solidFill>
              <a:latin typeface="Calibri" panose="020F0502020204030204" pitchFamily="34" charset="0"/>
              <a:ea typeface="宋体" pitchFamily="2" charset="-122"/>
            </a:endParaRPr>
          </a:p>
        </p:txBody>
      </p:sp>
      <p:grpSp>
        <p:nvGrpSpPr>
          <p:cNvPr id="44" name="组合 43"/>
          <p:cNvGrpSpPr/>
          <p:nvPr/>
        </p:nvGrpSpPr>
        <p:grpSpPr>
          <a:xfrm rot="0">
            <a:off x="8512175" y="2098040"/>
            <a:ext cx="1849755" cy="1400260"/>
            <a:chOff x="1064070" y="2833979"/>
            <a:chExt cx="1958691" cy="1483111"/>
          </a:xfrm>
        </p:grpSpPr>
        <p:sp>
          <p:nvSpPr>
            <p:cNvPr id="46" name="文本框 45"/>
            <p:cNvSpPr txBox="1"/>
            <p:nvPr/>
          </p:nvSpPr>
          <p:spPr>
            <a:xfrm>
              <a:off x="1064070" y="2833979"/>
              <a:ext cx="1958691" cy="3248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 b="1" dirty="0">
                  <a:latin typeface="华文楷体" panose="02010600040101010101" pitchFamily="2" charset="-122"/>
                  <a:ea typeface="华文楷体" panose="02010600040101010101" pitchFamily="2" charset="-122"/>
                </a:rPr>
                <a:t>开启</a:t>
              </a:r>
              <a:r>
                <a:rPr lang="en-US" altLang="zh-CN" sz="1400" b="1" dirty="0">
                  <a:latin typeface="华文楷体" panose="02010600040101010101" pitchFamily="2" charset="-122"/>
                  <a:ea typeface="华文楷体" panose="02010600040101010101" pitchFamily="2" charset="-122"/>
                </a:rPr>
                <a:t> gzip </a:t>
              </a:r>
              <a:r>
                <a:rPr lang="zh-CN" altLang="en-US" sz="1400" b="1" dirty="0">
                  <a:latin typeface="华文楷体" panose="02010600040101010101" pitchFamily="2" charset="-122"/>
                  <a:ea typeface="华文楷体" panose="02010600040101010101" pitchFamily="2" charset="-122"/>
                </a:rPr>
                <a:t>压缩</a:t>
              </a:r>
              <a:endParaRPr lang="zh-CN" altLang="en-US" sz="1400" b="1" dirty="0">
                <a:latin typeface="华文楷体" panose="02010600040101010101" pitchFamily="2" charset="-122"/>
                <a:ea typeface="华文楷体" panose="02010600040101010101" pitchFamily="2" charset="-122"/>
              </a:endParaRPr>
            </a:p>
          </p:txBody>
        </p:sp>
        <p:sp>
          <p:nvSpPr>
            <p:cNvPr id="47" name="文本框 46"/>
            <p:cNvSpPr txBox="1"/>
            <p:nvPr/>
          </p:nvSpPr>
          <p:spPr>
            <a:xfrm>
              <a:off x="1064070" y="3203311"/>
              <a:ext cx="1958691" cy="1113779"/>
            </a:xfrm>
            <a:prstGeom prst="rect">
              <a:avLst/>
            </a:prstGeom>
            <a:ln>
              <a:noFill/>
            </a:ln>
          </p:spPr>
          <p:txBody>
            <a:bodyPr wrap="square" lIns="90000" tIns="46800" rIns="90000" bIns="46800" anchor="t">
              <a:spAutoFit/>
            </a:bodyPr>
            <a:lstStyle>
              <a:defPPr>
                <a:defRPr lang="zh-CN"/>
              </a:defPPr>
              <a:lvl1pPr algn="ctr">
                <a:lnSpc>
                  <a:spcPct val="150000"/>
                </a:lnSpc>
                <a:defRPr sz="1000">
                  <a:solidFill>
                    <a:schemeClr val="tx1">
                      <a:lumMod val="85000"/>
                      <a:lumOff val="15000"/>
                    </a:schemeClr>
                  </a:solidFill>
                </a:defRPr>
              </a:lvl1pPr>
            </a:lstStyle>
            <a:p>
              <a:pPr algn="l">
                <a:lnSpc>
                  <a:spcPct val="130000"/>
                </a:lnSpc>
              </a:pPr>
              <a:r>
                <a:rPr lang="zh-CN" altLang="en-GB" sz="1200" dirty="0">
                  <a:latin typeface="华文楷体" panose="02010600040101010101" pitchFamily="2" charset="-122"/>
                  <a:ea typeface="华文楷体" panose="02010600040101010101" pitchFamily="2" charset="-122"/>
                  <a:sym typeface="+mn-ea"/>
                </a:rPr>
                <a:t>通过</a:t>
              </a:r>
              <a:r>
                <a:rPr lang="en-US" altLang="zh-CN" sz="1200" dirty="0">
                  <a:latin typeface="华文楷体" panose="02010600040101010101" pitchFamily="2" charset="-122"/>
                  <a:ea typeface="华文楷体" panose="02010600040101010101" pitchFamily="2" charset="-122"/>
                  <a:sym typeface="+mn-ea"/>
                </a:rPr>
                <a:t> </a:t>
              </a:r>
              <a:r>
                <a:rPr lang="zh-CN" altLang="en-US" sz="1200" dirty="0">
                  <a:latin typeface="华文楷体" panose="02010600040101010101" pitchFamily="2" charset="-122"/>
                  <a:ea typeface="华文楷体" panose="02010600040101010101" pitchFamily="2" charset="-122"/>
                  <a:sym typeface="+mn-ea"/>
                </a:rPr>
                <a:t>配置</a:t>
              </a:r>
              <a:r>
                <a:rPr lang="en-US" altLang="zh-CN" sz="1200" dirty="0">
                  <a:latin typeface="华文楷体" panose="02010600040101010101" pitchFamily="2" charset="-122"/>
                  <a:ea typeface="华文楷体" panose="02010600040101010101" pitchFamily="2" charset="-122"/>
                  <a:sym typeface="+mn-ea"/>
                </a:rPr>
                <a:t> compression </a:t>
              </a:r>
              <a:r>
                <a:rPr lang="zh-CN" altLang="en-US" sz="1200" dirty="0">
                  <a:latin typeface="华文楷体" panose="02010600040101010101" pitchFamily="2" charset="-122"/>
                  <a:ea typeface="华文楷体" panose="02010600040101010101" pitchFamily="2" charset="-122"/>
                  <a:sym typeface="+mn-ea"/>
                </a:rPr>
                <a:t>插件</a:t>
              </a:r>
              <a:r>
                <a:rPr lang="zh-CN" altLang="en-GB" sz="1200" dirty="0">
                  <a:latin typeface="华文楷体" panose="02010600040101010101" pitchFamily="2" charset="-122"/>
                  <a:ea typeface="华文楷体" panose="02010600040101010101" pitchFamily="2" charset="-122"/>
                  <a:sym typeface="+mn-ea"/>
                </a:rPr>
                <a:t>可以减少传输的数据量，通常能够节省 60%-80% 的文件大小</a:t>
              </a:r>
              <a:endParaRPr lang="zh-CN" altLang="en-GB" sz="1200" dirty="0">
                <a:latin typeface="华文楷体" panose="02010600040101010101" pitchFamily="2" charset="-122"/>
                <a:ea typeface="华文楷体" panose="02010600040101010101" pitchFamily="2" charset="-122"/>
                <a:sym typeface="+mn-ea"/>
              </a:endParaRPr>
            </a:p>
          </p:txBody>
        </p:sp>
      </p:grpSp>
      <p:sp>
        <p:nvSpPr>
          <p:cNvPr id="45" name="矩形: 圆角 44"/>
          <p:cNvSpPr/>
          <p:nvPr/>
        </p:nvSpPr>
        <p:spPr>
          <a:xfrm>
            <a:off x="9181465" y="1717040"/>
            <a:ext cx="285115" cy="284480"/>
          </a:xfrm>
          <a:prstGeom prst="roundRect">
            <a:avLst>
              <a:gd name="adj" fmla="val 50000"/>
            </a:avLst>
          </a:prstGeom>
          <a:solidFill>
            <a:srgbClr val="778495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sz="1400" dirty="0">
                <a:solidFill>
                  <a:schemeClr val="lt1">
                    <a:lumMod val="100000"/>
                  </a:schemeClr>
                </a:solidFill>
                <a:latin typeface="Calibri" panose="020F0502020204030204" pitchFamily="34" charset="0"/>
                <a:ea typeface="宋体" pitchFamily="2" charset="-122"/>
              </a:rPr>
              <a:t>4</a:t>
            </a:r>
            <a:endParaRPr lang="zh-CN" altLang="en-US" sz="1400" dirty="0">
              <a:solidFill>
                <a:schemeClr val="lt1">
                  <a:lumMod val="100000"/>
                </a:schemeClr>
              </a:solidFill>
              <a:latin typeface="Calibri" panose="020F0502020204030204" pitchFamily="34" charset="0"/>
              <a:ea typeface="宋体" pitchFamily="2" charset="-122"/>
            </a:endParaRPr>
          </a:p>
        </p:txBody>
      </p:sp>
      <p:grpSp>
        <p:nvGrpSpPr>
          <p:cNvPr id="52" name="组合 51"/>
          <p:cNvGrpSpPr/>
          <p:nvPr/>
        </p:nvGrpSpPr>
        <p:grpSpPr>
          <a:xfrm rot="0">
            <a:off x="3687445" y="4667250"/>
            <a:ext cx="1849755" cy="1640290"/>
            <a:chOff x="1064070" y="2833979"/>
            <a:chExt cx="1958691" cy="1737342"/>
          </a:xfrm>
        </p:grpSpPr>
        <p:sp>
          <p:nvSpPr>
            <p:cNvPr id="54" name="文本框 53"/>
            <p:cNvSpPr txBox="1"/>
            <p:nvPr/>
          </p:nvSpPr>
          <p:spPr>
            <a:xfrm>
              <a:off x="1064070" y="2833979"/>
              <a:ext cx="1958691" cy="3248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 b="1" dirty="0">
                  <a:latin typeface="华文楷体" panose="02010600040101010101" pitchFamily="2" charset="-122"/>
                  <a:ea typeface="华文楷体" panose="02010600040101010101" pitchFamily="2" charset="-122"/>
                </a:rPr>
                <a:t>使用性能</a:t>
              </a:r>
              <a:r>
                <a:rPr lang="zh-CN" altLang="en-US" sz="1400" b="1" dirty="0">
                  <a:latin typeface="华文楷体" panose="02010600040101010101" pitchFamily="2" charset="-122"/>
                  <a:ea typeface="华文楷体" panose="02010600040101010101" pitchFamily="2" charset="-122"/>
                </a:rPr>
                <a:t>分析工具</a:t>
              </a:r>
              <a:endParaRPr lang="zh-CN" altLang="en-US" sz="1400" b="1" dirty="0">
                <a:latin typeface="华文楷体" panose="02010600040101010101" pitchFamily="2" charset="-122"/>
                <a:ea typeface="华文楷体" panose="02010600040101010101" pitchFamily="2" charset="-122"/>
              </a:endParaRPr>
            </a:p>
          </p:txBody>
        </p:sp>
        <p:sp>
          <p:nvSpPr>
            <p:cNvPr id="55" name="文本框 54"/>
            <p:cNvSpPr txBox="1"/>
            <p:nvPr/>
          </p:nvSpPr>
          <p:spPr>
            <a:xfrm>
              <a:off x="1064070" y="3203311"/>
              <a:ext cx="1958691" cy="1368010"/>
            </a:xfrm>
            <a:prstGeom prst="rect">
              <a:avLst/>
            </a:prstGeom>
            <a:ln>
              <a:noFill/>
            </a:ln>
          </p:spPr>
          <p:txBody>
            <a:bodyPr wrap="square" lIns="90000" tIns="46800" rIns="90000" bIns="46800" anchor="t">
              <a:spAutoFit/>
            </a:bodyPr>
            <a:lstStyle>
              <a:defPPr>
                <a:defRPr lang="zh-CN"/>
              </a:defPPr>
              <a:lvl1pPr algn="ctr">
                <a:lnSpc>
                  <a:spcPct val="150000"/>
                </a:lnSpc>
                <a:defRPr sz="1000">
                  <a:solidFill>
                    <a:schemeClr val="tx1">
                      <a:lumMod val="85000"/>
                      <a:lumOff val="15000"/>
                    </a:schemeClr>
                  </a:solidFill>
                </a:defRPr>
              </a:lvl1pPr>
            </a:lstStyle>
            <a:p>
              <a:pPr algn="l">
                <a:lnSpc>
                  <a:spcPct val="130000"/>
                </a:lnSpc>
              </a:pPr>
              <a:r>
                <a:rPr lang="en-GB" sz="1200"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通过</a:t>
              </a:r>
              <a:r>
                <a:rPr lang="en-GB" sz="1200"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  <a:sym typeface="+mn-ea"/>
                </a:rPr>
                <a:t>webpack-bundle-analyzer / vite-plugin-visualizer 可全面监控</a:t>
              </a:r>
              <a:r>
                <a:rPr lang="zh-CN" altLang="en-GB" sz="1200"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  <a:sym typeface="+mn-ea"/>
                </a:rPr>
                <a:t>项目性能，并进行</a:t>
              </a:r>
              <a:r>
                <a:rPr lang="en-GB" sz="1200"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  <a:sym typeface="+mn-ea"/>
                </a:rPr>
                <a:t>针对性优化</a:t>
              </a:r>
              <a:endParaRPr lang="en-GB" sz="120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  <a:sym typeface="+mn-ea"/>
              </a:endParaRPr>
            </a:p>
          </p:txBody>
        </p:sp>
      </p:grpSp>
      <p:sp>
        <p:nvSpPr>
          <p:cNvPr id="53" name="矩形: 圆角 52"/>
          <p:cNvSpPr/>
          <p:nvPr/>
        </p:nvSpPr>
        <p:spPr>
          <a:xfrm>
            <a:off x="4271010" y="4286250"/>
            <a:ext cx="285115" cy="28448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sz="1400" dirty="0">
                <a:solidFill>
                  <a:schemeClr val="lt1">
                    <a:lumMod val="100000"/>
                  </a:schemeClr>
                </a:solidFill>
                <a:latin typeface="Calibri" panose="020F0502020204030204" pitchFamily="34" charset="0"/>
                <a:ea typeface="宋体" pitchFamily="2" charset="-122"/>
              </a:rPr>
              <a:t>7</a:t>
            </a:r>
            <a:endParaRPr lang="zh-CN" altLang="en-US" sz="1400" dirty="0">
              <a:solidFill>
                <a:schemeClr val="lt1">
                  <a:lumMod val="100000"/>
                </a:schemeClr>
              </a:solidFill>
              <a:latin typeface="Calibri" panose="020F0502020204030204" pitchFamily="34" charset="0"/>
              <a:ea typeface="宋体" pitchFamily="2" charset="-122"/>
            </a:endParaRPr>
          </a:p>
        </p:txBody>
      </p:sp>
      <p:grpSp>
        <p:nvGrpSpPr>
          <p:cNvPr id="57" name="组合 56"/>
          <p:cNvGrpSpPr/>
          <p:nvPr/>
        </p:nvGrpSpPr>
        <p:grpSpPr>
          <a:xfrm rot="0">
            <a:off x="6136640" y="4667250"/>
            <a:ext cx="1849755" cy="1400260"/>
            <a:chOff x="1064070" y="2833979"/>
            <a:chExt cx="1958691" cy="1483110"/>
          </a:xfrm>
        </p:grpSpPr>
        <p:sp>
          <p:nvSpPr>
            <p:cNvPr id="59" name="文本框 58"/>
            <p:cNvSpPr txBox="1"/>
            <p:nvPr/>
          </p:nvSpPr>
          <p:spPr>
            <a:xfrm>
              <a:off x="1064070" y="2833979"/>
              <a:ext cx="1958691" cy="3248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 b="1" dirty="0">
                  <a:latin typeface="华文楷体" panose="02010600040101010101" pitchFamily="2" charset="-122"/>
                  <a:ea typeface="华文楷体" panose="02010600040101010101" pitchFamily="2" charset="-122"/>
                </a:rPr>
                <a:t>浏览器</a:t>
              </a:r>
              <a:r>
                <a:rPr lang="zh-CN" altLang="en-US" sz="1400" b="1" dirty="0">
                  <a:latin typeface="华文楷体" panose="02010600040101010101" pitchFamily="2" charset="-122"/>
                  <a:ea typeface="华文楷体" panose="02010600040101010101" pitchFamily="2" charset="-122"/>
                </a:rPr>
                <a:t>缓存</a:t>
              </a:r>
              <a:endParaRPr lang="zh-CN" altLang="en-US" sz="1400" b="1" dirty="0">
                <a:latin typeface="华文楷体" panose="02010600040101010101" pitchFamily="2" charset="-122"/>
                <a:ea typeface="华文楷体" panose="02010600040101010101" pitchFamily="2" charset="-122"/>
              </a:endParaRPr>
            </a:p>
          </p:txBody>
        </p:sp>
        <p:sp>
          <p:nvSpPr>
            <p:cNvPr id="60" name="文本框 59"/>
            <p:cNvSpPr txBox="1"/>
            <p:nvPr/>
          </p:nvSpPr>
          <p:spPr>
            <a:xfrm>
              <a:off x="1064070" y="3203311"/>
              <a:ext cx="1958691" cy="1113778"/>
            </a:xfrm>
            <a:prstGeom prst="rect">
              <a:avLst/>
            </a:prstGeom>
            <a:ln>
              <a:noFill/>
            </a:ln>
          </p:spPr>
          <p:txBody>
            <a:bodyPr wrap="square" lIns="90000" tIns="46800" rIns="90000" bIns="46800" anchor="t">
              <a:spAutoFit/>
            </a:bodyPr>
            <a:lstStyle>
              <a:defPPr>
                <a:defRPr lang="zh-CN"/>
              </a:defPPr>
              <a:lvl1pPr algn="ctr">
                <a:lnSpc>
                  <a:spcPct val="150000"/>
                </a:lnSpc>
                <a:defRPr sz="1000">
                  <a:solidFill>
                    <a:schemeClr val="tx1">
                      <a:lumMod val="85000"/>
                      <a:lumOff val="15000"/>
                    </a:schemeClr>
                  </a:solidFill>
                </a:defRPr>
              </a:lvl1pPr>
            </a:lstStyle>
            <a:p>
              <a:pPr algn="l">
                <a:lnSpc>
                  <a:spcPct val="130000"/>
                </a:lnSpc>
              </a:pPr>
              <a:r>
                <a:rPr lang="en-GB" sz="1200"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通过</a:t>
              </a:r>
              <a:r>
                <a:rPr lang="zh-CN" altLang="en-GB" sz="1200"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服务器</a:t>
              </a:r>
              <a:r>
                <a:rPr lang="en-GB" sz="1200"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合理设置 </a:t>
              </a:r>
              <a:r>
                <a:rPr lang="en-GB" sz="1200"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  <a:sym typeface="+mn-ea"/>
                </a:rPr>
                <a:t>Cache-Control 头和 </a:t>
              </a:r>
              <a:r>
                <a:rPr lang="zh-CN" altLang="en-GB" sz="1200"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  <a:sym typeface="+mn-ea"/>
                </a:rPr>
                <a:t>为打包文件添加</a:t>
              </a:r>
              <a:r>
                <a:rPr lang="en-US" altLang="zh-CN" sz="1200"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  <a:sym typeface="+mn-ea"/>
                </a:rPr>
                <a:t> Hash </a:t>
              </a:r>
              <a:r>
                <a:rPr lang="en-GB" sz="1200"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  <a:sym typeface="+mn-ea"/>
                </a:rPr>
                <a:t>来管理缓存策略</a:t>
              </a:r>
              <a:endParaRPr lang="en-GB" sz="120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endParaRPr>
            </a:p>
          </p:txBody>
        </p:sp>
      </p:grpSp>
      <p:sp>
        <p:nvSpPr>
          <p:cNvPr id="58" name="矩形: 圆角 57"/>
          <p:cNvSpPr/>
          <p:nvPr/>
        </p:nvSpPr>
        <p:spPr>
          <a:xfrm>
            <a:off x="6720205" y="4286250"/>
            <a:ext cx="285115" cy="284480"/>
          </a:xfrm>
          <a:prstGeom prst="roundRect">
            <a:avLst>
              <a:gd name="adj" fmla="val 50000"/>
            </a:avLst>
          </a:prstGeom>
          <a:solidFill>
            <a:srgbClr val="778495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sz="1400" dirty="0">
                <a:solidFill>
                  <a:schemeClr val="lt1">
                    <a:lumMod val="100000"/>
                  </a:schemeClr>
                </a:solidFill>
                <a:latin typeface="Calibri" panose="020F0502020204030204" pitchFamily="34" charset="0"/>
                <a:ea typeface="宋体" pitchFamily="2" charset="-122"/>
              </a:rPr>
              <a:t>6</a:t>
            </a:r>
            <a:endParaRPr lang="zh-CN" altLang="en-US" sz="1400" dirty="0">
              <a:solidFill>
                <a:schemeClr val="lt1">
                  <a:lumMod val="100000"/>
                </a:schemeClr>
              </a:solidFill>
              <a:latin typeface="Calibri" panose="020F0502020204030204" pitchFamily="34" charset="0"/>
              <a:ea typeface="宋体" pitchFamily="2" charset="-122"/>
            </a:endParaRPr>
          </a:p>
        </p:txBody>
      </p:sp>
      <p:grpSp>
        <p:nvGrpSpPr>
          <p:cNvPr id="65" name="组合 64"/>
          <p:cNvGrpSpPr/>
          <p:nvPr/>
        </p:nvGrpSpPr>
        <p:grpSpPr>
          <a:xfrm rot="0">
            <a:off x="8585835" y="4667250"/>
            <a:ext cx="1849755" cy="1400260"/>
            <a:chOff x="1064070" y="2833979"/>
            <a:chExt cx="1958691" cy="1483110"/>
          </a:xfrm>
        </p:grpSpPr>
        <p:sp>
          <p:nvSpPr>
            <p:cNvPr id="67" name="文本框 66"/>
            <p:cNvSpPr txBox="1"/>
            <p:nvPr/>
          </p:nvSpPr>
          <p:spPr>
            <a:xfrm>
              <a:off x="1064070" y="2833979"/>
              <a:ext cx="1958691" cy="3248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 b="1" dirty="0">
                  <a:latin typeface="华文楷体" panose="02010600040101010101" pitchFamily="2" charset="-122"/>
                  <a:ea typeface="华文楷体" panose="02010600040101010101" pitchFamily="2" charset="-122"/>
                </a:rPr>
                <a:t>使用</a:t>
              </a:r>
              <a:r>
                <a:rPr lang="en-US" altLang="zh-CN" sz="1400" b="1" dirty="0">
                  <a:latin typeface="华文楷体" panose="02010600040101010101" pitchFamily="2" charset="-122"/>
                  <a:ea typeface="华文楷体" panose="02010600040101010101" pitchFamily="2" charset="-122"/>
                </a:rPr>
                <a:t>CDN</a:t>
              </a:r>
              <a:r>
                <a:rPr lang="zh-CN" altLang="en-US" sz="1400" b="1" dirty="0">
                  <a:latin typeface="华文楷体" panose="02010600040101010101" pitchFamily="2" charset="-122"/>
                  <a:ea typeface="华文楷体" panose="02010600040101010101" pitchFamily="2" charset="-122"/>
                </a:rPr>
                <a:t>加速</a:t>
              </a:r>
              <a:endParaRPr lang="zh-CN" altLang="en-US" sz="1400" b="1" dirty="0">
                <a:latin typeface="华文楷体" panose="02010600040101010101" pitchFamily="2" charset="-122"/>
                <a:ea typeface="华文楷体" panose="02010600040101010101" pitchFamily="2" charset="-122"/>
              </a:endParaRPr>
            </a:p>
          </p:txBody>
        </p:sp>
        <p:sp>
          <p:nvSpPr>
            <p:cNvPr id="68" name="文本框 67"/>
            <p:cNvSpPr txBox="1"/>
            <p:nvPr/>
          </p:nvSpPr>
          <p:spPr>
            <a:xfrm>
              <a:off x="1064070" y="3203311"/>
              <a:ext cx="1958691" cy="1113778"/>
            </a:xfrm>
            <a:prstGeom prst="rect">
              <a:avLst/>
            </a:prstGeom>
            <a:ln>
              <a:noFill/>
            </a:ln>
          </p:spPr>
          <p:txBody>
            <a:bodyPr wrap="square" lIns="90000" tIns="46800" rIns="90000" bIns="46800" anchor="t">
              <a:spAutoFit/>
            </a:bodyPr>
            <a:lstStyle>
              <a:defPPr>
                <a:defRPr lang="zh-CN"/>
              </a:defPPr>
              <a:lvl1pPr algn="ctr">
                <a:lnSpc>
                  <a:spcPct val="150000"/>
                </a:lnSpc>
                <a:defRPr sz="1000">
                  <a:solidFill>
                    <a:schemeClr val="tx1">
                      <a:lumMod val="85000"/>
                      <a:lumOff val="15000"/>
                    </a:schemeClr>
                  </a:solidFill>
                </a:defRPr>
              </a:lvl1pPr>
            </a:lstStyle>
            <a:p>
              <a:pPr algn="l">
                <a:lnSpc>
                  <a:spcPct val="130000"/>
                </a:lnSpc>
              </a:pPr>
              <a:r>
                <a:rPr lang="zh-CN" altLang="en-GB" sz="1200"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通过引用</a:t>
              </a:r>
              <a:r>
                <a:rPr lang="en-US" altLang="zh-CN" sz="1200"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CDN</a:t>
              </a:r>
              <a:r>
                <a:rPr lang="zh-CN" altLang="en-US" sz="1200"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链接并配置</a:t>
              </a:r>
              <a:r>
                <a:rPr lang="en-US" altLang="zh-CN" sz="1200"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 external </a:t>
              </a:r>
              <a:r>
                <a:rPr lang="zh-CN" altLang="en-US" sz="1200"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排除打包进库依赖，用户可从就近节点获取</a:t>
              </a:r>
              <a:r>
                <a:rPr lang="zh-CN" altLang="en-US" sz="1200"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资源</a:t>
              </a:r>
              <a:endParaRPr lang="zh-CN" altLang="en-US" sz="120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endParaRPr>
            </a:p>
          </p:txBody>
        </p:sp>
      </p:grpSp>
      <p:sp>
        <p:nvSpPr>
          <p:cNvPr id="66" name="矩形: 圆角 65"/>
          <p:cNvSpPr/>
          <p:nvPr/>
        </p:nvSpPr>
        <p:spPr>
          <a:xfrm>
            <a:off x="9169400" y="4286250"/>
            <a:ext cx="285115" cy="28448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sz="1400" dirty="0">
                <a:solidFill>
                  <a:schemeClr val="lt1">
                    <a:lumMod val="100000"/>
                  </a:schemeClr>
                </a:solidFill>
                <a:latin typeface="Calibri" panose="020F0502020204030204" pitchFamily="34" charset="0"/>
                <a:ea typeface="宋体" pitchFamily="2" charset="-122"/>
              </a:rPr>
              <a:t>5</a:t>
            </a:r>
            <a:endParaRPr lang="zh-CN" altLang="en-US" sz="1400" dirty="0">
              <a:solidFill>
                <a:schemeClr val="lt1">
                  <a:lumMod val="100000"/>
                </a:schemeClr>
              </a:solidFill>
              <a:latin typeface="Calibri" panose="020F0502020204030204" pitchFamily="34" charset="0"/>
              <a:ea typeface="宋体" pitchFamily="2" charset="-122"/>
            </a:endParaRPr>
          </a:p>
        </p:txBody>
      </p:sp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6779260" y="1055370"/>
            <a:ext cx="3867150" cy="533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000" dirty="0" smtClean="0">
                <a:solidFill>
                  <a:schemeClr val="tx1"/>
                </a:solidFill>
                <a:sym typeface="+mn-ea"/>
              </a:rPr>
              <a:t>洞察趋势：了解保险风控格局</a:t>
            </a:r>
            <a:endParaRPr lang="zh-CN" altLang="en-US" sz="2000" dirty="0" smtClean="0">
              <a:solidFill>
                <a:schemeClr val="tx1"/>
              </a:solidFill>
              <a:sym typeface="+mn-ea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1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4249207" cy="6858000"/>
          </a:xfrm>
          <a:prstGeom prst="rect">
            <a:avLst/>
          </a:prstGeom>
        </p:spPr>
      </p:pic>
      <p:grpSp>
        <p:nvGrpSpPr>
          <p:cNvPr id="18" name="组合 17"/>
          <p:cNvGrpSpPr/>
          <p:nvPr/>
        </p:nvGrpSpPr>
        <p:grpSpPr>
          <a:xfrm>
            <a:off x="-3750" y="0"/>
            <a:ext cx="4252957" cy="5905045"/>
            <a:chOff x="-3750" y="0"/>
            <a:chExt cx="4252957" cy="5905045"/>
          </a:xfrm>
          <a:solidFill>
            <a:schemeClr val="bg1">
              <a:lumMod val="85000"/>
              <a:alpha val="50000"/>
            </a:schemeClr>
          </a:solidFill>
        </p:grpSpPr>
        <p:sp>
          <p:nvSpPr>
            <p:cNvPr id="19" name="矩形 18"/>
            <p:cNvSpPr/>
            <p:nvPr/>
          </p:nvSpPr>
          <p:spPr>
            <a:xfrm>
              <a:off x="0" y="0"/>
              <a:ext cx="4249207" cy="393714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90204"/>
                <a:ea typeface="楷体" panose="02010609060101010101" pitchFamily="49" charset="-122"/>
                <a:cs typeface="+mn-cs"/>
              </a:endParaRPr>
            </a:p>
          </p:txBody>
        </p:sp>
        <p:sp>
          <p:nvSpPr>
            <p:cNvPr id="20" name="直角三角形 19"/>
            <p:cNvSpPr/>
            <p:nvPr/>
          </p:nvSpPr>
          <p:spPr>
            <a:xfrm rot="10800000">
              <a:off x="-3750" y="3937145"/>
              <a:ext cx="4252957" cy="1967900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90204"/>
                <a:ea typeface="楷体" panose="02010609060101010101" pitchFamily="49" charset="-122"/>
                <a:cs typeface="+mn-cs"/>
              </a:endParaRPr>
            </a:p>
          </p:txBody>
        </p:sp>
      </p:grpSp>
      <p:sp>
        <p:nvSpPr>
          <p:cNvPr id="21" name="等腰三角形 20"/>
          <p:cNvSpPr/>
          <p:nvPr/>
        </p:nvSpPr>
        <p:spPr>
          <a:xfrm rot="10273322">
            <a:off x="2884558" y="793348"/>
            <a:ext cx="1825398" cy="6094409"/>
          </a:xfrm>
          <a:prstGeom prst="triangle">
            <a:avLst>
              <a:gd name="adj" fmla="val 49832"/>
            </a:avLst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90204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22" name="直角三角形 21"/>
          <p:cNvSpPr/>
          <p:nvPr/>
        </p:nvSpPr>
        <p:spPr>
          <a:xfrm rot="10800000">
            <a:off x="1047749" y="-3"/>
            <a:ext cx="3201453" cy="2231503"/>
          </a:xfrm>
          <a:prstGeom prst="rtTriangle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90204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23" name="文本框 6"/>
          <p:cNvSpPr txBox="1"/>
          <p:nvPr/>
        </p:nvSpPr>
        <p:spPr>
          <a:xfrm>
            <a:off x="630723" y="2708304"/>
            <a:ext cx="2984009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i="0" u="none" strike="noStrike" kern="1200" cap="none" spc="0" normalizeH="0" baseline="0" noProof="0" dirty="0">
                <a:ln>
                  <a:noFill/>
                </a:ln>
                <a:solidFill>
                  <a:srgbClr val="ED6F3D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CONTENT</a:t>
            </a:r>
            <a:endParaRPr kumimoji="0" lang="en-US" altLang="zh-CN" sz="3200" i="0" u="none" strike="noStrike" kern="1200" cap="none" spc="0" normalizeH="0" baseline="0" noProof="0" dirty="0">
              <a:ln>
                <a:noFill/>
              </a:ln>
              <a:solidFill>
                <a:srgbClr val="ED6F3D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4400" i="0" u="none" strike="noStrike" kern="1200" cap="none" spc="0" normalizeH="0" baseline="0" noProof="0" dirty="0">
                <a:ln>
                  <a:noFill/>
                </a:ln>
                <a:solidFill>
                  <a:srgbClr val="ED6F3D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目录</a:t>
            </a:r>
            <a:endParaRPr kumimoji="0" lang="zh-CN" altLang="en-US" sz="4400" i="0" u="none" strike="noStrike" kern="1200" cap="none" spc="0" normalizeH="0" baseline="0" noProof="0" dirty="0">
              <a:ln>
                <a:noFill/>
              </a:ln>
              <a:solidFill>
                <a:srgbClr val="ED6F3D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9" name="椭圆 68"/>
          <p:cNvSpPr/>
          <p:nvPr/>
        </p:nvSpPr>
        <p:spPr>
          <a:xfrm>
            <a:off x="5881411" y="1055468"/>
            <a:ext cx="533400" cy="5334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lnSpc>
                <a:spcPct val="140000"/>
              </a:lnSpc>
              <a:buClrTx/>
              <a:buSzTx/>
              <a:buFontTx/>
            </a:pPr>
            <a:r>
              <a:rPr lang="en-US" altLang="zh-CN" sz="2000" b="1" smtClean="0">
                <a:latin typeface="+mj-lt"/>
                <a:ea typeface="Noto Sans S Chinese Regular" panose="020B0500000000000000" pitchFamily="34" charset="-122"/>
                <a:sym typeface="+mn-ea"/>
              </a:rPr>
              <a:t>1</a:t>
            </a:r>
            <a:endParaRPr lang="en-US" altLang="zh-CN" sz="2000" b="1" smtClean="0">
              <a:latin typeface="+mj-lt"/>
              <a:ea typeface="Noto Sans S Chinese Regular" panose="020B0500000000000000" pitchFamily="34" charset="-122"/>
              <a:sym typeface="+mn-ea"/>
            </a:endParaRPr>
          </a:p>
        </p:txBody>
      </p:sp>
      <p:sp>
        <p:nvSpPr>
          <p:cNvPr id="71" name="椭圆 70"/>
          <p:cNvSpPr/>
          <p:nvPr/>
        </p:nvSpPr>
        <p:spPr>
          <a:xfrm>
            <a:off x="5881411" y="2009873"/>
            <a:ext cx="533400" cy="5334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lnSpc>
                <a:spcPct val="140000"/>
              </a:lnSpc>
              <a:buClrTx/>
              <a:buSzTx/>
              <a:buFontTx/>
            </a:pPr>
            <a:r>
              <a:rPr lang="en-US" altLang="zh-CN" sz="2000" b="1" smtClean="0">
                <a:latin typeface="+mj-lt"/>
                <a:ea typeface="Noto Sans S Chinese Regular" panose="020B0500000000000000" pitchFamily="34" charset="-122"/>
                <a:sym typeface="+mn-ea"/>
              </a:rPr>
              <a:t>2</a:t>
            </a:r>
            <a:endParaRPr lang="en-US" altLang="zh-CN" sz="2000" b="1" smtClean="0">
              <a:latin typeface="+mj-lt"/>
              <a:ea typeface="Noto Sans S Chinese Regular" panose="020B0500000000000000" pitchFamily="34" charset="-122"/>
              <a:sym typeface="+mn-ea"/>
            </a:endParaRPr>
          </a:p>
        </p:txBody>
      </p:sp>
      <p:sp>
        <p:nvSpPr>
          <p:cNvPr id="72" name="椭圆 71"/>
          <p:cNvSpPr/>
          <p:nvPr/>
        </p:nvSpPr>
        <p:spPr>
          <a:xfrm>
            <a:off x="5881411" y="2964278"/>
            <a:ext cx="533400" cy="5334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lnSpc>
                <a:spcPct val="140000"/>
              </a:lnSpc>
              <a:buClrTx/>
              <a:buSzTx/>
              <a:buFontTx/>
            </a:pPr>
            <a:r>
              <a:rPr lang="en-US" altLang="zh-CN" sz="2000" b="1" smtClean="0">
                <a:latin typeface="+mj-lt"/>
                <a:ea typeface="Noto Sans S Chinese Regular" panose="020B0500000000000000" pitchFamily="34" charset="-122"/>
                <a:sym typeface="+mn-ea"/>
              </a:rPr>
              <a:t>3</a:t>
            </a:r>
            <a:endParaRPr lang="en-US" altLang="zh-CN" sz="2000" b="1" smtClean="0">
              <a:latin typeface="+mj-lt"/>
              <a:ea typeface="Noto Sans S Chinese Regular" panose="020B0500000000000000" pitchFamily="34" charset="-122"/>
              <a:sym typeface="+mn-ea"/>
            </a:endParaRPr>
          </a:p>
        </p:txBody>
      </p:sp>
      <p:sp>
        <p:nvSpPr>
          <p:cNvPr id="75" name="矩形 74"/>
          <p:cNvSpPr/>
          <p:nvPr/>
        </p:nvSpPr>
        <p:spPr>
          <a:xfrm>
            <a:off x="6779260" y="2005965"/>
            <a:ext cx="3867785" cy="533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000" dirty="0" smtClean="0">
                <a:solidFill>
                  <a:schemeClr val="tx1"/>
                </a:solidFill>
                <a:sym typeface="+mn-ea"/>
              </a:rPr>
              <a:t>突破瓶颈：小样本数据挖掘</a:t>
            </a:r>
            <a:endParaRPr lang="zh-CN" altLang="en-US" sz="2000" dirty="0" smtClean="0">
              <a:solidFill>
                <a:schemeClr val="tx1"/>
              </a:solidFill>
              <a:sym typeface="+mn-ea"/>
            </a:endParaRPr>
          </a:p>
        </p:txBody>
      </p:sp>
      <p:sp>
        <p:nvSpPr>
          <p:cNvPr id="77" name="矩形 76"/>
          <p:cNvSpPr/>
          <p:nvPr/>
        </p:nvSpPr>
        <p:spPr>
          <a:xfrm>
            <a:off x="6779260" y="2956560"/>
            <a:ext cx="3867785" cy="533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000" dirty="0" smtClean="0">
                <a:solidFill>
                  <a:schemeClr val="tx1"/>
                </a:solidFill>
                <a:sym typeface="+mn-ea"/>
              </a:rPr>
              <a:t>解码行为：破局稀缺</a:t>
            </a:r>
            <a:r>
              <a:rPr lang="zh-CN" altLang="en-US" sz="2000" dirty="0" smtClean="0">
                <a:solidFill>
                  <a:schemeClr val="tx1"/>
                </a:solidFill>
                <a:sym typeface="+mn-ea"/>
              </a:rPr>
              <a:t>&amp;</a:t>
            </a:r>
            <a:r>
              <a:rPr lang="zh-CN" altLang="en-US" sz="2000" dirty="0" smtClean="0">
                <a:solidFill>
                  <a:schemeClr val="tx1"/>
                </a:solidFill>
                <a:sym typeface="+mn-ea"/>
              </a:rPr>
              <a:t>精选标签</a:t>
            </a:r>
            <a:endParaRPr lang="zh-CN" altLang="en-US" sz="2000" dirty="0" smtClean="0">
              <a:solidFill>
                <a:schemeClr val="tx1"/>
              </a:solidFill>
              <a:sym typeface="+mn-ea"/>
            </a:endParaRPr>
          </a:p>
        </p:txBody>
      </p:sp>
      <p:sp>
        <p:nvSpPr>
          <p:cNvPr id="2" name="椭圆 1"/>
          <p:cNvSpPr/>
          <p:nvPr/>
        </p:nvSpPr>
        <p:spPr>
          <a:xfrm>
            <a:off x="5882046" y="3918683"/>
            <a:ext cx="533400" cy="533400"/>
          </a:xfrm>
          <a:prstGeom prst="ellipse">
            <a:avLst/>
          </a:prstGeom>
          <a:solidFill>
            <a:srgbClr val="FF66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lnSpc>
                <a:spcPct val="140000"/>
              </a:lnSpc>
              <a:buClrTx/>
              <a:buSzTx/>
              <a:buFontTx/>
            </a:pPr>
            <a:r>
              <a:rPr lang="en-US" altLang="zh-CN" sz="2000" b="1">
                <a:latin typeface="+mj-lt"/>
                <a:ea typeface="Noto Sans S Chinese Regular" panose="020B0500000000000000" pitchFamily="34" charset="-122"/>
                <a:sym typeface="+mn-ea"/>
              </a:rPr>
              <a:t>4</a:t>
            </a:r>
            <a:endParaRPr lang="en-US" altLang="zh-CN" sz="2000" b="1">
              <a:latin typeface="+mj-lt"/>
              <a:ea typeface="Noto Sans S Chinese Regular" panose="020B0500000000000000" pitchFamily="34" charset="-122"/>
              <a:sym typeface="+mn-ea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6779895" y="3907155"/>
            <a:ext cx="3867785" cy="533400"/>
          </a:xfrm>
          <a:prstGeom prst="rect">
            <a:avLst/>
          </a:prstGeom>
          <a:solidFill>
            <a:srgbClr val="FF66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000" b="1" dirty="0" smtClean="0">
                <a:solidFill>
                  <a:schemeClr val="bg1"/>
                </a:solidFill>
                <a:sym typeface="+mn-ea"/>
              </a:rPr>
              <a:t>实测胜算：AB实验测试效果</a:t>
            </a:r>
            <a:endParaRPr lang="zh-CN" altLang="en-US" sz="2000" b="1" dirty="0" smtClean="0">
              <a:solidFill>
                <a:schemeClr val="bg1"/>
              </a:solidFill>
              <a:sym typeface="+mn-ea"/>
            </a:endParaRPr>
          </a:p>
        </p:txBody>
      </p:sp>
      <p:sp>
        <p:nvSpPr>
          <p:cNvPr id="9" name="椭圆 8"/>
          <p:cNvSpPr/>
          <p:nvPr/>
        </p:nvSpPr>
        <p:spPr>
          <a:xfrm>
            <a:off x="5882046" y="4873088"/>
            <a:ext cx="533400" cy="5334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p>
            <a:pPr algn="ctr">
              <a:lnSpc>
                <a:spcPct val="140000"/>
              </a:lnSpc>
            </a:pPr>
            <a:r>
              <a:rPr lang="en-US" altLang="zh-CN" sz="2000" b="1" dirty="0">
                <a:latin typeface="+mj-lt"/>
                <a:ea typeface="Noto Sans S Chinese Regular" panose="020B0500000000000000" pitchFamily="34" charset="-122"/>
              </a:rPr>
              <a:t>5</a:t>
            </a:r>
            <a:endParaRPr lang="en-US" altLang="zh-CN" sz="2000" b="1" dirty="0">
              <a:latin typeface="+mj-lt"/>
              <a:ea typeface="Noto Sans S Chinese Regular" panose="020B0500000000000000" pitchFamily="34" charset="-122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6779895" y="4857750"/>
            <a:ext cx="3867785" cy="533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algn="l"/>
            <a:r>
              <a:rPr lang="zh-CN" altLang="en-US" sz="2000" dirty="0" smtClean="0">
                <a:solidFill>
                  <a:schemeClr val="tx1"/>
                </a:solidFill>
              </a:rPr>
              <a:t>解析风险：构建可解释的模型</a:t>
            </a:r>
            <a:endParaRPr lang="zh-CN" altLang="en-US" sz="2000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实测胜算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-</a:t>
            </a: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怎么说明模型效果更好</a:t>
            </a:r>
            <a:endParaRPr lang="zh-CN" altLang="en-US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938530" y="1125220"/>
            <a:ext cx="5989955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fontScale="90000"/>
          </a:bodyPr>
          <a:p>
            <a:pPr marL="106045" indent="0">
              <a:buNone/>
            </a:pPr>
            <a:r>
              <a:rPr lang="en-US" altLang="zh-CN" sz="1800" dirty="0" smtClean="0"/>
              <a:t>AB</a:t>
            </a:r>
            <a:r>
              <a:rPr lang="zh-CN" altLang="en-US" sz="1800" dirty="0" smtClean="0"/>
              <a:t>实验</a:t>
            </a:r>
            <a:endParaRPr lang="zh-CN" altLang="en-US" sz="1800" dirty="0" smtClean="0"/>
          </a:p>
        </p:txBody>
      </p:sp>
      <p:grpSp>
        <p:nvGrpSpPr>
          <p:cNvPr id="7" name="组合 6"/>
          <p:cNvGrpSpPr/>
          <p:nvPr/>
        </p:nvGrpSpPr>
        <p:grpSpPr>
          <a:xfrm>
            <a:off x="450215" y="1061720"/>
            <a:ext cx="389255" cy="427990"/>
            <a:chOff x="450391" y="1977754"/>
            <a:chExt cx="465233" cy="511985"/>
          </a:xfrm>
        </p:grpSpPr>
        <p:sp>
          <p:nvSpPr>
            <p:cNvPr id="11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4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6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9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0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1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9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2" name="sync-symbol_73424"/>
          <p:cNvSpPr>
            <a:spLocks noChangeAspect="1"/>
          </p:cNvSpPr>
          <p:nvPr/>
        </p:nvSpPr>
        <p:spPr bwMode="auto">
          <a:xfrm>
            <a:off x="5448935" y="1908810"/>
            <a:ext cx="575945" cy="609600"/>
          </a:xfrm>
          <a:custGeom>
            <a:avLst/>
            <a:gdLst>
              <a:gd name="connsiteX0" fmla="*/ 435703 w 572779"/>
              <a:gd name="connsiteY0" fmla="*/ 160183 h 606580"/>
              <a:gd name="connsiteX1" fmla="*/ 479697 w 572779"/>
              <a:gd name="connsiteY1" fmla="*/ 160183 h 606580"/>
              <a:gd name="connsiteX2" fmla="*/ 479581 w 572779"/>
              <a:gd name="connsiteY2" fmla="*/ 160472 h 606580"/>
              <a:gd name="connsiteX3" fmla="*/ 479812 w 572779"/>
              <a:gd name="connsiteY3" fmla="*/ 160472 h 606580"/>
              <a:gd name="connsiteX4" fmla="*/ 478713 w 572779"/>
              <a:gd name="connsiteY4" fmla="*/ 162726 h 606580"/>
              <a:gd name="connsiteX5" fmla="*/ 469682 w 572779"/>
              <a:gd name="connsiteY5" fmla="*/ 187227 h 606580"/>
              <a:gd name="connsiteX6" fmla="*/ 474776 w 572779"/>
              <a:gd name="connsiteY6" fmla="*/ 242470 h 606580"/>
              <a:gd name="connsiteX7" fmla="*/ 494284 w 572779"/>
              <a:gd name="connsiteY7" fmla="*/ 242470 h 606580"/>
              <a:gd name="connsiteX8" fmla="*/ 510840 w 572779"/>
              <a:gd name="connsiteY8" fmla="*/ 160183 h 606580"/>
              <a:gd name="connsiteX9" fmla="*/ 527338 w 572779"/>
              <a:gd name="connsiteY9" fmla="*/ 160183 h 606580"/>
              <a:gd name="connsiteX10" fmla="*/ 572779 w 572779"/>
              <a:gd name="connsiteY10" fmla="*/ 205430 h 606580"/>
              <a:gd name="connsiteX11" fmla="*/ 572779 w 572779"/>
              <a:gd name="connsiteY11" fmla="*/ 337413 h 606580"/>
              <a:gd name="connsiteX12" fmla="*/ 527396 w 572779"/>
              <a:gd name="connsiteY12" fmla="*/ 382717 h 606580"/>
              <a:gd name="connsiteX13" fmla="*/ 521607 w 572779"/>
              <a:gd name="connsiteY13" fmla="*/ 382717 h 606580"/>
              <a:gd name="connsiteX14" fmla="*/ 521607 w 572779"/>
              <a:gd name="connsiteY14" fmla="*/ 574624 h 606580"/>
              <a:gd name="connsiteX15" fmla="*/ 489595 w 572779"/>
              <a:gd name="connsiteY15" fmla="*/ 606580 h 606580"/>
              <a:gd name="connsiteX16" fmla="*/ 457815 w 572779"/>
              <a:gd name="connsiteY16" fmla="*/ 578149 h 606580"/>
              <a:gd name="connsiteX17" fmla="*/ 425978 w 572779"/>
              <a:gd name="connsiteY17" fmla="*/ 606580 h 606580"/>
              <a:gd name="connsiteX18" fmla="*/ 393966 w 572779"/>
              <a:gd name="connsiteY18" fmla="*/ 574624 h 606580"/>
              <a:gd name="connsiteX19" fmla="*/ 393966 w 572779"/>
              <a:gd name="connsiteY19" fmla="*/ 392541 h 606580"/>
              <a:gd name="connsiteX20" fmla="*/ 422967 w 572779"/>
              <a:gd name="connsiteY20" fmla="*/ 337528 h 606580"/>
              <a:gd name="connsiteX21" fmla="*/ 422967 w 572779"/>
              <a:gd name="connsiteY21" fmla="*/ 242528 h 606580"/>
              <a:gd name="connsiteX22" fmla="*/ 440739 w 572779"/>
              <a:gd name="connsiteY22" fmla="*/ 242528 h 606580"/>
              <a:gd name="connsiteX23" fmla="*/ 445833 w 572779"/>
              <a:gd name="connsiteY23" fmla="*/ 186996 h 606580"/>
              <a:gd name="connsiteX24" fmla="*/ 445196 w 572779"/>
              <a:gd name="connsiteY24" fmla="*/ 183991 h 606580"/>
              <a:gd name="connsiteX25" fmla="*/ 436860 w 572779"/>
              <a:gd name="connsiteY25" fmla="*/ 162726 h 606580"/>
              <a:gd name="connsiteX26" fmla="*/ 435818 w 572779"/>
              <a:gd name="connsiteY26" fmla="*/ 160472 h 606580"/>
              <a:gd name="connsiteX27" fmla="*/ 435876 w 572779"/>
              <a:gd name="connsiteY27" fmla="*/ 160472 h 606580"/>
              <a:gd name="connsiteX28" fmla="*/ 435703 w 572779"/>
              <a:gd name="connsiteY28" fmla="*/ 160183 h 606580"/>
              <a:gd name="connsiteX29" fmla="*/ 264349 w 572779"/>
              <a:gd name="connsiteY29" fmla="*/ 160183 h 606580"/>
              <a:gd name="connsiteX30" fmla="*/ 308327 w 572779"/>
              <a:gd name="connsiteY30" fmla="*/ 160183 h 606580"/>
              <a:gd name="connsiteX31" fmla="*/ 308154 w 572779"/>
              <a:gd name="connsiteY31" fmla="*/ 160472 h 606580"/>
              <a:gd name="connsiteX32" fmla="*/ 308385 w 572779"/>
              <a:gd name="connsiteY32" fmla="*/ 160472 h 606580"/>
              <a:gd name="connsiteX33" fmla="*/ 307344 w 572779"/>
              <a:gd name="connsiteY33" fmla="*/ 162726 h 606580"/>
              <a:gd name="connsiteX34" fmla="*/ 298316 w 572779"/>
              <a:gd name="connsiteY34" fmla="*/ 187227 h 606580"/>
              <a:gd name="connsiteX35" fmla="*/ 303409 w 572779"/>
              <a:gd name="connsiteY35" fmla="*/ 242470 h 606580"/>
              <a:gd name="connsiteX36" fmla="*/ 322910 w 572779"/>
              <a:gd name="connsiteY36" fmla="*/ 242470 h 606580"/>
              <a:gd name="connsiteX37" fmla="*/ 339401 w 572779"/>
              <a:gd name="connsiteY37" fmla="*/ 160183 h 606580"/>
              <a:gd name="connsiteX38" fmla="*/ 355951 w 572779"/>
              <a:gd name="connsiteY38" fmla="*/ 160183 h 606580"/>
              <a:gd name="connsiteX39" fmla="*/ 401376 w 572779"/>
              <a:gd name="connsiteY39" fmla="*/ 205430 h 606580"/>
              <a:gd name="connsiteX40" fmla="*/ 401376 w 572779"/>
              <a:gd name="connsiteY40" fmla="*/ 337413 h 606580"/>
              <a:gd name="connsiteX41" fmla="*/ 356009 w 572779"/>
              <a:gd name="connsiteY41" fmla="*/ 382717 h 606580"/>
              <a:gd name="connsiteX42" fmla="*/ 350222 w 572779"/>
              <a:gd name="connsiteY42" fmla="*/ 382717 h 606580"/>
              <a:gd name="connsiteX43" fmla="*/ 350222 w 572779"/>
              <a:gd name="connsiteY43" fmla="*/ 574624 h 606580"/>
              <a:gd name="connsiteX44" fmla="*/ 318222 w 572779"/>
              <a:gd name="connsiteY44" fmla="*/ 606580 h 606580"/>
              <a:gd name="connsiteX45" fmla="*/ 286396 w 572779"/>
              <a:gd name="connsiteY45" fmla="*/ 578149 h 606580"/>
              <a:gd name="connsiteX46" fmla="*/ 254628 w 572779"/>
              <a:gd name="connsiteY46" fmla="*/ 606580 h 606580"/>
              <a:gd name="connsiteX47" fmla="*/ 222628 w 572779"/>
              <a:gd name="connsiteY47" fmla="*/ 574624 h 606580"/>
              <a:gd name="connsiteX48" fmla="*/ 222628 w 572779"/>
              <a:gd name="connsiteY48" fmla="*/ 382833 h 606580"/>
              <a:gd name="connsiteX49" fmla="*/ 216841 w 572779"/>
              <a:gd name="connsiteY49" fmla="*/ 382833 h 606580"/>
              <a:gd name="connsiteX50" fmla="*/ 171474 w 572779"/>
              <a:gd name="connsiteY50" fmla="*/ 337528 h 606580"/>
              <a:gd name="connsiteX51" fmla="*/ 171474 w 572779"/>
              <a:gd name="connsiteY51" fmla="*/ 205545 h 606580"/>
              <a:gd name="connsiteX52" fmla="*/ 216841 w 572779"/>
              <a:gd name="connsiteY52" fmla="*/ 160241 h 606580"/>
              <a:gd name="connsiteX53" fmla="*/ 233333 w 572779"/>
              <a:gd name="connsiteY53" fmla="*/ 160241 h 606580"/>
              <a:gd name="connsiteX54" fmla="*/ 249825 w 572779"/>
              <a:gd name="connsiteY54" fmla="*/ 242528 h 606580"/>
              <a:gd name="connsiteX55" fmla="*/ 269383 w 572779"/>
              <a:gd name="connsiteY55" fmla="*/ 242528 h 606580"/>
              <a:gd name="connsiteX56" fmla="*/ 274476 w 572779"/>
              <a:gd name="connsiteY56" fmla="*/ 186996 h 606580"/>
              <a:gd name="connsiteX57" fmla="*/ 273839 w 572779"/>
              <a:gd name="connsiteY57" fmla="*/ 183991 h 606580"/>
              <a:gd name="connsiteX58" fmla="*/ 265506 w 572779"/>
              <a:gd name="connsiteY58" fmla="*/ 162726 h 606580"/>
              <a:gd name="connsiteX59" fmla="*/ 264407 w 572779"/>
              <a:gd name="connsiteY59" fmla="*/ 160472 h 606580"/>
              <a:gd name="connsiteX60" fmla="*/ 264523 w 572779"/>
              <a:gd name="connsiteY60" fmla="*/ 160472 h 606580"/>
              <a:gd name="connsiteX61" fmla="*/ 264349 w 572779"/>
              <a:gd name="connsiteY61" fmla="*/ 160183 h 606580"/>
              <a:gd name="connsiteX62" fmla="*/ 92987 w 572779"/>
              <a:gd name="connsiteY62" fmla="*/ 160183 h 606580"/>
              <a:gd name="connsiteX63" fmla="*/ 136964 w 572779"/>
              <a:gd name="connsiteY63" fmla="*/ 160183 h 606580"/>
              <a:gd name="connsiteX64" fmla="*/ 136791 w 572779"/>
              <a:gd name="connsiteY64" fmla="*/ 160472 h 606580"/>
              <a:gd name="connsiteX65" fmla="*/ 137022 w 572779"/>
              <a:gd name="connsiteY65" fmla="*/ 160472 h 606580"/>
              <a:gd name="connsiteX66" fmla="*/ 135923 w 572779"/>
              <a:gd name="connsiteY66" fmla="*/ 162726 h 606580"/>
              <a:gd name="connsiteX67" fmla="*/ 126896 w 572779"/>
              <a:gd name="connsiteY67" fmla="*/ 187227 h 606580"/>
              <a:gd name="connsiteX68" fmla="*/ 131988 w 572779"/>
              <a:gd name="connsiteY68" fmla="*/ 242470 h 606580"/>
              <a:gd name="connsiteX69" fmla="*/ 149752 w 572779"/>
              <a:gd name="connsiteY69" fmla="*/ 242470 h 606580"/>
              <a:gd name="connsiteX70" fmla="*/ 149752 w 572779"/>
              <a:gd name="connsiteY70" fmla="*/ 337471 h 606580"/>
              <a:gd name="connsiteX71" fmla="*/ 178742 w 572779"/>
              <a:gd name="connsiteY71" fmla="*/ 392483 h 606580"/>
              <a:gd name="connsiteX72" fmla="*/ 178742 w 572779"/>
              <a:gd name="connsiteY72" fmla="*/ 574624 h 606580"/>
              <a:gd name="connsiteX73" fmla="*/ 146743 w 572779"/>
              <a:gd name="connsiteY73" fmla="*/ 606580 h 606580"/>
              <a:gd name="connsiteX74" fmla="*/ 114976 w 572779"/>
              <a:gd name="connsiteY74" fmla="*/ 578149 h 606580"/>
              <a:gd name="connsiteX75" fmla="*/ 83151 w 572779"/>
              <a:gd name="connsiteY75" fmla="*/ 606580 h 606580"/>
              <a:gd name="connsiteX76" fmla="*/ 51152 w 572779"/>
              <a:gd name="connsiteY76" fmla="*/ 574624 h 606580"/>
              <a:gd name="connsiteX77" fmla="*/ 51152 w 572779"/>
              <a:gd name="connsiteY77" fmla="*/ 382833 h 606580"/>
              <a:gd name="connsiteX78" fmla="*/ 45365 w 572779"/>
              <a:gd name="connsiteY78" fmla="*/ 382833 h 606580"/>
              <a:gd name="connsiteX79" fmla="*/ 0 w 572779"/>
              <a:gd name="connsiteY79" fmla="*/ 337528 h 606580"/>
              <a:gd name="connsiteX80" fmla="*/ 0 w 572779"/>
              <a:gd name="connsiteY80" fmla="*/ 205545 h 606580"/>
              <a:gd name="connsiteX81" fmla="*/ 45365 w 572779"/>
              <a:gd name="connsiteY81" fmla="*/ 160241 h 606580"/>
              <a:gd name="connsiteX82" fmla="*/ 61972 w 572779"/>
              <a:gd name="connsiteY82" fmla="*/ 160241 h 606580"/>
              <a:gd name="connsiteX83" fmla="*/ 78464 w 572779"/>
              <a:gd name="connsiteY83" fmla="*/ 242528 h 606580"/>
              <a:gd name="connsiteX84" fmla="*/ 97964 w 572779"/>
              <a:gd name="connsiteY84" fmla="*/ 242528 h 606580"/>
              <a:gd name="connsiteX85" fmla="*/ 103056 w 572779"/>
              <a:gd name="connsiteY85" fmla="*/ 186996 h 606580"/>
              <a:gd name="connsiteX86" fmla="*/ 102477 w 572779"/>
              <a:gd name="connsiteY86" fmla="*/ 183991 h 606580"/>
              <a:gd name="connsiteX87" fmla="*/ 94145 w 572779"/>
              <a:gd name="connsiteY87" fmla="*/ 162726 h 606580"/>
              <a:gd name="connsiteX88" fmla="*/ 93045 w 572779"/>
              <a:gd name="connsiteY88" fmla="*/ 160472 h 606580"/>
              <a:gd name="connsiteX89" fmla="*/ 93103 w 572779"/>
              <a:gd name="connsiteY89" fmla="*/ 160472 h 606580"/>
              <a:gd name="connsiteX90" fmla="*/ 92987 w 572779"/>
              <a:gd name="connsiteY90" fmla="*/ 160183 h 606580"/>
              <a:gd name="connsiteX91" fmla="*/ 457411 w 572779"/>
              <a:gd name="connsiteY91" fmla="*/ 751 h 606580"/>
              <a:gd name="connsiteX92" fmla="*/ 458047 w 572779"/>
              <a:gd name="connsiteY92" fmla="*/ 751 h 606580"/>
              <a:gd name="connsiteX93" fmla="*/ 521621 w 572779"/>
              <a:gd name="connsiteY93" fmla="*/ 49915 h 606580"/>
              <a:gd name="connsiteX94" fmla="*/ 523761 w 572779"/>
              <a:gd name="connsiteY94" fmla="*/ 66553 h 606580"/>
              <a:gd name="connsiteX95" fmla="*/ 458105 w 572779"/>
              <a:gd name="connsiteY95" fmla="*/ 132124 h 606580"/>
              <a:gd name="connsiteX96" fmla="*/ 457469 w 572779"/>
              <a:gd name="connsiteY96" fmla="*/ 132124 h 606580"/>
              <a:gd name="connsiteX97" fmla="*/ 393895 w 572779"/>
              <a:gd name="connsiteY97" fmla="*/ 82960 h 606580"/>
              <a:gd name="connsiteX98" fmla="*/ 391755 w 572779"/>
              <a:gd name="connsiteY98" fmla="*/ 66322 h 606580"/>
              <a:gd name="connsiteX99" fmla="*/ 457411 w 572779"/>
              <a:gd name="connsiteY99" fmla="*/ 751 h 606580"/>
              <a:gd name="connsiteX100" fmla="*/ 285868 w 572779"/>
              <a:gd name="connsiteY100" fmla="*/ 751 h 606580"/>
              <a:gd name="connsiteX101" fmla="*/ 286621 w 572779"/>
              <a:gd name="connsiteY101" fmla="*/ 751 h 606580"/>
              <a:gd name="connsiteX102" fmla="*/ 350227 w 572779"/>
              <a:gd name="connsiteY102" fmla="*/ 49915 h 606580"/>
              <a:gd name="connsiteX103" fmla="*/ 352369 w 572779"/>
              <a:gd name="connsiteY103" fmla="*/ 66553 h 606580"/>
              <a:gd name="connsiteX104" fmla="*/ 286736 w 572779"/>
              <a:gd name="connsiteY104" fmla="*/ 132124 h 606580"/>
              <a:gd name="connsiteX105" fmla="*/ 286100 w 572779"/>
              <a:gd name="connsiteY105" fmla="*/ 132124 h 606580"/>
              <a:gd name="connsiteX106" fmla="*/ 222493 w 572779"/>
              <a:gd name="connsiteY106" fmla="*/ 82845 h 606580"/>
              <a:gd name="connsiteX107" fmla="*/ 220351 w 572779"/>
              <a:gd name="connsiteY107" fmla="*/ 66264 h 606580"/>
              <a:gd name="connsiteX108" fmla="*/ 285868 w 572779"/>
              <a:gd name="connsiteY108" fmla="*/ 751 h 606580"/>
              <a:gd name="connsiteX109" fmla="*/ 114639 w 572779"/>
              <a:gd name="connsiteY109" fmla="*/ 751 h 606580"/>
              <a:gd name="connsiteX110" fmla="*/ 115275 w 572779"/>
              <a:gd name="connsiteY110" fmla="*/ 751 h 606580"/>
              <a:gd name="connsiteX111" fmla="*/ 178882 w 572779"/>
              <a:gd name="connsiteY111" fmla="*/ 49915 h 606580"/>
              <a:gd name="connsiteX112" fmla="*/ 181024 w 572779"/>
              <a:gd name="connsiteY112" fmla="*/ 66553 h 606580"/>
              <a:gd name="connsiteX113" fmla="*/ 115333 w 572779"/>
              <a:gd name="connsiteY113" fmla="*/ 132124 h 606580"/>
              <a:gd name="connsiteX114" fmla="*/ 114754 w 572779"/>
              <a:gd name="connsiteY114" fmla="*/ 132124 h 606580"/>
              <a:gd name="connsiteX115" fmla="*/ 51148 w 572779"/>
              <a:gd name="connsiteY115" fmla="*/ 82960 h 606580"/>
              <a:gd name="connsiteX116" fmla="*/ 49006 w 572779"/>
              <a:gd name="connsiteY116" fmla="*/ 66322 h 606580"/>
              <a:gd name="connsiteX117" fmla="*/ 114639 w 572779"/>
              <a:gd name="connsiteY117" fmla="*/ 751 h 606580"/>
              <a:gd name="connsiteX118" fmla="*/ 457410 w 572779"/>
              <a:gd name="connsiteY118" fmla="*/ 423 h 606580"/>
              <a:gd name="connsiteX119" fmla="*/ 391355 w 572779"/>
              <a:gd name="connsiteY119" fmla="*/ 66356 h 606580"/>
              <a:gd name="connsiteX120" fmla="*/ 393497 w 572779"/>
              <a:gd name="connsiteY120" fmla="*/ 83056 h 606580"/>
              <a:gd name="connsiteX121" fmla="*/ 457468 w 572779"/>
              <a:gd name="connsiteY121" fmla="*/ 132521 h 606580"/>
              <a:gd name="connsiteX122" fmla="*/ 457815 w 572779"/>
              <a:gd name="connsiteY122" fmla="*/ 132521 h 606580"/>
              <a:gd name="connsiteX123" fmla="*/ 458104 w 572779"/>
              <a:gd name="connsiteY123" fmla="*/ 132521 h 606580"/>
              <a:gd name="connsiteX124" fmla="*/ 524159 w 572779"/>
              <a:gd name="connsiteY124" fmla="*/ 66587 h 606580"/>
              <a:gd name="connsiteX125" fmla="*/ 522017 w 572779"/>
              <a:gd name="connsiteY125" fmla="*/ 49887 h 606580"/>
              <a:gd name="connsiteX126" fmla="*/ 458046 w 572779"/>
              <a:gd name="connsiteY126" fmla="*/ 423 h 606580"/>
              <a:gd name="connsiteX127" fmla="*/ 457699 w 572779"/>
              <a:gd name="connsiteY127" fmla="*/ 423 h 606580"/>
              <a:gd name="connsiteX128" fmla="*/ 114646 w 572779"/>
              <a:gd name="connsiteY128" fmla="*/ 423 h 606580"/>
              <a:gd name="connsiteX129" fmla="*/ 48620 w 572779"/>
              <a:gd name="connsiteY129" fmla="*/ 66356 h 606580"/>
              <a:gd name="connsiteX130" fmla="*/ 50761 w 572779"/>
              <a:gd name="connsiteY130" fmla="*/ 83056 h 606580"/>
              <a:gd name="connsiteX131" fmla="*/ 114762 w 572779"/>
              <a:gd name="connsiteY131" fmla="*/ 132521 h 606580"/>
              <a:gd name="connsiteX132" fmla="*/ 115051 w 572779"/>
              <a:gd name="connsiteY132" fmla="*/ 132521 h 606580"/>
              <a:gd name="connsiteX133" fmla="*/ 115340 w 572779"/>
              <a:gd name="connsiteY133" fmla="*/ 132521 h 606580"/>
              <a:gd name="connsiteX134" fmla="*/ 181424 w 572779"/>
              <a:gd name="connsiteY134" fmla="*/ 66587 h 606580"/>
              <a:gd name="connsiteX135" fmla="*/ 179225 w 572779"/>
              <a:gd name="connsiteY135" fmla="*/ 49887 h 606580"/>
              <a:gd name="connsiteX136" fmla="*/ 115282 w 572779"/>
              <a:gd name="connsiteY136" fmla="*/ 423 h 606580"/>
              <a:gd name="connsiteX137" fmla="*/ 114993 w 572779"/>
              <a:gd name="connsiteY137" fmla="*/ 423 h 606580"/>
              <a:gd name="connsiteX138" fmla="*/ 286036 w 572779"/>
              <a:gd name="connsiteY138" fmla="*/ 397 h 606580"/>
              <a:gd name="connsiteX139" fmla="*/ 219952 w 572779"/>
              <a:gd name="connsiteY139" fmla="*/ 66286 h 606580"/>
              <a:gd name="connsiteX140" fmla="*/ 222151 w 572779"/>
              <a:gd name="connsiteY140" fmla="*/ 82990 h 606580"/>
              <a:gd name="connsiteX141" fmla="*/ 286094 w 572779"/>
              <a:gd name="connsiteY141" fmla="*/ 132522 h 606580"/>
              <a:gd name="connsiteX142" fmla="*/ 286383 w 572779"/>
              <a:gd name="connsiteY142" fmla="*/ 132522 h 606580"/>
              <a:gd name="connsiteX143" fmla="*/ 286730 w 572779"/>
              <a:gd name="connsiteY143" fmla="*/ 132522 h 606580"/>
              <a:gd name="connsiteX144" fmla="*/ 352756 w 572779"/>
              <a:gd name="connsiteY144" fmla="*/ 66575 h 606580"/>
              <a:gd name="connsiteX145" fmla="*/ 350615 w 572779"/>
              <a:gd name="connsiteY145" fmla="*/ 49872 h 606580"/>
              <a:gd name="connsiteX146" fmla="*/ 286614 w 572779"/>
              <a:gd name="connsiteY146" fmla="*/ 397 h 606580"/>
              <a:gd name="connsiteX147" fmla="*/ 286325 w 572779"/>
              <a:gd name="connsiteY147" fmla="*/ 397 h 606580"/>
              <a:gd name="connsiteX148" fmla="*/ 457411 w 572779"/>
              <a:gd name="connsiteY148" fmla="*/ 0 h 606580"/>
              <a:gd name="connsiteX149" fmla="*/ 458047 w 572779"/>
              <a:gd name="connsiteY149" fmla="*/ 0 h 606580"/>
              <a:gd name="connsiteX150" fmla="*/ 522315 w 572779"/>
              <a:gd name="connsiteY150" fmla="*/ 49741 h 606580"/>
              <a:gd name="connsiteX151" fmla="*/ 524513 w 572779"/>
              <a:gd name="connsiteY151" fmla="*/ 66553 h 606580"/>
              <a:gd name="connsiteX152" fmla="*/ 458105 w 572779"/>
              <a:gd name="connsiteY152" fmla="*/ 132875 h 606580"/>
              <a:gd name="connsiteX153" fmla="*/ 457469 w 572779"/>
              <a:gd name="connsiteY153" fmla="*/ 132875 h 606580"/>
              <a:gd name="connsiteX154" fmla="*/ 393201 w 572779"/>
              <a:gd name="connsiteY154" fmla="*/ 83133 h 606580"/>
              <a:gd name="connsiteX155" fmla="*/ 391003 w 572779"/>
              <a:gd name="connsiteY155" fmla="*/ 66322 h 606580"/>
              <a:gd name="connsiteX156" fmla="*/ 457411 w 572779"/>
              <a:gd name="connsiteY156" fmla="*/ 0 h 606580"/>
              <a:gd name="connsiteX157" fmla="*/ 285868 w 572779"/>
              <a:gd name="connsiteY157" fmla="*/ 0 h 606580"/>
              <a:gd name="connsiteX158" fmla="*/ 286621 w 572779"/>
              <a:gd name="connsiteY158" fmla="*/ 0 h 606580"/>
              <a:gd name="connsiteX159" fmla="*/ 350980 w 572779"/>
              <a:gd name="connsiteY159" fmla="*/ 49741 h 606580"/>
              <a:gd name="connsiteX160" fmla="*/ 353179 w 572779"/>
              <a:gd name="connsiteY160" fmla="*/ 66553 h 606580"/>
              <a:gd name="connsiteX161" fmla="*/ 286736 w 572779"/>
              <a:gd name="connsiteY161" fmla="*/ 132875 h 606580"/>
              <a:gd name="connsiteX162" fmla="*/ 286100 w 572779"/>
              <a:gd name="connsiteY162" fmla="*/ 132875 h 606580"/>
              <a:gd name="connsiteX163" fmla="*/ 221740 w 572779"/>
              <a:gd name="connsiteY163" fmla="*/ 83076 h 606580"/>
              <a:gd name="connsiteX164" fmla="*/ 219599 w 572779"/>
              <a:gd name="connsiteY164" fmla="*/ 66264 h 606580"/>
              <a:gd name="connsiteX165" fmla="*/ 285868 w 572779"/>
              <a:gd name="connsiteY165" fmla="*/ 0 h 606580"/>
              <a:gd name="connsiteX166" fmla="*/ 114639 w 572779"/>
              <a:gd name="connsiteY166" fmla="*/ 0 h 606580"/>
              <a:gd name="connsiteX167" fmla="*/ 115275 w 572779"/>
              <a:gd name="connsiteY167" fmla="*/ 0 h 606580"/>
              <a:gd name="connsiteX168" fmla="*/ 179635 w 572779"/>
              <a:gd name="connsiteY168" fmla="*/ 49741 h 606580"/>
              <a:gd name="connsiteX169" fmla="*/ 181776 w 572779"/>
              <a:gd name="connsiteY169" fmla="*/ 66553 h 606580"/>
              <a:gd name="connsiteX170" fmla="*/ 115333 w 572779"/>
              <a:gd name="connsiteY170" fmla="*/ 132875 h 606580"/>
              <a:gd name="connsiteX171" fmla="*/ 114754 w 572779"/>
              <a:gd name="connsiteY171" fmla="*/ 132875 h 606580"/>
              <a:gd name="connsiteX172" fmla="*/ 50395 w 572779"/>
              <a:gd name="connsiteY172" fmla="*/ 83133 h 606580"/>
              <a:gd name="connsiteX173" fmla="*/ 48196 w 572779"/>
              <a:gd name="connsiteY173" fmla="*/ 66322 h 606580"/>
              <a:gd name="connsiteX174" fmla="*/ 114639 w 572779"/>
              <a:gd name="connsiteY174" fmla="*/ 0 h 606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</a:cxnLst>
            <a:rect l="l" t="t" r="r" b="b"/>
            <a:pathLst>
              <a:path w="572779" h="606580">
                <a:moveTo>
                  <a:pt x="435703" y="160183"/>
                </a:moveTo>
                <a:lnTo>
                  <a:pt x="479697" y="160183"/>
                </a:lnTo>
                <a:cubicBezTo>
                  <a:pt x="479639" y="160241"/>
                  <a:pt x="479639" y="160414"/>
                  <a:pt x="479581" y="160472"/>
                </a:cubicBezTo>
                <a:lnTo>
                  <a:pt x="479812" y="160472"/>
                </a:lnTo>
                <a:cubicBezTo>
                  <a:pt x="479407" y="161281"/>
                  <a:pt x="478713" y="162726"/>
                  <a:pt x="478713" y="162726"/>
                </a:cubicBezTo>
                <a:cubicBezTo>
                  <a:pt x="474834" y="170989"/>
                  <a:pt x="471245" y="178848"/>
                  <a:pt x="469682" y="187227"/>
                </a:cubicBezTo>
                <a:lnTo>
                  <a:pt x="474776" y="242470"/>
                </a:lnTo>
                <a:lnTo>
                  <a:pt x="494284" y="242470"/>
                </a:lnTo>
                <a:lnTo>
                  <a:pt x="510840" y="160183"/>
                </a:lnTo>
                <a:lnTo>
                  <a:pt x="527338" y="160183"/>
                </a:lnTo>
                <a:cubicBezTo>
                  <a:pt x="552345" y="160183"/>
                  <a:pt x="572663" y="180466"/>
                  <a:pt x="572779" y="205430"/>
                </a:cubicBezTo>
                <a:lnTo>
                  <a:pt x="572779" y="337413"/>
                </a:lnTo>
                <a:cubicBezTo>
                  <a:pt x="572779" y="362434"/>
                  <a:pt x="552519" y="382717"/>
                  <a:pt x="527396" y="382717"/>
                </a:cubicBezTo>
                <a:lnTo>
                  <a:pt x="521607" y="382717"/>
                </a:lnTo>
                <a:lnTo>
                  <a:pt x="521607" y="574624"/>
                </a:lnTo>
                <a:cubicBezTo>
                  <a:pt x="521607" y="592249"/>
                  <a:pt x="507251" y="606580"/>
                  <a:pt x="489595" y="606580"/>
                </a:cubicBezTo>
                <a:cubicBezTo>
                  <a:pt x="473155" y="606580"/>
                  <a:pt x="459552" y="594098"/>
                  <a:pt x="457815" y="578149"/>
                </a:cubicBezTo>
                <a:cubicBezTo>
                  <a:pt x="456021" y="594214"/>
                  <a:pt x="442417" y="606580"/>
                  <a:pt x="425978" y="606580"/>
                </a:cubicBezTo>
                <a:cubicBezTo>
                  <a:pt x="408322" y="606580"/>
                  <a:pt x="393966" y="592249"/>
                  <a:pt x="393966" y="574624"/>
                </a:cubicBezTo>
                <a:lnTo>
                  <a:pt x="393966" y="392541"/>
                </a:lnTo>
                <a:cubicBezTo>
                  <a:pt x="411506" y="380521"/>
                  <a:pt x="422967" y="360354"/>
                  <a:pt x="422967" y="337528"/>
                </a:cubicBezTo>
                <a:lnTo>
                  <a:pt x="422967" y="242528"/>
                </a:lnTo>
                <a:lnTo>
                  <a:pt x="440739" y="242528"/>
                </a:lnTo>
                <a:lnTo>
                  <a:pt x="445833" y="186996"/>
                </a:lnTo>
                <a:cubicBezTo>
                  <a:pt x="445659" y="186013"/>
                  <a:pt x="445428" y="184973"/>
                  <a:pt x="445196" y="183991"/>
                </a:cubicBezTo>
                <a:cubicBezTo>
                  <a:pt x="443459" y="176768"/>
                  <a:pt x="440276" y="169891"/>
                  <a:pt x="436860" y="162726"/>
                </a:cubicBezTo>
                <a:cubicBezTo>
                  <a:pt x="436860" y="162726"/>
                  <a:pt x="436166" y="161281"/>
                  <a:pt x="435818" y="160472"/>
                </a:cubicBezTo>
                <a:lnTo>
                  <a:pt x="435876" y="160472"/>
                </a:lnTo>
                <a:cubicBezTo>
                  <a:pt x="435818" y="160356"/>
                  <a:pt x="435818" y="160241"/>
                  <a:pt x="435703" y="160183"/>
                </a:cubicBezTo>
                <a:close/>
                <a:moveTo>
                  <a:pt x="264349" y="160183"/>
                </a:moveTo>
                <a:lnTo>
                  <a:pt x="308327" y="160183"/>
                </a:lnTo>
                <a:cubicBezTo>
                  <a:pt x="308269" y="160241"/>
                  <a:pt x="308269" y="160414"/>
                  <a:pt x="308154" y="160472"/>
                </a:cubicBezTo>
                <a:lnTo>
                  <a:pt x="308385" y="160472"/>
                </a:lnTo>
                <a:cubicBezTo>
                  <a:pt x="308038" y="161281"/>
                  <a:pt x="307344" y="162726"/>
                  <a:pt x="307344" y="162726"/>
                </a:cubicBezTo>
                <a:cubicBezTo>
                  <a:pt x="303467" y="170989"/>
                  <a:pt x="299821" y="178848"/>
                  <a:pt x="298316" y="187227"/>
                </a:cubicBezTo>
                <a:lnTo>
                  <a:pt x="303409" y="242470"/>
                </a:lnTo>
                <a:lnTo>
                  <a:pt x="322910" y="242470"/>
                </a:lnTo>
                <a:lnTo>
                  <a:pt x="339401" y="160183"/>
                </a:lnTo>
                <a:lnTo>
                  <a:pt x="355951" y="160183"/>
                </a:lnTo>
                <a:cubicBezTo>
                  <a:pt x="380949" y="160183"/>
                  <a:pt x="401202" y="180466"/>
                  <a:pt x="401376" y="205430"/>
                </a:cubicBezTo>
                <a:lnTo>
                  <a:pt x="401376" y="337413"/>
                </a:lnTo>
                <a:cubicBezTo>
                  <a:pt x="401376" y="362434"/>
                  <a:pt x="381065" y="382717"/>
                  <a:pt x="356009" y="382717"/>
                </a:cubicBezTo>
                <a:lnTo>
                  <a:pt x="350222" y="382717"/>
                </a:lnTo>
                <a:lnTo>
                  <a:pt x="350222" y="574624"/>
                </a:lnTo>
                <a:cubicBezTo>
                  <a:pt x="350222" y="592249"/>
                  <a:pt x="335872" y="606580"/>
                  <a:pt x="318222" y="606580"/>
                </a:cubicBezTo>
                <a:cubicBezTo>
                  <a:pt x="301788" y="606580"/>
                  <a:pt x="288190" y="594098"/>
                  <a:pt x="286396" y="578149"/>
                </a:cubicBezTo>
                <a:cubicBezTo>
                  <a:pt x="284660" y="594214"/>
                  <a:pt x="271062" y="606580"/>
                  <a:pt x="254628" y="606580"/>
                </a:cubicBezTo>
                <a:cubicBezTo>
                  <a:pt x="236978" y="606580"/>
                  <a:pt x="222628" y="592249"/>
                  <a:pt x="222628" y="574624"/>
                </a:cubicBezTo>
                <a:lnTo>
                  <a:pt x="222628" y="382833"/>
                </a:lnTo>
                <a:lnTo>
                  <a:pt x="216841" y="382833"/>
                </a:lnTo>
                <a:cubicBezTo>
                  <a:pt x="191727" y="382833"/>
                  <a:pt x="171474" y="362608"/>
                  <a:pt x="171474" y="337528"/>
                </a:cubicBezTo>
                <a:lnTo>
                  <a:pt x="171474" y="205545"/>
                </a:lnTo>
                <a:cubicBezTo>
                  <a:pt x="171474" y="180524"/>
                  <a:pt x="191727" y="160241"/>
                  <a:pt x="216841" y="160241"/>
                </a:cubicBezTo>
                <a:lnTo>
                  <a:pt x="233333" y="160241"/>
                </a:lnTo>
                <a:lnTo>
                  <a:pt x="249825" y="242528"/>
                </a:lnTo>
                <a:lnTo>
                  <a:pt x="269383" y="242528"/>
                </a:lnTo>
                <a:lnTo>
                  <a:pt x="274476" y="186996"/>
                </a:lnTo>
                <a:cubicBezTo>
                  <a:pt x="274302" y="186013"/>
                  <a:pt x="274071" y="184973"/>
                  <a:pt x="273839" y="183991"/>
                </a:cubicBezTo>
                <a:cubicBezTo>
                  <a:pt x="272045" y="176768"/>
                  <a:pt x="268921" y="169891"/>
                  <a:pt x="265506" y="162726"/>
                </a:cubicBezTo>
                <a:cubicBezTo>
                  <a:pt x="265506" y="162726"/>
                  <a:pt x="264812" y="161281"/>
                  <a:pt x="264407" y="160472"/>
                </a:cubicBezTo>
                <a:lnTo>
                  <a:pt x="264523" y="160472"/>
                </a:lnTo>
                <a:cubicBezTo>
                  <a:pt x="264407" y="160356"/>
                  <a:pt x="264407" y="160241"/>
                  <a:pt x="264349" y="160183"/>
                </a:cubicBezTo>
                <a:close/>
                <a:moveTo>
                  <a:pt x="92987" y="160183"/>
                </a:moveTo>
                <a:lnTo>
                  <a:pt x="136964" y="160183"/>
                </a:lnTo>
                <a:cubicBezTo>
                  <a:pt x="136848" y="160241"/>
                  <a:pt x="136848" y="160414"/>
                  <a:pt x="136791" y="160472"/>
                </a:cubicBezTo>
                <a:lnTo>
                  <a:pt x="137022" y="160472"/>
                </a:lnTo>
                <a:cubicBezTo>
                  <a:pt x="136617" y="161281"/>
                  <a:pt x="135923" y="162726"/>
                  <a:pt x="135923" y="162726"/>
                </a:cubicBezTo>
                <a:cubicBezTo>
                  <a:pt x="132104" y="170989"/>
                  <a:pt x="128458" y="178848"/>
                  <a:pt x="126896" y="187227"/>
                </a:cubicBezTo>
                <a:lnTo>
                  <a:pt x="131988" y="242470"/>
                </a:lnTo>
                <a:lnTo>
                  <a:pt x="149752" y="242470"/>
                </a:lnTo>
                <a:lnTo>
                  <a:pt x="149752" y="337471"/>
                </a:lnTo>
                <a:cubicBezTo>
                  <a:pt x="149752" y="360296"/>
                  <a:pt x="161267" y="380406"/>
                  <a:pt x="178742" y="392483"/>
                </a:cubicBezTo>
                <a:lnTo>
                  <a:pt x="178742" y="574624"/>
                </a:lnTo>
                <a:cubicBezTo>
                  <a:pt x="178742" y="592249"/>
                  <a:pt x="164392" y="606580"/>
                  <a:pt x="146743" y="606580"/>
                </a:cubicBezTo>
                <a:cubicBezTo>
                  <a:pt x="130310" y="606580"/>
                  <a:pt x="116712" y="594098"/>
                  <a:pt x="114976" y="578149"/>
                </a:cubicBezTo>
                <a:cubicBezTo>
                  <a:pt x="113182" y="594214"/>
                  <a:pt x="99584" y="606580"/>
                  <a:pt x="83151" y="606580"/>
                </a:cubicBezTo>
                <a:cubicBezTo>
                  <a:pt x="65502" y="606580"/>
                  <a:pt x="51152" y="592249"/>
                  <a:pt x="51152" y="574624"/>
                </a:cubicBezTo>
                <a:lnTo>
                  <a:pt x="51152" y="382833"/>
                </a:lnTo>
                <a:lnTo>
                  <a:pt x="45365" y="382833"/>
                </a:lnTo>
                <a:cubicBezTo>
                  <a:pt x="20310" y="382833"/>
                  <a:pt x="0" y="362608"/>
                  <a:pt x="0" y="337528"/>
                </a:cubicBezTo>
                <a:lnTo>
                  <a:pt x="0" y="205545"/>
                </a:lnTo>
                <a:cubicBezTo>
                  <a:pt x="0" y="180524"/>
                  <a:pt x="20310" y="160241"/>
                  <a:pt x="45365" y="160241"/>
                </a:cubicBezTo>
                <a:lnTo>
                  <a:pt x="61972" y="160241"/>
                </a:lnTo>
                <a:lnTo>
                  <a:pt x="78464" y="242528"/>
                </a:lnTo>
                <a:lnTo>
                  <a:pt x="97964" y="242528"/>
                </a:lnTo>
                <a:lnTo>
                  <a:pt x="103056" y="186996"/>
                </a:lnTo>
                <a:cubicBezTo>
                  <a:pt x="102940" y="186013"/>
                  <a:pt x="102709" y="184973"/>
                  <a:pt x="102477" y="183991"/>
                </a:cubicBezTo>
                <a:cubicBezTo>
                  <a:pt x="100683" y="176768"/>
                  <a:pt x="97501" y="169891"/>
                  <a:pt x="94145" y="162726"/>
                </a:cubicBezTo>
                <a:cubicBezTo>
                  <a:pt x="94145" y="162726"/>
                  <a:pt x="93450" y="161281"/>
                  <a:pt x="93045" y="160472"/>
                </a:cubicBezTo>
                <a:lnTo>
                  <a:pt x="93103" y="160472"/>
                </a:lnTo>
                <a:cubicBezTo>
                  <a:pt x="93045" y="160356"/>
                  <a:pt x="93045" y="160241"/>
                  <a:pt x="92987" y="160183"/>
                </a:cubicBezTo>
                <a:close/>
                <a:moveTo>
                  <a:pt x="457411" y="751"/>
                </a:moveTo>
                <a:lnTo>
                  <a:pt x="458047" y="751"/>
                </a:lnTo>
                <a:cubicBezTo>
                  <a:pt x="488012" y="751"/>
                  <a:pt x="514158" y="20971"/>
                  <a:pt x="521621" y="49915"/>
                </a:cubicBezTo>
                <a:cubicBezTo>
                  <a:pt x="523009" y="55403"/>
                  <a:pt x="523761" y="61007"/>
                  <a:pt x="523761" y="66553"/>
                </a:cubicBezTo>
                <a:cubicBezTo>
                  <a:pt x="523761" y="102718"/>
                  <a:pt x="494317" y="132124"/>
                  <a:pt x="458105" y="132124"/>
                </a:cubicBezTo>
                <a:lnTo>
                  <a:pt x="457469" y="132124"/>
                </a:lnTo>
                <a:cubicBezTo>
                  <a:pt x="427504" y="132124"/>
                  <a:pt x="401358" y="111904"/>
                  <a:pt x="393895" y="82960"/>
                </a:cubicBezTo>
                <a:cubicBezTo>
                  <a:pt x="392507" y="77472"/>
                  <a:pt x="391755" y="71868"/>
                  <a:pt x="391755" y="66322"/>
                </a:cubicBezTo>
                <a:cubicBezTo>
                  <a:pt x="391755" y="30157"/>
                  <a:pt x="421199" y="751"/>
                  <a:pt x="457411" y="751"/>
                </a:cubicBezTo>
                <a:close/>
                <a:moveTo>
                  <a:pt x="285868" y="751"/>
                </a:moveTo>
                <a:lnTo>
                  <a:pt x="286621" y="751"/>
                </a:lnTo>
                <a:cubicBezTo>
                  <a:pt x="316601" y="751"/>
                  <a:pt x="342761" y="20971"/>
                  <a:pt x="350227" y="49915"/>
                </a:cubicBezTo>
                <a:cubicBezTo>
                  <a:pt x="351674" y="55403"/>
                  <a:pt x="352369" y="61007"/>
                  <a:pt x="352369" y="66553"/>
                </a:cubicBezTo>
                <a:cubicBezTo>
                  <a:pt x="352369" y="102718"/>
                  <a:pt x="322909" y="132124"/>
                  <a:pt x="286736" y="132124"/>
                </a:cubicBezTo>
                <a:lnTo>
                  <a:pt x="286100" y="132124"/>
                </a:lnTo>
                <a:cubicBezTo>
                  <a:pt x="256119" y="132124"/>
                  <a:pt x="229959" y="111846"/>
                  <a:pt x="222493" y="82845"/>
                </a:cubicBezTo>
                <a:cubicBezTo>
                  <a:pt x="221046" y="77414"/>
                  <a:pt x="220351" y="71810"/>
                  <a:pt x="220351" y="66264"/>
                </a:cubicBezTo>
                <a:cubicBezTo>
                  <a:pt x="220351" y="30157"/>
                  <a:pt x="249753" y="751"/>
                  <a:pt x="285868" y="751"/>
                </a:cubicBezTo>
                <a:close/>
                <a:moveTo>
                  <a:pt x="114639" y="751"/>
                </a:moveTo>
                <a:lnTo>
                  <a:pt x="115275" y="751"/>
                </a:lnTo>
                <a:cubicBezTo>
                  <a:pt x="145256" y="751"/>
                  <a:pt x="171416" y="20971"/>
                  <a:pt x="178882" y="49915"/>
                </a:cubicBezTo>
                <a:cubicBezTo>
                  <a:pt x="180329" y="55403"/>
                  <a:pt x="181024" y="61007"/>
                  <a:pt x="181024" y="66553"/>
                </a:cubicBezTo>
                <a:cubicBezTo>
                  <a:pt x="181024" y="102718"/>
                  <a:pt x="151564" y="132124"/>
                  <a:pt x="115333" y="132124"/>
                </a:cubicBezTo>
                <a:lnTo>
                  <a:pt x="114754" y="132124"/>
                </a:lnTo>
                <a:cubicBezTo>
                  <a:pt x="84774" y="132124"/>
                  <a:pt x="58614" y="111904"/>
                  <a:pt x="51148" y="82960"/>
                </a:cubicBezTo>
                <a:cubicBezTo>
                  <a:pt x="49701" y="77472"/>
                  <a:pt x="49006" y="71868"/>
                  <a:pt x="49006" y="66322"/>
                </a:cubicBezTo>
                <a:cubicBezTo>
                  <a:pt x="49006" y="30157"/>
                  <a:pt x="78466" y="751"/>
                  <a:pt x="114639" y="751"/>
                </a:cubicBezTo>
                <a:close/>
                <a:moveTo>
                  <a:pt x="457410" y="423"/>
                </a:moveTo>
                <a:cubicBezTo>
                  <a:pt x="420880" y="423"/>
                  <a:pt x="391355" y="29894"/>
                  <a:pt x="391355" y="66356"/>
                </a:cubicBezTo>
                <a:cubicBezTo>
                  <a:pt x="391355" y="72135"/>
                  <a:pt x="392108" y="77740"/>
                  <a:pt x="393497" y="83056"/>
                </a:cubicBezTo>
                <a:cubicBezTo>
                  <a:pt x="400849" y="111487"/>
                  <a:pt x="426669" y="132521"/>
                  <a:pt x="457468" y="132521"/>
                </a:cubicBezTo>
                <a:lnTo>
                  <a:pt x="457815" y="132521"/>
                </a:lnTo>
                <a:lnTo>
                  <a:pt x="458104" y="132521"/>
                </a:lnTo>
                <a:cubicBezTo>
                  <a:pt x="494634" y="132521"/>
                  <a:pt x="524159" y="103050"/>
                  <a:pt x="524159" y="66587"/>
                </a:cubicBezTo>
                <a:cubicBezTo>
                  <a:pt x="524159" y="60809"/>
                  <a:pt x="523406" y="55204"/>
                  <a:pt x="522017" y="49887"/>
                </a:cubicBezTo>
                <a:cubicBezTo>
                  <a:pt x="514665" y="21457"/>
                  <a:pt x="488845" y="423"/>
                  <a:pt x="458046" y="423"/>
                </a:cubicBezTo>
                <a:lnTo>
                  <a:pt x="457699" y="423"/>
                </a:lnTo>
                <a:close/>
                <a:moveTo>
                  <a:pt x="114646" y="423"/>
                </a:moveTo>
                <a:cubicBezTo>
                  <a:pt x="78190" y="423"/>
                  <a:pt x="48620" y="29894"/>
                  <a:pt x="48620" y="66356"/>
                </a:cubicBezTo>
                <a:cubicBezTo>
                  <a:pt x="48620" y="72135"/>
                  <a:pt x="49372" y="77740"/>
                  <a:pt x="50761" y="83056"/>
                </a:cubicBezTo>
                <a:cubicBezTo>
                  <a:pt x="58110" y="111487"/>
                  <a:pt x="83977" y="132521"/>
                  <a:pt x="114762" y="132521"/>
                </a:cubicBezTo>
                <a:lnTo>
                  <a:pt x="115051" y="132521"/>
                </a:lnTo>
                <a:lnTo>
                  <a:pt x="115340" y="132521"/>
                </a:lnTo>
                <a:cubicBezTo>
                  <a:pt x="151854" y="132521"/>
                  <a:pt x="181424" y="103050"/>
                  <a:pt x="181424" y="66587"/>
                </a:cubicBezTo>
                <a:cubicBezTo>
                  <a:pt x="181424" y="60809"/>
                  <a:pt x="180614" y="55204"/>
                  <a:pt x="179225" y="49887"/>
                </a:cubicBezTo>
                <a:cubicBezTo>
                  <a:pt x="171934" y="21457"/>
                  <a:pt x="146067" y="423"/>
                  <a:pt x="115282" y="423"/>
                </a:cubicBezTo>
                <a:lnTo>
                  <a:pt x="114993" y="423"/>
                </a:lnTo>
                <a:close/>
                <a:moveTo>
                  <a:pt x="286036" y="397"/>
                </a:moveTo>
                <a:cubicBezTo>
                  <a:pt x="249522" y="282"/>
                  <a:pt x="219952" y="29874"/>
                  <a:pt x="219952" y="66286"/>
                </a:cubicBezTo>
                <a:cubicBezTo>
                  <a:pt x="219952" y="72066"/>
                  <a:pt x="220762" y="77672"/>
                  <a:pt x="222151" y="82990"/>
                </a:cubicBezTo>
                <a:cubicBezTo>
                  <a:pt x="229442" y="111484"/>
                  <a:pt x="255309" y="132522"/>
                  <a:pt x="286094" y="132522"/>
                </a:cubicBezTo>
                <a:lnTo>
                  <a:pt x="286383" y="132522"/>
                </a:lnTo>
                <a:lnTo>
                  <a:pt x="286730" y="132522"/>
                </a:lnTo>
                <a:cubicBezTo>
                  <a:pt x="323186" y="132522"/>
                  <a:pt x="352756" y="103045"/>
                  <a:pt x="352756" y="66575"/>
                </a:cubicBezTo>
                <a:cubicBezTo>
                  <a:pt x="352756" y="60796"/>
                  <a:pt x="352004" y="55189"/>
                  <a:pt x="350615" y="49872"/>
                </a:cubicBezTo>
                <a:cubicBezTo>
                  <a:pt x="343266" y="21436"/>
                  <a:pt x="317399" y="397"/>
                  <a:pt x="286614" y="397"/>
                </a:cubicBezTo>
                <a:lnTo>
                  <a:pt x="286325" y="397"/>
                </a:lnTo>
                <a:close/>
                <a:moveTo>
                  <a:pt x="457411" y="0"/>
                </a:moveTo>
                <a:lnTo>
                  <a:pt x="458047" y="0"/>
                </a:lnTo>
                <a:cubicBezTo>
                  <a:pt x="488359" y="0"/>
                  <a:pt x="514795" y="20451"/>
                  <a:pt x="522315" y="49741"/>
                </a:cubicBezTo>
                <a:cubicBezTo>
                  <a:pt x="523761" y="55230"/>
                  <a:pt x="524513" y="60891"/>
                  <a:pt x="524513" y="66553"/>
                </a:cubicBezTo>
                <a:cubicBezTo>
                  <a:pt x="524513" y="103122"/>
                  <a:pt x="494722" y="132875"/>
                  <a:pt x="458105" y="132875"/>
                </a:cubicBezTo>
                <a:lnTo>
                  <a:pt x="457469" y="132875"/>
                </a:lnTo>
                <a:cubicBezTo>
                  <a:pt x="427157" y="132875"/>
                  <a:pt x="400721" y="112424"/>
                  <a:pt x="393201" y="83133"/>
                </a:cubicBezTo>
                <a:cubicBezTo>
                  <a:pt x="391755" y="77645"/>
                  <a:pt x="391003" y="71983"/>
                  <a:pt x="391003" y="66322"/>
                </a:cubicBezTo>
                <a:cubicBezTo>
                  <a:pt x="391003" y="29752"/>
                  <a:pt x="420794" y="0"/>
                  <a:pt x="457411" y="0"/>
                </a:cubicBezTo>
                <a:close/>
                <a:moveTo>
                  <a:pt x="285868" y="0"/>
                </a:moveTo>
                <a:lnTo>
                  <a:pt x="286621" y="0"/>
                </a:lnTo>
                <a:cubicBezTo>
                  <a:pt x="316948" y="0"/>
                  <a:pt x="343456" y="20451"/>
                  <a:pt x="350980" y="49741"/>
                </a:cubicBezTo>
                <a:cubicBezTo>
                  <a:pt x="352427" y="55287"/>
                  <a:pt x="353179" y="60891"/>
                  <a:pt x="353179" y="66553"/>
                </a:cubicBezTo>
                <a:cubicBezTo>
                  <a:pt x="353179" y="103122"/>
                  <a:pt x="323372" y="132875"/>
                  <a:pt x="286736" y="132875"/>
                </a:cubicBezTo>
                <a:lnTo>
                  <a:pt x="286100" y="132875"/>
                </a:lnTo>
                <a:cubicBezTo>
                  <a:pt x="255772" y="132875"/>
                  <a:pt x="229322" y="112366"/>
                  <a:pt x="221740" y="83076"/>
                </a:cubicBezTo>
                <a:cubicBezTo>
                  <a:pt x="220294" y="77530"/>
                  <a:pt x="219599" y="71868"/>
                  <a:pt x="219599" y="66264"/>
                </a:cubicBezTo>
                <a:cubicBezTo>
                  <a:pt x="219599" y="29695"/>
                  <a:pt x="249348" y="0"/>
                  <a:pt x="285868" y="0"/>
                </a:cubicBezTo>
                <a:close/>
                <a:moveTo>
                  <a:pt x="114639" y="0"/>
                </a:moveTo>
                <a:lnTo>
                  <a:pt x="115275" y="0"/>
                </a:lnTo>
                <a:cubicBezTo>
                  <a:pt x="145603" y="0"/>
                  <a:pt x="172053" y="20451"/>
                  <a:pt x="179635" y="49741"/>
                </a:cubicBezTo>
                <a:cubicBezTo>
                  <a:pt x="181081" y="55230"/>
                  <a:pt x="181776" y="60891"/>
                  <a:pt x="181776" y="66553"/>
                </a:cubicBezTo>
                <a:cubicBezTo>
                  <a:pt x="181776" y="103122"/>
                  <a:pt x="151969" y="132875"/>
                  <a:pt x="115333" y="132875"/>
                </a:cubicBezTo>
                <a:lnTo>
                  <a:pt x="114754" y="132875"/>
                </a:lnTo>
                <a:cubicBezTo>
                  <a:pt x="84427" y="132875"/>
                  <a:pt x="57919" y="112424"/>
                  <a:pt x="50395" y="83133"/>
                </a:cubicBezTo>
                <a:cubicBezTo>
                  <a:pt x="48948" y="77645"/>
                  <a:pt x="48196" y="71983"/>
                  <a:pt x="48196" y="66322"/>
                </a:cubicBezTo>
                <a:cubicBezTo>
                  <a:pt x="48196" y="29752"/>
                  <a:pt x="78003" y="0"/>
                  <a:pt x="114639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3" name="sync-symbol_73424"/>
          <p:cNvSpPr>
            <a:spLocks noChangeAspect="1"/>
          </p:cNvSpPr>
          <p:nvPr/>
        </p:nvSpPr>
        <p:spPr bwMode="auto">
          <a:xfrm>
            <a:off x="6841490" y="1908810"/>
            <a:ext cx="575945" cy="609600"/>
          </a:xfrm>
          <a:custGeom>
            <a:avLst/>
            <a:gdLst>
              <a:gd name="connsiteX0" fmla="*/ 435703 w 572779"/>
              <a:gd name="connsiteY0" fmla="*/ 160183 h 606580"/>
              <a:gd name="connsiteX1" fmla="*/ 479697 w 572779"/>
              <a:gd name="connsiteY1" fmla="*/ 160183 h 606580"/>
              <a:gd name="connsiteX2" fmla="*/ 479581 w 572779"/>
              <a:gd name="connsiteY2" fmla="*/ 160472 h 606580"/>
              <a:gd name="connsiteX3" fmla="*/ 479812 w 572779"/>
              <a:gd name="connsiteY3" fmla="*/ 160472 h 606580"/>
              <a:gd name="connsiteX4" fmla="*/ 478713 w 572779"/>
              <a:gd name="connsiteY4" fmla="*/ 162726 h 606580"/>
              <a:gd name="connsiteX5" fmla="*/ 469682 w 572779"/>
              <a:gd name="connsiteY5" fmla="*/ 187227 h 606580"/>
              <a:gd name="connsiteX6" fmla="*/ 474776 w 572779"/>
              <a:gd name="connsiteY6" fmla="*/ 242470 h 606580"/>
              <a:gd name="connsiteX7" fmla="*/ 494284 w 572779"/>
              <a:gd name="connsiteY7" fmla="*/ 242470 h 606580"/>
              <a:gd name="connsiteX8" fmla="*/ 510840 w 572779"/>
              <a:gd name="connsiteY8" fmla="*/ 160183 h 606580"/>
              <a:gd name="connsiteX9" fmla="*/ 527338 w 572779"/>
              <a:gd name="connsiteY9" fmla="*/ 160183 h 606580"/>
              <a:gd name="connsiteX10" fmla="*/ 572779 w 572779"/>
              <a:gd name="connsiteY10" fmla="*/ 205430 h 606580"/>
              <a:gd name="connsiteX11" fmla="*/ 572779 w 572779"/>
              <a:gd name="connsiteY11" fmla="*/ 337413 h 606580"/>
              <a:gd name="connsiteX12" fmla="*/ 527396 w 572779"/>
              <a:gd name="connsiteY12" fmla="*/ 382717 h 606580"/>
              <a:gd name="connsiteX13" fmla="*/ 521607 w 572779"/>
              <a:gd name="connsiteY13" fmla="*/ 382717 h 606580"/>
              <a:gd name="connsiteX14" fmla="*/ 521607 w 572779"/>
              <a:gd name="connsiteY14" fmla="*/ 574624 h 606580"/>
              <a:gd name="connsiteX15" fmla="*/ 489595 w 572779"/>
              <a:gd name="connsiteY15" fmla="*/ 606580 h 606580"/>
              <a:gd name="connsiteX16" fmla="*/ 457815 w 572779"/>
              <a:gd name="connsiteY16" fmla="*/ 578149 h 606580"/>
              <a:gd name="connsiteX17" fmla="*/ 425978 w 572779"/>
              <a:gd name="connsiteY17" fmla="*/ 606580 h 606580"/>
              <a:gd name="connsiteX18" fmla="*/ 393966 w 572779"/>
              <a:gd name="connsiteY18" fmla="*/ 574624 h 606580"/>
              <a:gd name="connsiteX19" fmla="*/ 393966 w 572779"/>
              <a:gd name="connsiteY19" fmla="*/ 392541 h 606580"/>
              <a:gd name="connsiteX20" fmla="*/ 422967 w 572779"/>
              <a:gd name="connsiteY20" fmla="*/ 337528 h 606580"/>
              <a:gd name="connsiteX21" fmla="*/ 422967 w 572779"/>
              <a:gd name="connsiteY21" fmla="*/ 242528 h 606580"/>
              <a:gd name="connsiteX22" fmla="*/ 440739 w 572779"/>
              <a:gd name="connsiteY22" fmla="*/ 242528 h 606580"/>
              <a:gd name="connsiteX23" fmla="*/ 445833 w 572779"/>
              <a:gd name="connsiteY23" fmla="*/ 186996 h 606580"/>
              <a:gd name="connsiteX24" fmla="*/ 445196 w 572779"/>
              <a:gd name="connsiteY24" fmla="*/ 183991 h 606580"/>
              <a:gd name="connsiteX25" fmla="*/ 436860 w 572779"/>
              <a:gd name="connsiteY25" fmla="*/ 162726 h 606580"/>
              <a:gd name="connsiteX26" fmla="*/ 435818 w 572779"/>
              <a:gd name="connsiteY26" fmla="*/ 160472 h 606580"/>
              <a:gd name="connsiteX27" fmla="*/ 435876 w 572779"/>
              <a:gd name="connsiteY27" fmla="*/ 160472 h 606580"/>
              <a:gd name="connsiteX28" fmla="*/ 435703 w 572779"/>
              <a:gd name="connsiteY28" fmla="*/ 160183 h 606580"/>
              <a:gd name="connsiteX29" fmla="*/ 264349 w 572779"/>
              <a:gd name="connsiteY29" fmla="*/ 160183 h 606580"/>
              <a:gd name="connsiteX30" fmla="*/ 308327 w 572779"/>
              <a:gd name="connsiteY30" fmla="*/ 160183 h 606580"/>
              <a:gd name="connsiteX31" fmla="*/ 308154 w 572779"/>
              <a:gd name="connsiteY31" fmla="*/ 160472 h 606580"/>
              <a:gd name="connsiteX32" fmla="*/ 308385 w 572779"/>
              <a:gd name="connsiteY32" fmla="*/ 160472 h 606580"/>
              <a:gd name="connsiteX33" fmla="*/ 307344 w 572779"/>
              <a:gd name="connsiteY33" fmla="*/ 162726 h 606580"/>
              <a:gd name="connsiteX34" fmla="*/ 298316 w 572779"/>
              <a:gd name="connsiteY34" fmla="*/ 187227 h 606580"/>
              <a:gd name="connsiteX35" fmla="*/ 303409 w 572779"/>
              <a:gd name="connsiteY35" fmla="*/ 242470 h 606580"/>
              <a:gd name="connsiteX36" fmla="*/ 322910 w 572779"/>
              <a:gd name="connsiteY36" fmla="*/ 242470 h 606580"/>
              <a:gd name="connsiteX37" fmla="*/ 339401 w 572779"/>
              <a:gd name="connsiteY37" fmla="*/ 160183 h 606580"/>
              <a:gd name="connsiteX38" fmla="*/ 355951 w 572779"/>
              <a:gd name="connsiteY38" fmla="*/ 160183 h 606580"/>
              <a:gd name="connsiteX39" fmla="*/ 401376 w 572779"/>
              <a:gd name="connsiteY39" fmla="*/ 205430 h 606580"/>
              <a:gd name="connsiteX40" fmla="*/ 401376 w 572779"/>
              <a:gd name="connsiteY40" fmla="*/ 337413 h 606580"/>
              <a:gd name="connsiteX41" fmla="*/ 356009 w 572779"/>
              <a:gd name="connsiteY41" fmla="*/ 382717 h 606580"/>
              <a:gd name="connsiteX42" fmla="*/ 350222 w 572779"/>
              <a:gd name="connsiteY42" fmla="*/ 382717 h 606580"/>
              <a:gd name="connsiteX43" fmla="*/ 350222 w 572779"/>
              <a:gd name="connsiteY43" fmla="*/ 574624 h 606580"/>
              <a:gd name="connsiteX44" fmla="*/ 318222 w 572779"/>
              <a:gd name="connsiteY44" fmla="*/ 606580 h 606580"/>
              <a:gd name="connsiteX45" fmla="*/ 286396 w 572779"/>
              <a:gd name="connsiteY45" fmla="*/ 578149 h 606580"/>
              <a:gd name="connsiteX46" fmla="*/ 254628 w 572779"/>
              <a:gd name="connsiteY46" fmla="*/ 606580 h 606580"/>
              <a:gd name="connsiteX47" fmla="*/ 222628 w 572779"/>
              <a:gd name="connsiteY47" fmla="*/ 574624 h 606580"/>
              <a:gd name="connsiteX48" fmla="*/ 222628 w 572779"/>
              <a:gd name="connsiteY48" fmla="*/ 382833 h 606580"/>
              <a:gd name="connsiteX49" fmla="*/ 216841 w 572779"/>
              <a:gd name="connsiteY49" fmla="*/ 382833 h 606580"/>
              <a:gd name="connsiteX50" fmla="*/ 171474 w 572779"/>
              <a:gd name="connsiteY50" fmla="*/ 337528 h 606580"/>
              <a:gd name="connsiteX51" fmla="*/ 171474 w 572779"/>
              <a:gd name="connsiteY51" fmla="*/ 205545 h 606580"/>
              <a:gd name="connsiteX52" fmla="*/ 216841 w 572779"/>
              <a:gd name="connsiteY52" fmla="*/ 160241 h 606580"/>
              <a:gd name="connsiteX53" fmla="*/ 233333 w 572779"/>
              <a:gd name="connsiteY53" fmla="*/ 160241 h 606580"/>
              <a:gd name="connsiteX54" fmla="*/ 249825 w 572779"/>
              <a:gd name="connsiteY54" fmla="*/ 242528 h 606580"/>
              <a:gd name="connsiteX55" fmla="*/ 269383 w 572779"/>
              <a:gd name="connsiteY55" fmla="*/ 242528 h 606580"/>
              <a:gd name="connsiteX56" fmla="*/ 274476 w 572779"/>
              <a:gd name="connsiteY56" fmla="*/ 186996 h 606580"/>
              <a:gd name="connsiteX57" fmla="*/ 273839 w 572779"/>
              <a:gd name="connsiteY57" fmla="*/ 183991 h 606580"/>
              <a:gd name="connsiteX58" fmla="*/ 265506 w 572779"/>
              <a:gd name="connsiteY58" fmla="*/ 162726 h 606580"/>
              <a:gd name="connsiteX59" fmla="*/ 264407 w 572779"/>
              <a:gd name="connsiteY59" fmla="*/ 160472 h 606580"/>
              <a:gd name="connsiteX60" fmla="*/ 264523 w 572779"/>
              <a:gd name="connsiteY60" fmla="*/ 160472 h 606580"/>
              <a:gd name="connsiteX61" fmla="*/ 264349 w 572779"/>
              <a:gd name="connsiteY61" fmla="*/ 160183 h 606580"/>
              <a:gd name="connsiteX62" fmla="*/ 92987 w 572779"/>
              <a:gd name="connsiteY62" fmla="*/ 160183 h 606580"/>
              <a:gd name="connsiteX63" fmla="*/ 136964 w 572779"/>
              <a:gd name="connsiteY63" fmla="*/ 160183 h 606580"/>
              <a:gd name="connsiteX64" fmla="*/ 136791 w 572779"/>
              <a:gd name="connsiteY64" fmla="*/ 160472 h 606580"/>
              <a:gd name="connsiteX65" fmla="*/ 137022 w 572779"/>
              <a:gd name="connsiteY65" fmla="*/ 160472 h 606580"/>
              <a:gd name="connsiteX66" fmla="*/ 135923 w 572779"/>
              <a:gd name="connsiteY66" fmla="*/ 162726 h 606580"/>
              <a:gd name="connsiteX67" fmla="*/ 126896 w 572779"/>
              <a:gd name="connsiteY67" fmla="*/ 187227 h 606580"/>
              <a:gd name="connsiteX68" fmla="*/ 131988 w 572779"/>
              <a:gd name="connsiteY68" fmla="*/ 242470 h 606580"/>
              <a:gd name="connsiteX69" fmla="*/ 149752 w 572779"/>
              <a:gd name="connsiteY69" fmla="*/ 242470 h 606580"/>
              <a:gd name="connsiteX70" fmla="*/ 149752 w 572779"/>
              <a:gd name="connsiteY70" fmla="*/ 337471 h 606580"/>
              <a:gd name="connsiteX71" fmla="*/ 178742 w 572779"/>
              <a:gd name="connsiteY71" fmla="*/ 392483 h 606580"/>
              <a:gd name="connsiteX72" fmla="*/ 178742 w 572779"/>
              <a:gd name="connsiteY72" fmla="*/ 574624 h 606580"/>
              <a:gd name="connsiteX73" fmla="*/ 146743 w 572779"/>
              <a:gd name="connsiteY73" fmla="*/ 606580 h 606580"/>
              <a:gd name="connsiteX74" fmla="*/ 114976 w 572779"/>
              <a:gd name="connsiteY74" fmla="*/ 578149 h 606580"/>
              <a:gd name="connsiteX75" fmla="*/ 83151 w 572779"/>
              <a:gd name="connsiteY75" fmla="*/ 606580 h 606580"/>
              <a:gd name="connsiteX76" fmla="*/ 51152 w 572779"/>
              <a:gd name="connsiteY76" fmla="*/ 574624 h 606580"/>
              <a:gd name="connsiteX77" fmla="*/ 51152 w 572779"/>
              <a:gd name="connsiteY77" fmla="*/ 382833 h 606580"/>
              <a:gd name="connsiteX78" fmla="*/ 45365 w 572779"/>
              <a:gd name="connsiteY78" fmla="*/ 382833 h 606580"/>
              <a:gd name="connsiteX79" fmla="*/ 0 w 572779"/>
              <a:gd name="connsiteY79" fmla="*/ 337528 h 606580"/>
              <a:gd name="connsiteX80" fmla="*/ 0 w 572779"/>
              <a:gd name="connsiteY80" fmla="*/ 205545 h 606580"/>
              <a:gd name="connsiteX81" fmla="*/ 45365 w 572779"/>
              <a:gd name="connsiteY81" fmla="*/ 160241 h 606580"/>
              <a:gd name="connsiteX82" fmla="*/ 61972 w 572779"/>
              <a:gd name="connsiteY82" fmla="*/ 160241 h 606580"/>
              <a:gd name="connsiteX83" fmla="*/ 78464 w 572779"/>
              <a:gd name="connsiteY83" fmla="*/ 242528 h 606580"/>
              <a:gd name="connsiteX84" fmla="*/ 97964 w 572779"/>
              <a:gd name="connsiteY84" fmla="*/ 242528 h 606580"/>
              <a:gd name="connsiteX85" fmla="*/ 103056 w 572779"/>
              <a:gd name="connsiteY85" fmla="*/ 186996 h 606580"/>
              <a:gd name="connsiteX86" fmla="*/ 102477 w 572779"/>
              <a:gd name="connsiteY86" fmla="*/ 183991 h 606580"/>
              <a:gd name="connsiteX87" fmla="*/ 94145 w 572779"/>
              <a:gd name="connsiteY87" fmla="*/ 162726 h 606580"/>
              <a:gd name="connsiteX88" fmla="*/ 93045 w 572779"/>
              <a:gd name="connsiteY88" fmla="*/ 160472 h 606580"/>
              <a:gd name="connsiteX89" fmla="*/ 93103 w 572779"/>
              <a:gd name="connsiteY89" fmla="*/ 160472 h 606580"/>
              <a:gd name="connsiteX90" fmla="*/ 92987 w 572779"/>
              <a:gd name="connsiteY90" fmla="*/ 160183 h 606580"/>
              <a:gd name="connsiteX91" fmla="*/ 457411 w 572779"/>
              <a:gd name="connsiteY91" fmla="*/ 751 h 606580"/>
              <a:gd name="connsiteX92" fmla="*/ 458047 w 572779"/>
              <a:gd name="connsiteY92" fmla="*/ 751 h 606580"/>
              <a:gd name="connsiteX93" fmla="*/ 521621 w 572779"/>
              <a:gd name="connsiteY93" fmla="*/ 49915 h 606580"/>
              <a:gd name="connsiteX94" fmla="*/ 523761 w 572779"/>
              <a:gd name="connsiteY94" fmla="*/ 66553 h 606580"/>
              <a:gd name="connsiteX95" fmla="*/ 458105 w 572779"/>
              <a:gd name="connsiteY95" fmla="*/ 132124 h 606580"/>
              <a:gd name="connsiteX96" fmla="*/ 457469 w 572779"/>
              <a:gd name="connsiteY96" fmla="*/ 132124 h 606580"/>
              <a:gd name="connsiteX97" fmla="*/ 393895 w 572779"/>
              <a:gd name="connsiteY97" fmla="*/ 82960 h 606580"/>
              <a:gd name="connsiteX98" fmla="*/ 391755 w 572779"/>
              <a:gd name="connsiteY98" fmla="*/ 66322 h 606580"/>
              <a:gd name="connsiteX99" fmla="*/ 457411 w 572779"/>
              <a:gd name="connsiteY99" fmla="*/ 751 h 606580"/>
              <a:gd name="connsiteX100" fmla="*/ 285868 w 572779"/>
              <a:gd name="connsiteY100" fmla="*/ 751 h 606580"/>
              <a:gd name="connsiteX101" fmla="*/ 286621 w 572779"/>
              <a:gd name="connsiteY101" fmla="*/ 751 h 606580"/>
              <a:gd name="connsiteX102" fmla="*/ 350227 w 572779"/>
              <a:gd name="connsiteY102" fmla="*/ 49915 h 606580"/>
              <a:gd name="connsiteX103" fmla="*/ 352369 w 572779"/>
              <a:gd name="connsiteY103" fmla="*/ 66553 h 606580"/>
              <a:gd name="connsiteX104" fmla="*/ 286736 w 572779"/>
              <a:gd name="connsiteY104" fmla="*/ 132124 h 606580"/>
              <a:gd name="connsiteX105" fmla="*/ 286100 w 572779"/>
              <a:gd name="connsiteY105" fmla="*/ 132124 h 606580"/>
              <a:gd name="connsiteX106" fmla="*/ 222493 w 572779"/>
              <a:gd name="connsiteY106" fmla="*/ 82845 h 606580"/>
              <a:gd name="connsiteX107" fmla="*/ 220351 w 572779"/>
              <a:gd name="connsiteY107" fmla="*/ 66264 h 606580"/>
              <a:gd name="connsiteX108" fmla="*/ 285868 w 572779"/>
              <a:gd name="connsiteY108" fmla="*/ 751 h 606580"/>
              <a:gd name="connsiteX109" fmla="*/ 114639 w 572779"/>
              <a:gd name="connsiteY109" fmla="*/ 751 h 606580"/>
              <a:gd name="connsiteX110" fmla="*/ 115275 w 572779"/>
              <a:gd name="connsiteY110" fmla="*/ 751 h 606580"/>
              <a:gd name="connsiteX111" fmla="*/ 178882 w 572779"/>
              <a:gd name="connsiteY111" fmla="*/ 49915 h 606580"/>
              <a:gd name="connsiteX112" fmla="*/ 181024 w 572779"/>
              <a:gd name="connsiteY112" fmla="*/ 66553 h 606580"/>
              <a:gd name="connsiteX113" fmla="*/ 115333 w 572779"/>
              <a:gd name="connsiteY113" fmla="*/ 132124 h 606580"/>
              <a:gd name="connsiteX114" fmla="*/ 114754 w 572779"/>
              <a:gd name="connsiteY114" fmla="*/ 132124 h 606580"/>
              <a:gd name="connsiteX115" fmla="*/ 51148 w 572779"/>
              <a:gd name="connsiteY115" fmla="*/ 82960 h 606580"/>
              <a:gd name="connsiteX116" fmla="*/ 49006 w 572779"/>
              <a:gd name="connsiteY116" fmla="*/ 66322 h 606580"/>
              <a:gd name="connsiteX117" fmla="*/ 114639 w 572779"/>
              <a:gd name="connsiteY117" fmla="*/ 751 h 606580"/>
              <a:gd name="connsiteX118" fmla="*/ 457410 w 572779"/>
              <a:gd name="connsiteY118" fmla="*/ 423 h 606580"/>
              <a:gd name="connsiteX119" fmla="*/ 391355 w 572779"/>
              <a:gd name="connsiteY119" fmla="*/ 66356 h 606580"/>
              <a:gd name="connsiteX120" fmla="*/ 393497 w 572779"/>
              <a:gd name="connsiteY120" fmla="*/ 83056 h 606580"/>
              <a:gd name="connsiteX121" fmla="*/ 457468 w 572779"/>
              <a:gd name="connsiteY121" fmla="*/ 132521 h 606580"/>
              <a:gd name="connsiteX122" fmla="*/ 457815 w 572779"/>
              <a:gd name="connsiteY122" fmla="*/ 132521 h 606580"/>
              <a:gd name="connsiteX123" fmla="*/ 458104 w 572779"/>
              <a:gd name="connsiteY123" fmla="*/ 132521 h 606580"/>
              <a:gd name="connsiteX124" fmla="*/ 524159 w 572779"/>
              <a:gd name="connsiteY124" fmla="*/ 66587 h 606580"/>
              <a:gd name="connsiteX125" fmla="*/ 522017 w 572779"/>
              <a:gd name="connsiteY125" fmla="*/ 49887 h 606580"/>
              <a:gd name="connsiteX126" fmla="*/ 458046 w 572779"/>
              <a:gd name="connsiteY126" fmla="*/ 423 h 606580"/>
              <a:gd name="connsiteX127" fmla="*/ 457699 w 572779"/>
              <a:gd name="connsiteY127" fmla="*/ 423 h 606580"/>
              <a:gd name="connsiteX128" fmla="*/ 114646 w 572779"/>
              <a:gd name="connsiteY128" fmla="*/ 423 h 606580"/>
              <a:gd name="connsiteX129" fmla="*/ 48620 w 572779"/>
              <a:gd name="connsiteY129" fmla="*/ 66356 h 606580"/>
              <a:gd name="connsiteX130" fmla="*/ 50761 w 572779"/>
              <a:gd name="connsiteY130" fmla="*/ 83056 h 606580"/>
              <a:gd name="connsiteX131" fmla="*/ 114762 w 572779"/>
              <a:gd name="connsiteY131" fmla="*/ 132521 h 606580"/>
              <a:gd name="connsiteX132" fmla="*/ 115051 w 572779"/>
              <a:gd name="connsiteY132" fmla="*/ 132521 h 606580"/>
              <a:gd name="connsiteX133" fmla="*/ 115340 w 572779"/>
              <a:gd name="connsiteY133" fmla="*/ 132521 h 606580"/>
              <a:gd name="connsiteX134" fmla="*/ 181424 w 572779"/>
              <a:gd name="connsiteY134" fmla="*/ 66587 h 606580"/>
              <a:gd name="connsiteX135" fmla="*/ 179225 w 572779"/>
              <a:gd name="connsiteY135" fmla="*/ 49887 h 606580"/>
              <a:gd name="connsiteX136" fmla="*/ 115282 w 572779"/>
              <a:gd name="connsiteY136" fmla="*/ 423 h 606580"/>
              <a:gd name="connsiteX137" fmla="*/ 114993 w 572779"/>
              <a:gd name="connsiteY137" fmla="*/ 423 h 606580"/>
              <a:gd name="connsiteX138" fmla="*/ 286036 w 572779"/>
              <a:gd name="connsiteY138" fmla="*/ 397 h 606580"/>
              <a:gd name="connsiteX139" fmla="*/ 219952 w 572779"/>
              <a:gd name="connsiteY139" fmla="*/ 66286 h 606580"/>
              <a:gd name="connsiteX140" fmla="*/ 222151 w 572779"/>
              <a:gd name="connsiteY140" fmla="*/ 82990 h 606580"/>
              <a:gd name="connsiteX141" fmla="*/ 286094 w 572779"/>
              <a:gd name="connsiteY141" fmla="*/ 132522 h 606580"/>
              <a:gd name="connsiteX142" fmla="*/ 286383 w 572779"/>
              <a:gd name="connsiteY142" fmla="*/ 132522 h 606580"/>
              <a:gd name="connsiteX143" fmla="*/ 286730 w 572779"/>
              <a:gd name="connsiteY143" fmla="*/ 132522 h 606580"/>
              <a:gd name="connsiteX144" fmla="*/ 352756 w 572779"/>
              <a:gd name="connsiteY144" fmla="*/ 66575 h 606580"/>
              <a:gd name="connsiteX145" fmla="*/ 350615 w 572779"/>
              <a:gd name="connsiteY145" fmla="*/ 49872 h 606580"/>
              <a:gd name="connsiteX146" fmla="*/ 286614 w 572779"/>
              <a:gd name="connsiteY146" fmla="*/ 397 h 606580"/>
              <a:gd name="connsiteX147" fmla="*/ 286325 w 572779"/>
              <a:gd name="connsiteY147" fmla="*/ 397 h 606580"/>
              <a:gd name="connsiteX148" fmla="*/ 457411 w 572779"/>
              <a:gd name="connsiteY148" fmla="*/ 0 h 606580"/>
              <a:gd name="connsiteX149" fmla="*/ 458047 w 572779"/>
              <a:gd name="connsiteY149" fmla="*/ 0 h 606580"/>
              <a:gd name="connsiteX150" fmla="*/ 522315 w 572779"/>
              <a:gd name="connsiteY150" fmla="*/ 49741 h 606580"/>
              <a:gd name="connsiteX151" fmla="*/ 524513 w 572779"/>
              <a:gd name="connsiteY151" fmla="*/ 66553 h 606580"/>
              <a:gd name="connsiteX152" fmla="*/ 458105 w 572779"/>
              <a:gd name="connsiteY152" fmla="*/ 132875 h 606580"/>
              <a:gd name="connsiteX153" fmla="*/ 457469 w 572779"/>
              <a:gd name="connsiteY153" fmla="*/ 132875 h 606580"/>
              <a:gd name="connsiteX154" fmla="*/ 393201 w 572779"/>
              <a:gd name="connsiteY154" fmla="*/ 83133 h 606580"/>
              <a:gd name="connsiteX155" fmla="*/ 391003 w 572779"/>
              <a:gd name="connsiteY155" fmla="*/ 66322 h 606580"/>
              <a:gd name="connsiteX156" fmla="*/ 457411 w 572779"/>
              <a:gd name="connsiteY156" fmla="*/ 0 h 606580"/>
              <a:gd name="connsiteX157" fmla="*/ 285868 w 572779"/>
              <a:gd name="connsiteY157" fmla="*/ 0 h 606580"/>
              <a:gd name="connsiteX158" fmla="*/ 286621 w 572779"/>
              <a:gd name="connsiteY158" fmla="*/ 0 h 606580"/>
              <a:gd name="connsiteX159" fmla="*/ 350980 w 572779"/>
              <a:gd name="connsiteY159" fmla="*/ 49741 h 606580"/>
              <a:gd name="connsiteX160" fmla="*/ 353179 w 572779"/>
              <a:gd name="connsiteY160" fmla="*/ 66553 h 606580"/>
              <a:gd name="connsiteX161" fmla="*/ 286736 w 572779"/>
              <a:gd name="connsiteY161" fmla="*/ 132875 h 606580"/>
              <a:gd name="connsiteX162" fmla="*/ 286100 w 572779"/>
              <a:gd name="connsiteY162" fmla="*/ 132875 h 606580"/>
              <a:gd name="connsiteX163" fmla="*/ 221740 w 572779"/>
              <a:gd name="connsiteY163" fmla="*/ 83076 h 606580"/>
              <a:gd name="connsiteX164" fmla="*/ 219599 w 572779"/>
              <a:gd name="connsiteY164" fmla="*/ 66264 h 606580"/>
              <a:gd name="connsiteX165" fmla="*/ 285868 w 572779"/>
              <a:gd name="connsiteY165" fmla="*/ 0 h 606580"/>
              <a:gd name="connsiteX166" fmla="*/ 114639 w 572779"/>
              <a:gd name="connsiteY166" fmla="*/ 0 h 606580"/>
              <a:gd name="connsiteX167" fmla="*/ 115275 w 572779"/>
              <a:gd name="connsiteY167" fmla="*/ 0 h 606580"/>
              <a:gd name="connsiteX168" fmla="*/ 179635 w 572779"/>
              <a:gd name="connsiteY168" fmla="*/ 49741 h 606580"/>
              <a:gd name="connsiteX169" fmla="*/ 181776 w 572779"/>
              <a:gd name="connsiteY169" fmla="*/ 66553 h 606580"/>
              <a:gd name="connsiteX170" fmla="*/ 115333 w 572779"/>
              <a:gd name="connsiteY170" fmla="*/ 132875 h 606580"/>
              <a:gd name="connsiteX171" fmla="*/ 114754 w 572779"/>
              <a:gd name="connsiteY171" fmla="*/ 132875 h 606580"/>
              <a:gd name="connsiteX172" fmla="*/ 50395 w 572779"/>
              <a:gd name="connsiteY172" fmla="*/ 83133 h 606580"/>
              <a:gd name="connsiteX173" fmla="*/ 48196 w 572779"/>
              <a:gd name="connsiteY173" fmla="*/ 66322 h 606580"/>
              <a:gd name="connsiteX174" fmla="*/ 114639 w 572779"/>
              <a:gd name="connsiteY174" fmla="*/ 0 h 606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</a:cxnLst>
            <a:rect l="l" t="t" r="r" b="b"/>
            <a:pathLst>
              <a:path w="572779" h="606580">
                <a:moveTo>
                  <a:pt x="435703" y="160183"/>
                </a:moveTo>
                <a:lnTo>
                  <a:pt x="479697" y="160183"/>
                </a:lnTo>
                <a:cubicBezTo>
                  <a:pt x="479639" y="160241"/>
                  <a:pt x="479639" y="160414"/>
                  <a:pt x="479581" y="160472"/>
                </a:cubicBezTo>
                <a:lnTo>
                  <a:pt x="479812" y="160472"/>
                </a:lnTo>
                <a:cubicBezTo>
                  <a:pt x="479407" y="161281"/>
                  <a:pt x="478713" y="162726"/>
                  <a:pt x="478713" y="162726"/>
                </a:cubicBezTo>
                <a:cubicBezTo>
                  <a:pt x="474834" y="170989"/>
                  <a:pt x="471245" y="178848"/>
                  <a:pt x="469682" y="187227"/>
                </a:cubicBezTo>
                <a:lnTo>
                  <a:pt x="474776" y="242470"/>
                </a:lnTo>
                <a:lnTo>
                  <a:pt x="494284" y="242470"/>
                </a:lnTo>
                <a:lnTo>
                  <a:pt x="510840" y="160183"/>
                </a:lnTo>
                <a:lnTo>
                  <a:pt x="527338" y="160183"/>
                </a:lnTo>
                <a:cubicBezTo>
                  <a:pt x="552345" y="160183"/>
                  <a:pt x="572663" y="180466"/>
                  <a:pt x="572779" y="205430"/>
                </a:cubicBezTo>
                <a:lnTo>
                  <a:pt x="572779" y="337413"/>
                </a:lnTo>
                <a:cubicBezTo>
                  <a:pt x="572779" y="362434"/>
                  <a:pt x="552519" y="382717"/>
                  <a:pt x="527396" y="382717"/>
                </a:cubicBezTo>
                <a:lnTo>
                  <a:pt x="521607" y="382717"/>
                </a:lnTo>
                <a:lnTo>
                  <a:pt x="521607" y="574624"/>
                </a:lnTo>
                <a:cubicBezTo>
                  <a:pt x="521607" y="592249"/>
                  <a:pt x="507251" y="606580"/>
                  <a:pt x="489595" y="606580"/>
                </a:cubicBezTo>
                <a:cubicBezTo>
                  <a:pt x="473155" y="606580"/>
                  <a:pt x="459552" y="594098"/>
                  <a:pt x="457815" y="578149"/>
                </a:cubicBezTo>
                <a:cubicBezTo>
                  <a:pt x="456021" y="594214"/>
                  <a:pt x="442417" y="606580"/>
                  <a:pt x="425978" y="606580"/>
                </a:cubicBezTo>
                <a:cubicBezTo>
                  <a:pt x="408322" y="606580"/>
                  <a:pt x="393966" y="592249"/>
                  <a:pt x="393966" y="574624"/>
                </a:cubicBezTo>
                <a:lnTo>
                  <a:pt x="393966" y="392541"/>
                </a:lnTo>
                <a:cubicBezTo>
                  <a:pt x="411506" y="380521"/>
                  <a:pt x="422967" y="360354"/>
                  <a:pt x="422967" y="337528"/>
                </a:cubicBezTo>
                <a:lnTo>
                  <a:pt x="422967" y="242528"/>
                </a:lnTo>
                <a:lnTo>
                  <a:pt x="440739" y="242528"/>
                </a:lnTo>
                <a:lnTo>
                  <a:pt x="445833" y="186996"/>
                </a:lnTo>
                <a:cubicBezTo>
                  <a:pt x="445659" y="186013"/>
                  <a:pt x="445428" y="184973"/>
                  <a:pt x="445196" y="183991"/>
                </a:cubicBezTo>
                <a:cubicBezTo>
                  <a:pt x="443459" y="176768"/>
                  <a:pt x="440276" y="169891"/>
                  <a:pt x="436860" y="162726"/>
                </a:cubicBezTo>
                <a:cubicBezTo>
                  <a:pt x="436860" y="162726"/>
                  <a:pt x="436166" y="161281"/>
                  <a:pt x="435818" y="160472"/>
                </a:cubicBezTo>
                <a:lnTo>
                  <a:pt x="435876" y="160472"/>
                </a:lnTo>
                <a:cubicBezTo>
                  <a:pt x="435818" y="160356"/>
                  <a:pt x="435818" y="160241"/>
                  <a:pt x="435703" y="160183"/>
                </a:cubicBezTo>
                <a:close/>
                <a:moveTo>
                  <a:pt x="264349" y="160183"/>
                </a:moveTo>
                <a:lnTo>
                  <a:pt x="308327" y="160183"/>
                </a:lnTo>
                <a:cubicBezTo>
                  <a:pt x="308269" y="160241"/>
                  <a:pt x="308269" y="160414"/>
                  <a:pt x="308154" y="160472"/>
                </a:cubicBezTo>
                <a:lnTo>
                  <a:pt x="308385" y="160472"/>
                </a:lnTo>
                <a:cubicBezTo>
                  <a:pt x="308038" y="161281"/>
                  <a:pt x="307344" y="162726"/>
                  <a:pt x="307344" y="162726"/>
                </a:cubicBezTo>
                <a:cubicBezTo>
                  <a:pt x="303467" y="170989"/>
                  <a:pt x="299821" y="178848"/>
                  <a:pt x="298316" y="187227"/>
                </a:cubicBezTo>
                <a:lnTo>
                  <a:pt x="303409" y="242470"/>
                </a:lnTo>
                <a:lnTo>
                  <a:pt x="322910" y="242470"/>
                </a:lnTo>
                <a:lnTo>
                  <a:pt x="339401" y="160183"/>
                </a:lnTo>
                <a:lnTo>
                  <a:pt x="355951" y="160183"/>
                </a:lnTo>
                <a:cubicBezTo>
                  <a:pt x="380949" y="160183"/>
                  <a:pt x="401202" y="180466"/>
                  <a:pt x="401376" y="205430"/>
                </a:cubicBezTo>
                <a:lnTo>
                  <a:pt x="401376" y="337413"/>
                </a:lnTo>
                <a:cubicBezTo>
                  <a:pt x="401376" y="362434"/>
                  <a:pt x="381065" y="382717"/>
                  <a:pt x="356009" y="382717"/>
                </a:cubicBezTo>
                <a:lnTo>
                  <a:pt x="350222" y="382717"/>
                </a:lnTo>
                <a:lnTo>
                  <a:pt x="350222" y="574624"/>
                </a:lnTo>
                <a:cubicBezTo>
                  <a:pt x="350222" y="592249"/>
                  <a:pt x="335872" y="606580"/>
                  <a:pt x="318222" y="606580"/>
                </a:cubicBezTo>
                <a:cubicBezTo>
                  <a:pt x="301788" y="606580"/>
                  <a:pt x="288190" y="594098"/>
                  <a:pt x="286396" y="578149"/>
                </a:cubicBezTo>
                <a:cubicBezTo>
                  <a:pt x="284660" y="594214"/>
                  <a:pt x="271062" y="606580"/>
                  <a:pt x="254628" y="606580"/>
                </a:cubicBezTo>
                <a:cubicBezTo>
                  <a:pt x="236978" y="606580"/>
                  <a:pt x="222628" y="592249"/>
                  <a:pt x="222628" y="574624"/>
                </a:cubicBezTo>
                <a:lnTo>
                  <a:pt x="222628" y="382833"/>
                </a:lnTo>
                <a:lnTo>
                  <a:pt x="216841" y="382833"/>
                </a:lnTo>
                <a:cubicBezTo>
                  <a:pt x="191727" y="382833"/>
                  <a:pt x="171474" y="362608"/>
                  <a:pt x="171474" y="337528"/>
                </a:cubicBezTo>
                <a:lnTo>
                  <a:pt x="171474" y="205545"/>
                </a:lnTo>
                <a:cubicBezTo>
                  <a:pt x="171474" y="180524"/>
                  <a:pt x="191727" y="160241"/>
                  <a:pt x="216841" y="160241"/>
                </a:cubicBezTo>
                <a:lnTo>
                  <a:pt x="233333" y="160241"/>
                </a:lnTo>
                <a:lnTo>
                  <a:pt x="249825" y="242528"/>
                </a:lnTo>
                <a:lnTo>
                  <a:pt x="269383" y="242528"/>
                </a:lnTo>
                <a:lnTo>
                  <a:pt x="274476" y="186996"/>
                </a:lnTo>
                <a:cubicBezTo>
                  <a:pt x="274302" y="186013"/>
                  <a:pt x="274071" y="184973"/>
                  <a:pt x="273839" y="183991"/>
                </a:cubicBezTo>
                <a:cubicBezTo>
                  <a:pt x="272045" y="176768"/>
                  <a:pt x="268921" y="169891"/>
                  <a:pt x="265506" y="162726"/>
                </a:cubicBezTo>
                <a:cubicBezTo>
                  <a:pt x="265506" y="162726"/>
                  <a:pt x="264812" y="161281"/>
                  <a:pt x="264407" y="160472"/>
                </a:cubicBezTo>
                <a:lnTo>
                  <a:pt x="264523" y="160472"/>
                </a:lnTo>
                <a:cubicBezTo>
                  <a:pt x="264407" y="160356"/>
                  <a:pt x="264407" y="160241"/>
                  <a:pt x="264349" y="160183"/>
                </a:cubicBezTo>
                <a:close/>
                <a:moveTo>
                  <a:pt x="92987" y="160183"/>
                </a:moveTo>
                <a:lnTo>
                  <a:pt x="136964" y="160183"/>
                </a:lnTo>
                <a:cubicBezTo>
                  <a:pt x="136848" y="160241"/>
                  <a:pt x="136848" y="160414"/>
                  <a:pt x="136791" y="160472"/>
                </a:cubicBezTo>
                <a:lnTo>
                  <a:pt x="137022" y="160472"/>
                </a:lnTo>
                <a:cubicBezTo>
                  <a:pt x="136617" y="161281"/>
                  <a:pt x="135923" y="162726"/>
                  <a:pt x="135923" y="162726"/>
                </a:cubicBezTo>
                <a:cubicBezTo>
                  <a:pt x="132104" y="170989"/>
                  <a:pt x="128458" y="178848"/>
                  <a:pt x="126896" y="187227"/>
                </a:cubicBezTo>
                <a:lnTo>
                  <a:pt x="131988" y="242470"/>
                </a:lnTo>
                <a:lnTo>
                  <a:pt x="149752" y="242470"/>
                </a:lnTo>
                <a:lnTo>
                  <a:pt x="149752" y="337471"/>
                </a:lnTo>
                <a:cubicBezTo>
                  <a:pt x="149752" y="360296"/>
                  <a:pt x="161267" y="380406"/>
                  <a:pt x="178742" y="392483"/>
                </a:cubicBezTo>
                <a:lnTo>
                  <a:pt x="178742" y="574624"/>
                </a:lnTo>
                <a:cubicBezTo>
                  <a:pt x="178742" y="592249"/>
                  <a:pt x="164392" y="606580"/>
                  <a:pt x="146743" y="606580"/>
                </a:cubicBezTo>
                <a:cubicBezTo>
                  <a:pt x="130310" y="606580"/>
                  <a:pt x="116712" y="594098"/>
                  <a:pt x="114976" y="578149"/>
                </a:cubicBezTo>
                <a:cubicBezTo>
                  <a:pt x="113182" y="594214"/>
                  <a:pt x="99584" y="606580"/>
                  <a:pt x="83151" y="606580"/>
                </a:cubicBezTo>
                <a:cubicBezTo>
                  <a:pt x="65502" y="606580"/>
                  <a:pt x="51152" y="592249"/>
                  <a:pt x="51152" y="574624"/>
                </a:cubicBezTo>
                <a:lnTo>
                  <a:pt x="51152" y="382833"/>
                </a:lnTo>
                <a:lnTo>
                  <a:pt x="45365" y="382833"/>
                </a:lnTo>
                <a:cubicBezTo>
                  <a:pt x="20310" y="382833"/>
                  <a:pt x="0" y="362608"/>
                  <a:pt x="0" y="337528"/>
                </a:cubicBezTo>
                <a:lnTo>
                  <a:pt x="0" y="205545"/>
                </a:lnTo>
                <a:cubicBezTo>
                  <a:pt x="0" y="180524"/>
                  <a:pt x="20310" y="160241"/>
                  <a:pt x="45365" y="160241"/>
                </a:cubicBezTo>
                <a:lnTo>
                  <a:pt x="61972" y="160241"/>
                </a:lnTo>
                <a:lnTo>
                  <a:pt x="78464" y="242528"/>
                </a:lnTo>
                <a:lnTo>
                  <a:pt x="97964" y="242528"/>
                </a:lnTo>
                <a:lnTo>
                  <a:pt x="103056" y="186996"/>
                </a:lnTo>
                <a:cubicBezTo>
                  <a:pt x="102940" y="186013"/>
                  <a:pt x="102709" y="184973"/>
                  <a:pt x="102477" y="183991"/>
                </a:cubicBezTo>
                <a:cubicBezTo>
                  <a:pt x="100683" y="176768"/>
                  <a:pt x="97501" y="169891"/>
                  <a:pt x="94145" y="162726"/>
                </a:cubicBezTo>
                <a:cubicBezTo>
                  <a:pt x="94145" y="162726"/>
                  <a:pt x="93450" y="161281"/>
                  <a:pt x="93045" y="160472"/>
                </a:cubicBezTo>
                <a:lnTo>
                  <a:pt x="93103" y="160472"/>
                </a:lnTo>
                <a:cubicBezTo>
                  <a:pt x="93045" y="160356"/>
                  <a:pt x="93045" y="160241"/>
                  <a:pt x="92987" y="160183"/>
                </a:cubicBezTo>
                <a:close/>
                <a:moveTo>
                  <a:pt x="457411" y="751"/>
                </a:moveTo>
                <a:lnTo>
                  <a:pt x="458047" y="751"/>
                </a:lnTo>
                <a:cubicBezTo>
                  <a:pt x="488012" y="751"/>
                  <a:pt x="514158" y="20971"/>
                  <a:pt x="521621" y="49915"/>
                </a:cubicBezTo>
                <a:cubicBezTo>
                  <a:pt x="523009" y="55403"/>
                  <a:pt x="523761" y="61007"/>
                  <a:pt x="523761" y="66553"/>
                </a:cubicBezTo>
                <a:cubicBezTo>
                  <a:pt x="523761" y="102718"/>
                  <a:pt x="494317" y="132124"/>
                  <a:pt x="458105" y="132124"/>
                </a:cubicBezTo>
                <a:lnTo>
                  <a:pt x="457469" y="132124"/>
                </a:lnTo>
                <a:cubicBezTo>
                  <a:pt x="427504" y="132124"/>
                  <a:pt x="401358" y="111904"/>
                  <a:pt x="393895" y="82960"/>
                </a:cubicBezTo>
                <a:cubicBezTo>
                  <a:pt x="392507" y="77472"/>
                  <a:pt x="391755" y="71868"/>
                  <a:pt x="391755" y="66322"/>
                </a:cubicBezTo>
                <a:cubicBezTo>
                  <a:pt x="391755" y="30157"/>
                  <a:pt x="421199" y="751"/>
                  <a:pt x="457411" y="751"/>
                </a:cubicBezTo>
                <a:close/>
                <a:moveTo>
                  <a:pt x="285868" y="751"/>
                </a:moveTo>
                <a:lnTo>
                  <a:pt x="286621" y="751"/>
                </a:lnTo>
                <a:cubicBezTo>
                  <a:pt x="316601" y="751"/>
                  <a:pt x="342761" y="20971"/>
                  <a:pt x="350227" y="49915"/>
                </a:cubicBezTo>
                <a:cubicBezTo>
                  <a:pt x="351674" y="55403"/>
                  <a:pt x="352369" y="61007"/>
                  <a:pt x="352369" y="66553"/>
                </a:cubicBezTo>
                <a:cubicBezTo>
                  <a:pt x="352369" y="102718"/>
                  <a:pt x="322909" y="132124"/>
                  <a:pt x="286736" y="132124"/>
                </a:cubicBezTo>
                <a:lnTo>
                  <a:pt x="286100" y="132124"/>
                </a:lnTo>
                <a:cubicBezTo>
                  <a:pt x="256119" y="132124"/>
                  <a:pt x="229959" y="111846"/>
                  <a:pt x="222493" y="82845"/>
                </a:cubicBezTo>
                <a:cubicBezTo>
                  <a:pt x="221046" y="77414"/>
                  <a:pt x="220351" y="71810"/>
                  <a:pt x="220351" y="66264"/>
                </a:cubicBezTo>
                <a:cubicBezTo>
                  <a:pt x="220351" y="30157"/>
                  <a:pt x="249753" y="751"/>
                  <a:pt x="285868" y="751"/>
                </a:cubicBezTo>
                <a:close/>
                <a:moveTo>
                  <a:pt x="114639" y="751"/>
                </a:moveTo>
                <a:lnTo>
                  <a:pt x="115275" y="751"/>
                </a:lnTo>
                <a:cubicBezTo>
                  <a:pt x="145256" y="751"/>
                  <a:pt x="171416" y="20971"/>
                  <a:pt x="178882" y="49915"/>
                </a:cubicBezTo>
                <a:cubicBezTo>
                  <a:pt x="180329" y="55403"/>
                  <a:pt x="181024" y="61007"/>
                  <a:pt x="181024" y="66553"/>
                </a:cubicBezTo>
                <a:cubicBezTo>
                  <a:pt x="181024" y="102718"/>
                  <a:pt x="151564" y="132124"/>
                  <a:pt x="115333" y="132124"/>
                </a:cubicBezTo>
                <a:lnTo>
                  <a:pt x="114754" y="132124"/>
                </a:lnTo>
                <a:cubicBezTo>
                  <a:pt x="84774" y="132124"/>
                  <a:pt x="58614" y="111904"/>
                  <a:pt x="51148" y="82960"/>
                </a:cubicBezTo>
                <a:cubicBezTo>
                  <a:pt x="49701" y="77472"/>
                  <a:pt x="49006" y="71868"/>
                  <a:pt x="49006" y="66322"/>
                </a:cubicBezTo>
                <a:cubicBezTo>
                  <a:pt x="49006" y="30157"/>
                  <a:pt x="78466" y="751"/>
                  <a:pt x="114639" y="751"/>
                </a:cubicBezTo>
                <a:close/>
                <a:moveTo>
                  <a:pt x="457410" y="423"/>
                </a:moveTo>
                <a:cubicBezTo>
                  <a:pt x="420880" y="423"/>
                  <a:pt x="391355" y="29894"/>
                  <a:pt x="391355" y="66356"/>
                </a:cubicBezTo>
                <a:cubicBezTo>
                  <a:pt x="391355" y="72135"/>
                  <a:pt x="392108" y="77740"/>
                  <a:pt x="393497" y="83056"/>
                </a:cubicBezTo>
                <a:cubicBezTo>
                  <a:pt x="400849" y="111487"/>
                  <a:pt x="426669" y="132521"/>
                  <a:pt x="457468" y="132521"/>
                </a:cubicBezTo>
                <a:lnTo>
                  <a:pt x="457815" y="132521"/>
                </a:lnTo>
                <a:lnTo>
                  <a:pt x="458104" y="132521"/>
                </a:lnTo>
                <a:cubicBezTo>
                  <a:pt x="494634" y="132521"/>
                  <a:pt x="524159" y="103050"/>
                  <a:pt x="524159" y="66587"/>
                </a:cubicBezTo>
                <a:cubicBezTo>
                  <a:pt x="524159" y="60809"/>
                  <a:pt x="523406" y="55204"/>
                  <a:pt x="522017" y="49887"/>
                </a:cubicBezTo>
                <a:cubicBezTo>
                  <a:pt x="514665" y="21457"/>
                  <a:pt x="488845" y="423"/>
                  <a:pt x="458046" y="423"/>
                </a:cubicBezTo>
                <a:lnTo>
                  <a:pt x="457699" y="423"/>
                </a:lnTo>
                <a:close/>
                <a:moveTo>
                  <a:pt x="114646" y="423"/>
                </a:moveTo>
                <a:cubicBezTo>
                  <a:pt x="78190" y="423"/>
                  <a:pt x="48620" y="29894"/>
                  <a:pt x="48620" y="66356"/>
                </a:cubicBezTo>
                <a:cubicBezTo>
                  <a:pt x="48620" y="72135"/>
                  <a:pt x="49372" y="77740"/>
                  <a:pt x="50761" y="83056"/>
                </a:cubicBezTo>
                <a:cubicBezTo>
                  <a:pt x="58110" y="111487"/>
                  <a:pt x="83977" y="132521"/>
                  <a:pt x="114762" y="132521"/>
                </a:cubicBezTo>
                <a:lnTo>
                  <a:pt x="115051" y="132521"/>
                </a:lnTo>
                <a:lnTo>
                  <a:pt x="115340" y="132521"/>
                </a:lnTo>
                <a:cubicBezTo>
                  <a:pt x="151854" y="132521"/>
                  <a:pt x="181424" y="103050"/>
                  <a:pt x="181424" y="66587"/>
                </a:cubicBezTo>
                <a:cubicBezTo>
                  <a:pt x="181424" y="60809"/>
                  <a:pt x="180614" y="55204"/>
                  <a:pt x="179225" y="49887"/>
                </a:cubicBezTo>
                <a:cubicBezTo>
                  <a:pt x="171934" y="21457"/>
                  <a:pt x="146067" y="423"/>
                  <a:pt x="115282" y="423"/>
                </a:cubicBezTo>
                <a:lnTo>
                  <a:pt x="114993" y="423"/>
                </a:lnTo>
                <a:close/>
                <a:moveTo>
                  <a:pt x="286036" y="397"/>
                </a:moveTo>
                <a:cubicBezTo>
                  <a:pt x="249522" y="282"/>
                  <a:pt x="219952" y="29874"/>
                  <a:pt x="219952" y="66286"/>
                </a:cubicBezTo>
                <a:cubicBezTo>
                  <a:pt x="219952" y="72066"/>
                  <a:pt x="220762" y="77672"/>
                  <a:pt x="222151" y="82990"/>
                </a:cubicBezTo>
                <a:cubicBezTo>
                  <a:pt x="229442" y="111484"/>
                  <a:pt x="255309" y="132522"/>
                  <a:pt x="286094" y="132522"/>
                </a:cubicBezTo>
                <a:lnTo>
                  <a:pt x="286383" y="132522"/>
                </a:lnTo>
                <a:lnTo>
                  <a:pt x="286730" y="132522"/>
                </a:lnTo>
                <a:cubicBezTo>
                  <a:pt x="323186" y="132522"/>
                  <a:pt x="352756" y="103045"/>
                  <a:pt x="352756" y="66575"/>
                </a:cubicBezTo>
                <a:cubicBezTo>
                  <a:pt x="352756" y="60796"/>
                  <a:pt x="352004" y="55189"/>
                  <a:pt x="350615" y="49872"/>
                </a:cubicBezTo>
                <a:cubicBezTo>
                  <a:pt x="343266" y="21436"/>
                  <a:pt x="317399" y="397"/>
                  <a:pt x="286614" y="397"/>
                </a:cubicBezTo>
                <a:lnTo>
                  <a:pt x="286325" y="397"/>
                </a:lnTo>
                <a:close/>
                <a:moveTo>
                  <a:pt x="457411" y="0"/>
                </a:moveTo>
                <a:lnTo>
                  <a:pt x="458047" y="0"/>
                </a:lnTo>
                <a:cubicBezTo>
                  <a:pt x="488359" y="0"/>
                  <a:pt x="514795" y="20451"/>
                  <a:pt x="522315" y="49741"/>
                </a:cubicBezTo>
                <a:cubicBezTo>
                  <a:pt x="523761" y="55230"/>
                  <a:pt x="524513" y="60891"/>
                  <a:pt x="524513" y="66553"/>
                </a:cubicBezTo>
                <a:cubicBezTo>
                  <a:pt x="524513" y="103122"/>
                  <a:pt x="494722" y="132875"/>
                  <a:pt x="458105" y="132875"/>
                </a:cubicBezTo>
                <a:lnTo>
                  <a:pt x="457469" y="132875"/>
                </a:lnTo>
                <a:cubicBezTo>
                  <a:pt x="427157" y="132875"/>
                  <a:pt x="400721" y="112424"/>
                  <a:pt x="393201" y="83133"/>
                </a:cubicBezTo>
                <a:cubicBezTo>
                  <a:pt x="391755" y="77645"/>
                  <a:pt x="391003" y="71983"/>
                  <a:pt x="391003" y="66322"/>
                </a:cubicBezTo>
                <a:cubicBezTo>
                  <a:pt x="391003" y="29752"/>
                  <a:pt x="420794" y="0"/>
                  <a:pt x="457411" y="0"/>
                </a:cubicBezTo>
                <a:close/>
                <a:moveTo>
                  <a:pt x="285868" y="0"/>
                </a:moveTo>
                <a:lnTo>
                  <a:pt x="286621" y="0"/>
                </a:lnTo>
                <a:cubicBezTo>
                  <a:pt x="316948" y="0"/>
                  <a:pt x="343456" y="20451"/>
                  <a:pt x="350980" y="49741"/>
                </a:cubicBezTo>
                <a:cubicBezTo>
                  <a:pt x="352427" y="55287"/>
                  <a:pt x="353179" y="60891"/>
                  <a:pt x="353179" y="66553"/>
                </a:cubicBezTo>
                <a:cubicBezTo>
                  <a:pt x="353179" y="103122"/>
                  <a:pt x="323372" y="132875"/>
                  <a:pt x="286736" y="132875"/>
                </a:cubicBezTo>
                <a:lnTo>
                  <a:pt x="286100" y="132875"/>
                </a:lnTo>
                <a:cubicBezTo>
                  <a:pt x="255772" y="132875"/>
                  <a:pt x="229322" y="112366"/>
                  <a:pt x="221740" y="83076"/>
                </a:cubicBezTo>
                <a:cubicBezTo>
                  <a:pt x="220294" y="77530"/>
                  <a:pt x="219599" y="71868"/>
                  <a:pt x="219599" y="66264"/>
                </a:cubicBezTo>
                <a:cubicBezTo>
                  <a:pt x="219599" y="29695"/>
                  <a:pt x="249348" y="0"/>
                  <a:pt x="285868" y="0"/>
                </a:cubicBezTo>
                <a:close/>
                <a:moveTo>
                  <a:pt x="114639" y="0"/>
                </a:moveTo>
                <a:lnTo>
                  <a:pt x="115275" y="0"/>
                </a:lnTo>
                <a:cubicBezTo>
                  <a:pt x="145603" y="0"/>
                  <a:pt x="172053" y="20451"/>
                  <a:pt x="179635" y="49741"/>
                </a:cubicBezTo>
                <a:cubicBezTo>
                  <a:pt x="181081" y="55230"/>
                  <a:pt x="181776" y="60891"/>
                  <a:pt x="181776" y="66553"/>
                </a:cubicBezTo>
                <a:cubicBezTo>
                  <a:pt x="181776" y="103122"/>
                  <a:pt x="151969" y="132875"/>
                  <a:pt x="115333" y="132875"/>
                </a:cubicBezTo>
                <a:lnTo>
                  <a:pt x="114754" y="132875"/>
                </a:lnTo>
                <a:cubicBezTo>
                  <a:pt x="84427" y="132875"/>
                  <a:pt x="57919" y="112424"/>
                  <a:pt x="50395" y="83133"/>
                </a:cubicBezTo>
                <a:cubicBezTo>
                  <a:pt x="48948" y="77645"/>
                  <a:pt x="48196" y="71983"/>
                  <a:pt x="48196" y="66322"/>
                </a:cubicBezTo>
                <a:cubicBezTo>
                  <a:pt x="48196" y="29752"/>
                  <a:pt x="78003" y="0"/>
                  <a:pt x="114639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8" name="圆角矩形 7"/>
          <p:cNvSpPr/>
          <p:nvPr/>
        </p:nvSpPr>
        <p:spPr>
          <a:xfrm>
            <a:off x="5262880" y="2792095"/>
            <a:ext cx="956945" cy="51435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ea"/>
                <a:cs typeface="+mn-cs"/>
              </a:rPr>
              <a:t>不用模型</a:t>
            </a:r>
            <a:endParaRPr kumimoji="0" lang="zh-CN" altLang="en-US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sp>
        <p:nvSpPr>
          <p:cNvPr id="9" name="圆角矩形 8"/>
          <p:cNvSpPr/>
          <p:nvPr/>
        </p:nvSpPr>
        <p:spPr>
          <a:xfrm>
            <a:off x="6663055" y="2792095"/>
            <a:ext cx="956945" cy="51435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zh-CN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ea"/>
                <a:cs typeface="+mn-cs"/>
              </a:rPr>
              <a:t>用模型</a:t>
            </a:r>
            <a:endParaRPr kumimoji="0" lang="zh-CN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5448935" y="4008120"/>
            <a:ext cx="666750" cy="285750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 indent="0">
              <a:buFont typeface="Arial" panose="020B0604020202090204" pitchFamily="34" charset="0"/>
              <a:buNone/>
            </a:pPr>
            <a:r>
              <a:rPr lang="en-US" altLang="zh-CN" sz="1200" dirty="0" smtClean="0"/>
              <a:t>28%</a:t>
            </a:r>
            <a:endParaRPr lang="en-US" altLang="zh-CN" sz="1200" dirty="0" smtClean="0"/>
          </a:p>
        </p:txBody>
      </p:sp>
      <p:sp>
        <p:nvSpPr>
          <p:cNvPr id="12" name="文本框 11"/>
          <p:cNvSpPr txBox="1"/>
          <p:nvPr/>
        </p:nvSpPr>
        <p:spPr>
          <a:xfrm>
            <a:off x="6795770" y="4009390"/>
            <a:ext cx="666750" cy="285750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 indent="0">
              <a:buFont typeface="Arial" panose="020B0604020202090204" pitchFamily="34" charset="0"/>
              <a:buNone/>
            </a:pPr>
            <a:r>
              <a:rPr lang="en-US" altLang="zh-CN" sz="1200" b="1" dirty="0" smtClean="0">
                <a:solidFill>
                  <a:srgbClr val="F05A23"/>
                </a:solidFill>
              </a:rPr>
              <a:t>50</a:t>
            </a:r>
            <a:r>
              <a:rPr lang="en-US" altLang="zh-CN" sz="1200" dirty="0" smtClean="0"/>
              <a:t>%</a:t>
            </a:r>
            <a:endParaRPr lang="en-US" altLang="zh-CN" sz="1200" dirty="0" smtClean="0"/>
          </a:p>
        </p:txBody>
      </p:sp>
      <p:grpSp>
        <p:nvGrpSpPr>
          <p:cNvPr id="13" name="组合 12"/>
          <p:cNvGrpSpPr/>
          <p:nvPr/>
        </p:nvGrpSpPr>
        <p:grpSpPr>
          <a:xfrm rot="0">
            <a:off x="7061835" y="4712970"/>
            <a:ext cx="263525" cy="263525"/>
            <a:chOff x="5083257" y="4014552"/>
            <a:chExt cx="263316" cy="263315"/>
          </a:xfrm>
        </p:grpSpPr>
        <p:sp>
          <p:nvSpPr>
            <p:cNvPr id="23" name="Freeform 339"/>
            <p:cNvSpPr/>
            <p:nvPr/>
          </p:nvSpPr>
          <p:spPr bwMode="auto">
            <a:xfrm>
              <a:off x="5083257" y="4089785"/>
              <a:ext cx="190869" cy="188082"/>
            </a:xfrm>
            <a:custGeom>
              <a:avLst/>
              <a:gdLst>
                <a:gd name="T0" fmla="*/ 128 w 139"/>
                <a:gd name="T1" fmla="*/ 124 h 137"/>
                <a:gd name="T2" fmla="*/ 127 w 139"/>
                <a:gd name="T3" fmla="*/ 126 h 137"/>
                <a:gd name="T4" fmla="*/ 12 w 139"/>
                <a:gd name="T5" fmla="*/ 126 h 137"/>
                <a:gd name="T6" fmla="*/ 10 w 139"/>
                <a:gd name="T7" fmla="*/ 124 h 137"/>
                <a:gd name="T8" fmla="*/ 10 w 139"/>
                <a:gd name="T9" fmla="*/ 13 h 137"/>
                <a:gd name="T10" fmla="*/ 12 w 139"/>
                <a:gd name="T11" fmla="*/ 11 h 137"/>
                <a:gd name="T12" fmla="*/ 101 w 139"/>
                <a:gd name="T13" fmla="*/ 11 h 137"/>
                <a:gd name="T14" fmla="*/ 108 w 139"/>
                <a:gd name="T15" fmla="*/ 0 h 137"/>
                <a:gd name="T16" fmla="*/ 12 w 139"/>
                <a:gd name="T17" fmla="*/ 0 h 137"/>
                <a:gd name="T18" fmla="*/ 0 w 139"/>
                <a:gd name="T19" fmla="*/ 13 h 137"/>
                <a:gd name="T20" fmla="*/ 0 w 139"/>
                <a:gd name="T21" fmla="*/ 124 h 137"/>
                <a:gd name="T22" fmla="*/ 12 w 139"/>
                <a:gd name="T23" fmla="*/ 137 h 137"/>
                <a:gd name="T24" fmla="*/ 127 w 139"/>
                <a:gd name="T25" fmla="*/ 137 h 137"/>
                <a:gd name="T26" fmla="*/ 139 w 139"/>
                <a:gd name="T27" fmla="*/ 124 h 137"/>
                <a:gd name="T28" fmla="*/ 139 w 139"/>
                <a:gd name="T29" fmla="*/ 23 h 137"/>
                <a:gd name="T30" fmla="*/ 128 w 139"/>
                <a:gd name="T31" fmla="*/ 41 h 137"/>
                <a:gd name="T32" fmla="*/ 128 w 139"/>
                <a:gd name="T33" fmla="*/ 124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9" h="137">
                  <a:moveTo>
                    <a:pt x="128" y="124"/>
                  </a:moveTo>
                  <a:cubicBezTo>
                    <a:pt x="128" y="125"/>
                    <a:pt x="128" y="126"/>
                    <a:pt x="127" y="126"/>
                  </a:cubicBezTo>
                  <a:cubicBezTo>
                    <a:pt x="12" y="126"/>
                    <a:pt x="12" y="126"/>
                    <a:pt x="12" y="126"/>
                  </a:cubicBezTo>
                  <a:cubicBezTo>
                    <a:pt x="11" y="126"/>
                    <a:pt x="10" y="125"/>
                    <a:pt x="10" y="124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2"/>
                    <a:pt x="11" y="11"/>
                    <a:pt x="12" y="11"/>
                  </a:cubicBezTo>
                  <a:cubicBezTo>
                    <a:pt x="101" y="11"/>
                    <a:pt x="101" y="11"/>
                    <a:pt x="101" y="11"/>
                  </a:cubicBezTo>
                  <a:cubicBezTo>
                    <a:pt x="103" y="7"/>
                    <a:pt x="106" y="4"/>
                    <a:pt x="108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0"/>
                    <a:pt x="0" y="6"/>
                    <a:pt x="0" y="13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0" y="131"/>
                    <a:pt x="5" y="137"/>
                    <a:pt x="12" y="137"/>
                  </a:cubicBezTo>
                  <a:cubicBezTo>
                    <a:pt x="127" y="137"/>
                    <a:pt x="127" y="137"/>
                    <a:pt x="127" y="137"/>
                  </a:cubicBezTo>
                  <a:cubicBezTo>
                    <a:pt x="134" y="137"/>
                    <a:pt x="139" y="131"/>
                    <a:pt x="139" y="124"/>
                  </a:cubicBezTo>
                  <a:cubicBezTo>
                    <a:pt x="139" y="23"/>
                    <a:pt x="139" y="23"/>
                    <a:pt x="139" y="23"/>
                  </a:cubicBezTo>
                  <a:cubicBezTo>
                    <a:pt x="135" y="29"/>
                    <a:pt x="132" y="35"/>
                    <a:pt x="128" y="41"/>
                  </a:cubicBezTo>
                  <a:lnTo>
                    <a:pt x="128" y="12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5" name="Freeform 340"/>
            <p:cNvSpPr/>
            <p:nvPr/>
          </p:nvSpPr>
          <p:spPr bwMode="auto">
            <a:xfrm>
              <a:off x="5116694" y="4014552"/>
              <a:ext cx="229879" cy="218733"/>
            </a:xfrm>
            <a:custGeom>
              <a:avLst/>
              <a:gdLst>
                <a:gd name="T0" fmla="*/ 164 w 167"/>
                <a:gd name="T1" fmla="*/ 0 h 159"/>
                <a:gd name="T2" fmla="*/ 150 w 167"/>
                <a:gd name="T3" fmla="*/ 2 h 159"/>
                <a:gd name="T4" fmla="*/ 137 w 167"/>
                <a:gd name="T5" fmla="*/ 4 h 159"/>
                <a:gd name="T6" fmla="*/ 126 w 167"/>
                <a:gd name="T7" fmla="*/ 13 h 159"/>
                <a:gd name="T8" fmla="*/ 103 w 167"/>
                <a:gd name="T9" fmla="*/ 40 h 159"/>
                <a:gd name="T10" fmla="*/ 76 w 167"/>
                <a:gd name="T11" fmla="*/ 81 h 159"/>
                <a:gd name="T12" fmla="*/ 51 w 167"/>
                <a:gd name="T13" fmla="*/ 127 h 159"/>
                <a:gd name="T14" fmla="*/ 33 w 167"/>
                <a:gd name="T15" fmla="*/ 104 h 159"/>
                <a:gd name="T16" fmla="*/ 18 w 167"/>
                <a:gd name="T17" fmla="*/ 98 h 159"/>
                <a:gd name="T18" fmla="*/ 7 w 167"/>
                <a:gd name="T19" fmla="*/ 103 h 159"/>
                <a:gd name="T20" fmla="*/ 0 w 167"/>
                <a:gd name="T21" fmla="*/ 112 h 159"/>
                <a:gd name="T22" fmla="*/ 7 w 167"/>
                <a:gd name="T23" fmla="*/ 121 h 159"/>
                <a:gd name="T24" fmla="*/ 28 w 167"/>
                <a:gd name="T25" fmla="*/ 147 h 159"/>
                <a:gd name="T26" fmla="*/ 36 w 167"/>
                <a:gd name="T27" fmla="*/ 157 h 159"/>
                <a:gd name="T28" fmla="*/ 48 w 167"/>
                <a:gd name="T29" fmla="*/ 159 h 159"/>
                <a:gd name="T30" fmla="*/ 64 w 167"/>
                <a:gd name="T31" fmla="*/ 155 h 159"/>
                <a:gd name="T32" fmla="*/ 73 w 167"/>
                <a:gd name="T33" fmla="*/ 137 h 159"/>
                <a:gd name="T34" fmla="*/ 115 w 167"/>
                <a:gd name="T35" fmla="*/ 62 h 159"/>
                <a:gd name="T36" fmla="*/ 161 w 167"/>
                <a:gd name="T37" fmla="*/ 9 h 159"/>
                <a:gd name="T38" fmla="*/ 166 w 167"/>
                <a:gd name="T39" fmla="*/ 4 h 159"/>
                <a:gd name="T40" fmla="*/ 167 w 167"/>
                <a:gd name="T41" fmla="*/ 2 h 159"/>
                <a:gd name="T42" fmla="*/ 164 w 167"/>
                <a:gd name="T43" fmla="*/ 0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7" h="159">
                  <a:moveTo>
                    <a:pt x="164" y="0"/>
                  </a:moveTo>
                  <a:cubicBezTo>
                    <a:pt x="162" y="0"/>
                    <a:pt x="157" y="1"/>
                    <a:pt x="150" y="2"/>
                  </a:cubicBezTo>
                  <a:cubicBezTo>
                    <a:pt x="143" y="3"/>
                    <a:pt x="139" y="3"/>
                    <a:pt x="137" y="4"/>
                  </a:cubicBezTo>
                  <a:cubicBezTo>
                    <a:pt x="135" y="5"/>
                    <a:pt x="131" y="8"/>
                    <a:pt x="126" y="13"/>
                  </a:cubicBezTo>
                  <a:cubicBezTo>
                    <a:pt x="121" y="18"/>
                    <a:pt x="113" y="27"/>
                    <a:pt x="103" y="40"/>
                  </a:cubicBezTo>
                  <a:cubicBezTo>
                    <a:pt x="93" y="53"/>
                    <a:pt x="84" y="67"/>
                    <a:pt x="76" y="81"/>
                  </a:cubicBezTo>
                  <a:cubicBezTo>
                    <a:pt x="67" y="96"/>
                    <a:pt x="59" y="111"/>
                    <a:pt x="51" y="127"/>
                  </a:cubicBezTo>
                  <a:cubicBezTo>
                    <a:pt x="44" y="116"/>
                    <a:pt x="38" y="108"/>
                    <a:pt x="33" y="104"/>
                  </a:cubicBezTo>
                  <a:cubicBezTo>
                    <a:pt x="27" y="100"/>
                    <a:pt x="22" y="98"/>
                    <a:pt x="18" y="98"/>
                  </a:cubicBezTo>
                  <a:cubicBezTo>
                    <a:pt x="15" y="98"/>
                    <a:pt x="12" y="100"/>
                    <a:pt x="7" y="103"/>
                  </a:cubicBezTo>
                  <a:cubicBezTo>
                    <a:pt x="3" y="106"/>
                    <a:pt x="0" y="109"/>
                    <a:pt x="0" y="112"/>
                  </a:cubicBezTo>
                  <a:cubicBezTo>
                    <a:pt x="0" y="114"/>
                    <a:pt x="2" y="117"/>
                    <a:pt x="7" y="121"/>
                  </a:cubicBezTo>
                  <a:cubicBezTo>
                    <a:pt x="15" y="129"/>
                    <a:pt x="22" y="138"/>
                    <a:pt x="28" y="147"/>
                  </a:cubicBezTo>
                  <a:cubicBezTo>
                    <a:pt x="32" y="152"/>
                    <a:pt x="35" y="156"/>
                    <a:pt x="36" y="157"/>
                  </a:cubicBezTo>
                  <a:cubicBezTo>
                    <a:pt x="37" y="158"/>
                    <a:pt x="41" y="159"/>
                    <a:pt x="48" y="159"/>
                  </a:cubicBezTo>
                  <a:cubicBezTo>
                    <a:pt x="57" y="159"/>
                    <a:pt x="62" y="158"/>
                    <a:pt x="64" y="155"/>
                  </a:cubicBezTo>
                  <a:cubicBezTo>
                    <a:pt x="65" y="153"/>
                    <a:pt x="69" y="147"/>
                    <a:pt x="73" y="137"/>
                  </a:cubicBezTo>
                  <a:cubicBezTo>
                    <a:pt x="84" y="111"/>
                    <a:pt x="98" y="86"/>
                    <a:pt x="115" y="62"/>
                  </a:cubicBezTo>
                  <a:cubicBezTo>
                    <a:pt x="132" y="39"/>
                    <a:pt x="147" y="21"/>
                    <a:pt x="161" y="9"/>
                  </a:cubicBezTo>
                  <a:cubicBezTo>
                    <a:pt x="164" y="6"/>
                    <a:pt x="165" y="5"/>
                    <a:pt x="166" y="4"/>
                  </a:cubicBezTo>
                  <a:cubicBezTo>
                    <a:pt x="166" y="3"/>
                    <a:pt x="167" y="3"/>
                    <a:pt x="167" y="2"/>
                  </a:cubicBezTo>
                  <a:cubicBezTo>
                    <a:pt x="167" y="1"/>
                    <a:pt x="166" y="0"/>
                    <a:pt x="164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15" name="圆角矩形 14"/>
          <p:cNvSpPr/>
          <p:nvPr/>
        </p:nvSpPr>
        <p:spPr>
          <a:xfrm>
            <a:off x="5915025" y="4595495"/>
            <a:ext cx="956945" cy="51435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zh-CN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ea"/>
                <a:cs typeface="+mn-cs"/>
              </a:rPr>
              <a:t>模型更好</a:t>
            </a:r>
            <a:endParaRPr kumimoji="0" lang="zh-CN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sp>
        <p:nvSpPr>
          <p:cNvPr id="32" name="圆角矩形 31"/>
          <p:cNvSpPr/>
          <p:nvPr/>
        </p:nvSpPr>
        <p:spPr>
          <a:xfrm>
            <a:off x="5915025" y="5440680"/>
            <a:ext cx="956945" cy="51435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ea"/>
                <a:cs typeface="+mn-cs"/>
              </a:rPr>
              <a:t>全量上线</a:t>
            </a:r>
            <a:endParaRPr kumimoji="0" lang="zh-CN" altLang="en-US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sp>
        <p:nvSpPr>
          <p:cNvPr id="33" name="文本框 32"/>
          <p:cNvSpPr txBox="1"/>
          <p:nvPr/>
        </p:nvSpPr>
        <p:spPr>
          <a:xfrm>
            <a:off x="4253230" y="2010410"/>
            <a:ext cx="666750" cy="285750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 indent="0">
              <a:buFont typeface="Arial" panose="020B0604020202090204" pitchFamily="34" charset="0"/>
              <a:buNone/>
            </a:pPr>
            <a:r>
              <a:rPr lang="zh-CN" altLang="en-US" sz="1400" dirty="0" smtClean="0"/>
              <a:t>流量分流</a:t>
            </a:r>
            <a:endParaRPr lang="en-US" altLang="zh-CN" sz="1400" dirty="0" smtClean="0"/>
          </a:p>
        </p:txBody>
      </p:sp>
      <p:sp>
        <p:nvSpPr>
          <p:cNvPr id="34" name="文本框 33"/>
          <p:cNvSpPr txBox="1"/>
          <p:nvPr/>
        </p:nvSpPr>
        <p:spPr>
          <a:xfrm>
            <a:off x="4253230" y="2839720"/>
            <a:ext cx="666750" cy="400050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 indent="0" algn="l">
              <a:buFont typeface="Arial" panose="020B0604020202090204" pitchFamily="34" charset="0"/>
              <a:buNone/>
            </a:pPr>
            <a:r>
              <a:rPr lang="en-US" altLang="zh-CN" sz="1400" dirty="0" smtClean="0"/>
              <a:t>AB</a:t>
            </a:r>
            <a:endParaRPr lang="en-US" altLang="zh-CN" sz="1400" dirty="0" smtClean="0"/>
          </a:p>
          <a:p>
            <a:pPr marL="106045" indent="0" algn="l">
              <a:buFont typeface="Arial" panose="020B0604020202090204" pitchFamily="34" charset="0"/>
              <a:buNone/>
            </a:pPr>
            <a:r>
              <a:rPr lang="zh-CN" altLang="en-US" sz="1400" dirty="0" smtClean="0"/>
              <a:t>方案</a:t>
            </a:r>
            <a:endParaRPr lang="zh-CN" altLang="en-US" sz="1400" dirty="0" smtClean="0"/>
          </a:p>
        </p:txBody>
      </p:sp>
      <p:sp>
        <p:nvSpPr>
          <p:cNvPr id="17" name="文本框 16"/>
          <p:cNvSpPr txBox="1"/>
          <p:nvPr/>
        </p:nvSpPr>
        <p:spPr>
          <a:xfrm>
            <a:off x="4253230" y="4019550"/>
            <a:ext cx="666750" cy="285750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 indent="0">
              <a:buFont typeface="Arial" panose="020B0604020202090204" pitchFamily="34" charset="0"/>
              <a:buNone/>
            </a:pPr>
            <a:r>
              <a:rPr lang="zh-CN" altLang="en-US" sz="1400" dirty="0" smtClean="0"/>
              <a:t>效果</a:t>
            </a:r>
            <a:endParaRPr lang="zh-CN" altLang="en-US" sz="1400" dirty="0" smtClean="0"/>
          </a:p>
        </p:txBody>
      </p:sp>
      <p:sp>
        <p:nvSpPr>
          <p:cNvPr id="18" name="文本框 17"/>
          <p:cNvSpPr txBox="1"/>
          <p:nvPr/>
        </p:nvSpPr>
        <p:spPr>
          <a:xfrm>
            <a:off x="4253230" y="5152390"/>
            <a:ext cx="666750" cy="285750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 indent="0">
              <a:buFont typeface="Arial" panose="020B0604020202090204" pitchFamily="34" charset="0"/>
              <a:buNone/>
            </a:pPr>
            <a:r>
              <a:rPr lang="zh-CN" altLang="en-US" sz="1400" dirty="0" smtClean="0"/>
              <a:t>决策</a:t>
            </a:r>
            <a:endParaRPr lang="zh-CN" altLang="en-US" sz="1400" dirty="0" smtClean="0"/>
          </a:p>
        </p:txBody>
      </p:sp>
      <p:cxnSp>
        <p:nvCxnSpPr>
          <p:cNvPr id="22" name="直接箭头连接符 21"/>
          <p:cNvCxnSpPr/>
          <p:nvPr/>
        </p:nvCxnSpPr>
        <p:spPr>
          <a:xfrm>
            <a:off x="4629150" y="2545080"/>
            <a:ext cx="0" cy="22860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直接箭头连接符 25"/>
          <p:cNvCxnSpPr/>
          <p:nvPr/>
        </p:nvCxnSpPr>
        <p:spPr>
          <a:xfrm>
            <a:off x="4629150" y="3457575"/>
            <a:ext cx="0" cy="363855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直接连接符 27"/>
          <p:cNvCxnSpPr/>
          <p:nvPr/>
        </p:nvCxnSpPr>
        <p:spPr>
          <a:xfrm>
            <a:off x="5179060" y="2649855"/>
            <a:ext cx="244792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直接连接符 29"/>
          <p:cNvCxnSpPr/>
          <p:nvPr/>
        </p:nvCxnSpPr>
        <p:spPr>
          <a:xfrm>
            <a:off x="5179060" y="3862705"/>
            <a:ext cx="244792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直接连接符 30"/>
          <p:cNvCxnSpPr/>
          <p:nvPr/>
        </p:nvCxnSpPr>
        <p:spPr>
          <a:xfrm>
            <a:off x="5179060" y="4405630"/>
            <a:ext cx="244792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矩形 53"/>
          <p:cNvSpPr/>
          <p:nvPr/>
        </p:nvSpPr>
        <p:spPr>
          <a:xfrm>
            <a:off x="4352925" y="1678305"/>
            <a:ext cx="3486150" cy="4638040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5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cxnSp>
        <p:nvCxnSpPr>
          <p:cNvPr id="56" name="直接连接符 55"/>
          <p:cNvCxnSpPr/>
          <p:nvPr/>
        </p:nvCxnSpPr>
        <p:spPr>
          <a:xfrm>
            <a:off x="6269990" y="2859405"/>
            <a:ext cx="178435" cy="389890"/>
          </a:xfrm>
          <a:prstGeom prst="line">
            <a:avLst/>
          </a:prstGeom>
          <a:ln w="101600" cmpd="sng">
            <a:solidFill>
              <a:srgbClr val="F05A23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直接连接符 56"/>
          <p:cNvCxnSpPr/>
          <p:nvPr/>
        </p:nvCxnSpPr>
        <p:spPr>
          <a:xfrm flipH="1">
            <a:off x="6448425" y="2839720"/>
            <a:ext cx="153035" cy="374015"/>
          </a:xfrm>
          <a:prstGeom prst="line">
            <a:avLst/>
          </a:prstGeom>
          <a:ln w="101600" cmpd="sng">
            <a:solidFill>
              <a:srgbClr val="F05A23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文本框 34"/>
          <p:cNvSpPr txBox="1"/>
          <p:nvPr/>
        </p:nvSpPr>
        <p:spPr>
          <a:xfrm>
            <a:off x="6689090" y="3398520"/>
            <a:ext cx="861695" cy="247650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106045" indent="0">
              <a:buFont typeface="Arial" panose="020B0604020202090204" pitchFamily="34" charset="0"/>
              <a:buNone/>
            </a:pPr>
            <a:r>
              <a:rPr lang="zh-CN" altLang="en-US" sz="1200" dirty="0" smtClean="0"/>
              <a:t>实验组</a:t>
            </a:r>
            <a:endParaRPr lang="zh-CN" altLang="en-US" sz="1200" dirty="0" smtClean="0"/>
          </a:p>
        </p:txBody>
      </p:sp>
      <p:sp>
        <p:nvSpPr>
          <p:cNvPr id="36" name="文本框 35"/>
          <p:cNvSpPr txBox="1"/>
          <p:nvPr/>
        </p:nvSpPr>
        <p:spPr>
          <a:xfrm>
            <a:off x="5313045" y="3398520"/>
            <a:ext cx="861695" cy="247650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106045" indent="0">
              <a:buFont typeface="Arial" panose="020B0604020202090204" pitchFamily="34" charset="0"/>
              <a:buNone/>
            </a:pPr>
            <a:r>
              <a:rPr lang="zh-CN" altLang="en-US" sz="1200" dirty="0" smtClean="0"/>
              <a:t>对照组</a:t>
            </a:r>
            <a:endParaRPr lang="zh-CN" altLang="en-US" sz="1200" dirty="0" smtClean="0"/>
          </a:p>
        </p:txBody>
      </p:sp>
      <p:cxnSp>
        <p:nvCxnSpPr>
          <p:cNvPr id="37" name="直接箭头连接符 36"/>
          <p:cNvCxnSpPr/>
          <p:nvPr/>
        </p:nvCxnSpPr>
        <p:spPr>
          <a:xfrm>
            <a:off x="4629150" y="4547235"/>
            <a:ext cx="0" cy="363855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实测胜算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-</a:t>
            </a: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怎么说明模型效果更好</a:t>
            </a:r>
            <a:endParaRPr lang="zh-CN" altLang="en-US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938530" y="1125220"/>
            <a:ext cx="5989955" cy="364490"/>
          </a:xfrm>
          <a:prstGeom prst="rect">
            <a:avLst/>
          </a:prstGeom>
        </p:spPr>
        <p:txBody>
          <a:bodyPr vert="horz" wrap="square" lIns="91440" tIns="45720" rIns="91440" bIns="45720" rtlCol="0"/>
          <a:p>
            <a:pPr marL="106045" indent="0">
              <a:buNone/>
            </a:pPr>
            <a:r>
              <a:rPr lang="en-US" altLang="zh-CN" dirty="0" smtClean="0"/>
              <a:t>AB</a:t>
            </a:r>
            <a:r>
              <a:rPr lang="zh-CN" altLang="en-US" dirty="0" smtClean="0"/>
              <a:t>实验的关键点</a:t>
            </a:r>
            <a:endParaRPr lang="zh-CN" altLang="en-US" dirty="0" smtClean="0"/>
          </a:p>
        </p:txBody>
      </p:sp>
      <p:grpSp>
        <p:nvGrpSpPr>
          <p:cNvPr id="7" name="组合 6"/>
          <p:cNvGrpSpPr/>
          <p:nvPr/>
        </p:nvGrpSpPr>
        <p:grpSpPr>
          <a:xfrm>
            <a:off x="450215" y="1061720"/>
            <a:ext cx="389255" cy="427990"/>
            <a:chOff x="450391" y="1977754"/>
            <a:chExt cx="465233" cy="511985"/>
          </a:xfrm>
        </p:grpSpPr>
        <p:sp>
          <p:nvSpPr>
            <p:cNvPr id="11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4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6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9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0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1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9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2" name="文本框 1"/>
          <p:cNvSpPr txBox="1"/>
          <p:nvPr/>
        </p:nvSpPr>
        <p:spPr>
          <a:xfrm>
            <a:off x="948055" y="1510030"/>
            <a:ext cx="5989955" cy="1015365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p>
            <a:pPr marL="391795" indent="-285750" fontAlgn="auto">
              <a:lnSpc>
                <a:spcPts val="2300"/>
              </a:lnSpc>
              <a:buFont typeface="Arial" panose="020B0604020202090204" pitchFamily="34" charset="0"/>
              <a:buChar char="•"/>
            </a:pPr>
            <a:r>
              <a:rPr 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AB</a:t>
            </a: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正交（完全随机，相互独立）</a:t>
            </a:r>
            <a:endParaRPr lang="zh-CN" altLang="en-US" sz="1400" dirty="0" smtClean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  <a:p>
            <a:pPr marL="391795" indent="-285750" fontAlgn="auto">
              <a:lnSpc>
                <a:spcPts val="2300"/>
              </a:lnSpc>
              <a:buFont typeface="Arial" panose="020B0604020202090204" pitchFamily="34" charset="0"/>
              <a:buChar char="•"/>
            </a:pP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只能有一个变量</a:t>
            </a:r>
            <a:endParaRPr lang="zh-CN" altLang="en-US" sz="1400" dirty="0" smtClean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  <a:p>
            <a:pPr marL="391795" indent="-285750" fontAlgn="auto">
              <a:lnSpc>
                <a:spcPts val="2300"/>
              </a:lnSpc>
              <a:buFont typeface="Arial" panose="020B0604020202090204" pitchFamily="34" charset="0"/>
              <a:buChar char="•"/>
            </a:pP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有一个快速度量</a:t>
            </a:r>
            <a:r>
              <a:rPr lang="en-US" alt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AB</a:t>
            </a: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效果的指标</a:t>
            </a:r>
            <a:endParaRPr lang="zh-CN" altLang="en-US" sz="1400" dirty="0" smtClean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948055" y="2572385"/>
            <a:ext cx="288544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fontScale="90000"/>
          </a:bodyPr>
          <a:p>
            <a:pPr marL="106045" indent="0">
              <a:buNone/>
            </a:pPr>
            <a:r>
              <a:rPr lang="zh-CN" sz="1800" dirty="0" smtClean="0"/>
              <a:t>下面这些满足</a:t>
            </a:r>
            <a:r>
              <a:rPr lang="en-US" altLang="zh-CN" sz="1800" dirty="0" smtClean="0"/>
              <a:t>AB</a:t>
            </a:r>
            <a:r>
              <a:rPr lang="zh-CN" altLang="en-US" sz="1800" dirty="0" smtClean="0"/>
              <a:t>实验吗</a:t>
            </a:r>
            <a:endParaRPr lang="zh-CN" altLang="en-US" sz="1800" dirty="0" smtClean="0"/>
          </a:p>
        </p:txBody>
      </p:sp>
      <p:grpSp>
        <p:nvGrpSpPr>
          <p:cNvPr id="15" name="组合 14"/>
          <p:cNvGrpSpPr/>
          <p:nvPr/>
        </p:nvGrpSpPr>
        <p:grpSpPr>
          <a:xfrm>
            <a:off x="4282440" y="2961005"/>
            <a:ext cx="2875280" cy="1715770"/>
            <a:chOff x="1689" y="5233"/>
            <a:chExt cx="4528" cy="2702"/>
          </a:xfrm>
        </p:grpSpPr>
        <p:sp>
          <p:nvSpPr>
            <p:cNvPr id="3" name="椭圆 2"/>
            <p:cNvSpPr/>
            <p:nvPr/>
          </p:nvSpPr>
          <p:spPr>
            <a:xfrm>
              <a:off x="2036" y="5425"/>
              <a:ext cx="1691" cy="1691"/>
            </a:xfrm>
            <a:prstGeom prst="ellipse">
              <a:avLst/>
            </a:prstGeom>
            <a:noFill/>
            <a:ln w="0">
              <a:solidFill>
                <a:srgbClr val="F05A23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lumMod val="40000"/>
                      <a:lumOff val="60000"/>
                    </a:schemeClr>
                  </a:solidFill>
                </a14:hiddenFill>
              </a:ext>
            </a:extLst>
          </p:spPr>
          <p:txBody>
            <a:bodyPr vert="horz" wrap="square" lIns="91440" tIns="45720" rIns="91440" bIns="45720" numCol="1" rtlCol="0" anchor="ctr" anchorCtr="0" compatLnSpc="1"/>
            <a:p>
              <a:pPr algn="ctr"/>
              <a:r>
                <a:rPr lang="en-US" altLang="zh-CN"/>
                <a:t>A</a:t>
              </a:r>
              <a:r>
                <a:rPr lang="zh-CN" altLang="en-US"/>
                <a:t>机构</a:t>
              </a:r>
              <a:endParaRPr lang="zh-CN" altLang="en-US"/>
            </a:p>
          </p:txBody>
        </p:sp>
        <p:sp>
          <p:nvSpPr>
            <p:cNvPr id="8" name="椭圆 7"/>
            <p:cNvSpPr/>
            <p:nvPr/>
          </p:nvSpPr>
          <p:spPr>
            <a:xfrm>
              <a:off x="4104" y="5425"/>
              <a:ext cx="1691" cy="1691"/>
            </a:xfrm>
            <a:prstGeom prst="ellipse">
              <a:avLst/>
            </a:prstGeom>
            <a:noFill/>
            <a:ln w="0">
              <a:solidFill>
                <a:srgbClr val="F05A23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lumMod val="40000"/>
                      <a:lumOff val="60000"/>
                    </a:schemeClr>
                  </a:solidFill>
                </a14:hiddenFill>
              </a:ext>
            </a:extLst>
          </p:spPr>
          <p:txBody>
            <a:bodyPr vert="horz" wrap="square" lIns="91440" tIns="45720" rIns="91440" bIns="45720" numCol="1" rtlCol="0" anchor="ctr" anchorCtr="0" compatLnSpc="1">
              <a:noAutofit/>
            </a:bodyPr>
            <a:p>
              <a:pPr lvl="0" algn="ctr">
                <a:buClrTx/>
                <a:buSzTx/>
                <a:buFontTx/>
              </a:pPr>
              <a:r>
                <a:rPr lang="en-US" altLang="zh-CN">
                  <a:sym typeface="+mn-ea"/>
                </a:rPr>
                <a:t>B</a:t>
              </a:r>
              <a:r>
                <a:rPr lang="en-US" altLang="zh-CN">
                  <a:sym typeface="+mn-ea"/>
                </a:rPr>
                <a:t>机构</a:t>
              </a:r>
              <a:endParaRPr lang="en-US" altLang="zh-CN">
                <a:sym typeface="+mn-ea"/>
              </a:endParaRPr>
            </a:p>
          </p:txBody>
        </p:sp>
        <p:sp>
          <p:nvSpPr>
            <p:cNvPr id="9" name="文本框 8"/>
            <p:cNvSpPr txBox="1"/>
            <p:nvPr/>
          </p:nvSpPr>
          <p:spPr>
            <a:xfrm>
              <a:off x="2035" y="7346"/>
              <a:ext cx="1510" cy="497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normAutofit fontScale="80000"/>
            </a:bodyPr>
            <a:p>
              <a:pPr marL="106045" indent="0">
                <a:buFont typeface="Arial" panose="020B0604020202090204" pitchFamily="34" charset="0"/>
                <a:buNone/>
              </a:pPr>
              <a:r>
                <a:rPr lang="zh-CN" altLang="en-US" sz="1800" dirty="0" smtClean="0"/>
                <a:t>实验组</a:t>
              </a:r>
              <a:endParaRPr lang="zh-CN" altLang="en-US" sz="1800" dirty="0" smtClean="0"/>
            </a:p>
          </p:txBody>
        </p:sp>
        <p:sp>
          <p:nvSpPr>
            <p:cNvPr id="10" name="文本框 9"/>
            <p:cNvSpPr txBox="1"/>
            <p:nvPr/>
          </p:nvSpPr>
          <p:spPr>
            <a:xfrm>
              <a:off x="4104" y="7346"/>
              <a:ext cx="1510" cy="497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normAutofit fontScale="80000"/>
            </a:bodyPr>
            <a:p>
              <a:pPr marL="106045" indent="0">
                <a:buFont typeface="Arial" panose="020B0604020202090204" pitchFamily="34" charset="0"/>
                <a:buNone/>
              </a:pPr>
              <a:r>
                <a:rPr lang="zh-CN" altLang="en-US" sz="1800" dirty="0" smtClean="0"/>
                <a:t>对照组</a:t>
              </a:r>
              <a:endParaRPr lang="zh-CN" altLang="en-US" sz="1800" dirty="0" smtClean="0"/>
            </a:p>
          </p:txBody>
        </p:sp>
        <p:sp>
          <p:nvSpPr>
            <p:cNvPr id="13" name="矩形 12"/>
            <p:cNvSpPr/>
            <p:nvPr/>
          </p:nvSpPr>
          <p:spPr>
            <a:xfrm>
              <a:off x="1689" y="5233"/>
              <a:ext cx="4528" cy="2702"/>
            </a:xfrm>
            <a:prstGeom prst="rect">
              <a:avLst/>
            </a:prstGeom>
            <a:noFill/>
            <a:ln w="0">
              <a:solidFill>
                <a:schemeClr val="bg1">
                  <a:lumMod val="95000"/>
                </a:schemeClr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lumMod val="40000"/>
                      <a:lumOff val="60000"/>
                    </a:schemeClr>
                  </a:solidFill>
                </a14:hiddenFill>
              </a:ext>
            </a:extLst>
          </p:spPr>
          <p:txBody>
            <a:bodyPr vert="horz" wrap="square" lIns="91440" tIns="45720" rIns="91440" bIns="45720" numCol="1" rtlCol="0" anchor="t" anchorCtr="0" compatLnSpc="1"/>
            <a:p>
              <a:endParaRPr lang="zh-CN" altLang="en-US"/>
            </a:p>
          </p:txBody>
        </p:sp>
      </p:grpSp>
      <p:sp>
        <p:nvSpPr>
          <p:cNvPr id="27" name="文本框 26"/>
          <p:cNvSpPr txBox="1"/>
          <p:nvPr/>
        </p:nvSpPr>
        <p:spPr>
          <a:xfrm>
            <a:off x="4864100" y="4935855"/>
            <a:ext cx="1447165" cy="483870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106045" indent="0">
              <a:buFont typeface="Arial" panose="020B0604020202090204" pitchFamily="34" charset="0"/>
              <a:buNone/>
            </a:pPr>
            <a:r>
              <a:rPr lang="zh-CN" altLang="en-US" sz="1600" dirty="0" smtClean="0"/>
              <a:t>变量不唯一</a:t>
            </a:r>
            <a:endParaRPr lang="zh-CN" altLang="en-US" sz="1600" dirty="0" smtClean="0"/>
          </a:p>
        </p:txBody>
      </p:sp>
      <p:pic>
        <p:nvPicPr>
          <p:cNvPr id="45" name="图片 4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736725" y="5745480"/>
            <a:ext cx="599440" cy="779145"/>
          </a:xfrm>
          <a:prstGeom prst="rect">
            <a:avLst/>
          </a:prstGeom>
        </p:spPr>
      </p:pic>
      <p:sp>
        <p:nvSpPr>
          <p:cNvPr id="46" name="文本框 45"/>
          <p:cNvSpPr txBox="1"/>
          <p:nvPr/>
        </p:nvSpPr>
        <p:spPr>
          <a:xfrm>
            <a:off x="2567940" y="5962650"/>
            <a:ext cx="5989955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fontScale="90000"/>
          </a:bodyPr>
          <a:p>
            <a:pPr marL="106045" indent="0">
              <a:buNone/>
            </a:pPr>
            <a:r>
              <a:rPr lang="zh-CN" sz="1800" dirty="0" smtClean="0"/>
              <a:t>寿险场景</a:t>
            </a:r>
            <a:r>
              <a:rPr lang="en-US" altLang="zh-CN" sz="1800" dirty="0" smtClean="0"/>
              <a:t>AB</a:t>
            </a:r>
            <a:r>
              <a:rPr lang="zh-CN" altLang="en-US" sz="1800" dirty="0" smtClean="0"/>
              <a:t>实验会遇到什么困难？</a:t>
            </a:r>
            <a:endParaRPr lang="zh-CN" altLang="en-US" sz="18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/>
      <p:bldP spid="27" grpId="1"/>
      <p:bldP spid="46" grpId="0"/>
      <p:bldP spid="46" grpId="1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/>
        </p:nvSpPr>
        <p:spPr>
          <a:xfrm>
            <a:off x="6546215" y="3582035"/>
            <a:ext cx="3642360" cy="1351280"/>
          </a:xfrm>
          <a:prstGeom prst="rect">
            <a:avLst/>
          </a:prstGeom>
          <a:solidFill>
            <a:schemeClr val="bg1">
              <a:lumMod val="95000"/>
            </a:schemeClr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rtlCol="0" anchor="t" anchorCtr="0" compatLnSpc="1"/>
          <a:p>
            <a:endParaRPr lang="zh-CN" altLang="en-US"/>
          </a:p>
        </p:txBody>
      </p:sp>
      <p:sp>
        <p:nvSpPr>
          <p:cNvPr id="13" name="矩形 12"/>
          <p:cNvSpPr/>
          <p:nvPr/>
        </p:nvSpPr>
        <p:spPr>
          <a:xfrm>
            <a:off x="1981835" y="3582035"/>
            <a:ext cx="3642360" cy="1351280"/>
          </a:xfrm>
          <a:prstGeom prst="rect">
            <a:avLst/>
          </a:prstGeom>
          <a:solidFill>
            <a:schemeClr val="bg1">
              <a:lumMod val="95000"/>
            </a:schemeClr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rtlCol="0" anchor="t" anchorCtr="0" compatLnSpc="1"/>
          <a:p>
            <a:endParaRPr lang="zh-CN" altLang="en-US"/>
          </a:p>
        </p:txBody>
      </p:sp>
      <p:sp>
        <p:nvSpPr>
          <p:cNvPr id="10" name="矩形 9"/>
          <p:cNvSpPr/>
          <p:nvPr/>
        </p:nvSpPr>
        <p:spPr>
          <a:xfrm>
            <a:off x="1981835" y="2353945"/>
            <a:ext cx="3642360" cy="748030"/>
          </a:xfrm>
          <a:prstGeom prst="rect">
            <a:avLst/>
          </a:prstGeom>
          <a:solidFill>
            <a:schemeClr val="bg1">
              <a:lumMod val="95000"/>
            </a:schemeClr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rtlCol="0" anchor="t" anchorCtr="0" compatLnSpc="1"/>
          <a:p>
            <a:endParaRPr lang="zh-CN" altLang="en-US"/>
          </a:p>
        </p:txBody>
      </p:sp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实测胜算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-</a:t>
            </a: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怎么说明模型效果更好</a:t>
            </a:r>
            <a:endParaRPr lang="zh-CN" altLang="en-US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938530" y="112522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sz="1800" dirty="0" smtClean="0"/>
              <a:t>寿险场景存在的问题</a:t>
            </a:r>
            <a:endParaRPr lang="en-US" altLang="zh-CN" sz="1800" dirty="0" smtClean="0"/>
          </a:p>
        </p:txBody>
      </p:sp>
      <p:grpSp>
        <p:nvGrpSpPr>
          <p:cNvPr id="7" name="组合 6"/>
          <p:cNvGrpSpPr/>
          <p:nvPr/>
        </p:nvGrpSpPr>
        <p:grpSpPr>
          <a:xfrm>
            <a:off x="450215" y="1061720"/>
            <a:ext cx="389255" cy="427990"/>
            <a:chOff x="450391" y="1977754"/>
            <a:chExt cx="465233" cy="511985"/>
          </a:xfrm>
        </p:grpSpPr>
        <p:sp>
          <p:nvSpPr>
            <p:cNvPr id="11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4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6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9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0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1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9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2" name="文本框 1"/>
          <p:cNvSpPr txBox="1"/>
          <p:nvPr/>
        </p:nvSpPr>
        <p:spPr>
          <a:xfrm>
            <a:off x="2111375" y="2357755"/>
            <a:ext cx="3546475" cy="69977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p>
            <a:pPr marL="391795" indent="-285750" fontAlgn="auto">
              <a:lnSpc>
                <a:spcPts val="2300"/>
              </a:lnSpc>
              <a:buFont typeface="Arial" panose="020B0604020202090204" pitchFamily="34" charset="0"/>
              <a:buChar char="•"/>
            </a:pPr>
            <a:r>
              <a:rPr 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AB</a:t>
            </a: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正交（完全随机，相互独立）</a:t>
            </a:r>
            <a:endParaRPr lang="zh-CN" altLang="en-US" sz="1400" dirty="0" smtClean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  <a:p>
            <a:pPr marL="391795" indent="-285750" fontAlgn="auto">
              <a:lnSpc>
                <a:spcPts val="2300"/>
              </a:lnSpc>
              <a:buFont typeface="Arial" panose="020B0604020202090204" pitchFamily="34" charset="0"/>
              <a:buChar char="•"/>
            </a:pP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只能有一个变量</a:t>
            </a:r>
            <a:endParaRPr lang="zh-CN" altLang="en-US" sz="1400" dirty="0" smtClean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6555740" y="3658870"/>
            <a:ext cx="3795395" cy="963930"/>
          </a:xfrm>
          <a:prstGeom prst="rect">
            <a:avLst/>
          </a:prstGeom>
        </p:spPr>
        <p:txBody>
          <a:bodyPr vert="horz" wrap="square" lIns="91440" tIns="45720" rIns="91440" bIns="45720" rtlCol="0"/>
          <a:p>
            <a:pPr marL="106045" indent="0" fontAlgn="auto">
              <a:lnSpc>
                <a:spcPts val="2300"/>
              </a:lnSpc>
              <a:buFont typeface="Arial" panose="020B0604020202090204" pitchFamily="34" charset="0"/>
              <a:buNone/>
            </a:pPr>
            <a:r>
              <a:rPr lang="zh-CN" altLang="en-US" sz="1400" dirty="0" smtClean="0"/>
              <a:t>度量指标周期太长，如投诉、理赔、保险营销等，都需要几个月甚至更长才能观察到效果；且在这个时间范围内会有很多不可控的变量</a:t>
            </a:r>
            <a:endParaRPr lang="zh-CN" altLang="en-US" sz="1400" dirty="0" smtClean="0"/>
          </a:p>
        </p:txBody>
      </p:sp>
      <p:sp>
        <p:nvSpPr>
          <p:cNvPr id="9" name="文本框 8"/>
          <p:cNvSpPr txBox="1"/>
          <p:nvPr/>
        </p:nvSpPr>
        <p:spPr>
          <a:xfrm>
            <a:off x="2111375" y="4020820"/>
            <a:ext cx="3546475" cy="40386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p>
            <a:pPr marL="391795" indent="-285750" fontAlgn="auto">
              <a:lnSpc>
                <a:spcPts val="2300"/>
              </a:lnSpc>
              <a:buFont typeface="Arial" panose="020B0604020202090204" pitchFamily="34" charset="0"/>
              <a:buChar char="•"/>
            </a:pP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有一个快速度量</a:t>
            </a:r>
            <a:r>
              <a:rPr lang="en-US" alt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AB</a:t>
            </a: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效果的指标</a:t>
            </a:r>
            <a:endParaRPr lang="zh-CN" altLang="en-US" sz="1400" dirty="0" smtClean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sp>
        <p:nvSpPr>
          <p:cNvPr id="31" name="文本框 30"/>
          <p:cNvSpPr txBox="1"/>
          <p:nvPr/>
        </p:nvSpPr>
        <p:spPr>
          <a:xfrm>
            <a:off x="3195320" y="1717040"/>
            <a:ext cx="1180465" cy="282575"/>
          </a:xfrm>
          <a:prstGeom prst="rect">
            <a:avLst/>
          </a:prstGeom>
          <a:noFill/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algn="ctr"/>
            <a:r>
              <a:rPr lang="zh-CN" altLang="en-US" sz="1600" b="1" dirty="0" err="1" smtClean="0">
                <a:solidFill>
                  <a:srgbClr val="575757"/>
                </a:solidFill>
              </a:rPr>
              <a:t>关键点</a:t>
            </a:r>
            <a:endParaRPr lang="zh-CN" altLang="en-US" sz="1600" b="1" dirty="0" err="1" smtClean="0">
              <a:solidFill>
                <a:srgbClr val="575757"/>
              </a:solidFill>
            </a:endParaRPr>
          </a:p>
        </p:txBody>
      </p:sp>
      <p:cxnSp>
        <p:nvCxnSpPr>
          <p:cNvPr id="32" name="直接连接符 31"/>
          <p:cNvCxnSpPr/>
          <p:nvPr/>
        </p:nvCxnSpPr>
        <p:spPr>
          <a:xfrm>
            <a:off x="2037715" y="2078355"/>
            <a:ext cx="3567430" cy="0"/>
          </a:xfrm>
          <a:prstGeom prst="line">
            <a:avLst/>
          </a:prstGeom>
          <a:ln w="9525" cap="rnd">
            <a:solidFill>
              <a:srgbClr val="F2772C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文本框 32"/>
          <p:cNvSpPr txBox="1"/>
          <p:nvPr/>
        </p:nvSpPr>
        <p:spPr>
          <a:xfrm>
            <a:off x="7733030" y="1717040"/>
            <a:ext cx="1352550" cy="282575"/>
          </a:xfrm>
          <a:prstGeom prst="rect">
            <a:avLst/>
          </a:prstGeom>
          <a:noFill/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algn="ctr"/>
            <a:r>
              <a:rPr lang="zh-CN" altLang="en-US" sz="1600" b="1" dirty="0" err="1" smtClean="0">
                <a:solidFill>
                  <a:srgbClr val="575757"/>
                </a:solidFill>
              </a:rPr>
              <a:t>存在的问题</a:t>
            </a:r>
            <a:endParaRPr lang="zh-CN" altLang="en-US" sz="1600" b="1" dirty="0" err="1" smtClean="0">
              <a:solidFill>
                <a:srgbClr val="575757"/>
              </a:solidFill>
            </a:endParaRPr>
          </a:p>
        </p:txBody>
      </p:sp>
      <p:cxnSp>
        <p:nvCxnSpPr>
          <p:cNvPr id="34" name="直接连接符 33"/>
          <p:cNvCxnSpPr/>
          <p:nvPr/>
        </p:nvCxnSpPr>
        <p:spPr>
          <a:xfrm>
            <a:off x="6575425" y="2078355"/>
            <a:ext cx="3567430" cy="0"/>
          </a:xfrm>
          <a:prstGeom prst="line">
            <a:avLst/>
          </a:prstGeom>
          <a:ln w="9525" cap="rnd">
            <a:solidFill>
              <a:srgbClr val="F2772C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箭头连接符 16"/>
          <p:cNvCxnSpPr>
            <a:endCxn id="2" idx="3"/>
          </p:cNvCxnSpPr>
          <p:nvPr/>
        </p:nvCxnSpPr>
        <p:spPr>
          <a:xfrm flipH="1" flipV="1">
            <a:off x="5657850" y="2707640"/>
            <a:ext cx="791845" cy="143891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箭头连接符 17"/>
          <p:cNvCxnSpPr/>
          <p:nvPr/>
        </p:nvCxnSpPr>
        <p:spPr>
          <a:xfrm flipH="1">
            <a:off x="5740400" y="4319270"/>
            <a:ext cx="690245" cy="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实测胜算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-</a:t>
            </a: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怎么说明模型效果更好</a:t>
            </a:r>
            <a:endParaRPr lang="zh-CN" altLang="en-US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938530" y="1125220"/>
            <a:ext cx="493522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fontScale="90000" lnSpcReduction="10000"/>
          </a:bodyPr>
          <a:p>
            <a:pPr marL="106045" indent="0">
              <a:buNone/>
            </a:pPr>
            <a:r>
              <a:rPr lang="zh-CN" altLang="en-US" sz="2000" dirty="0" smtClean="0"/>
              <a:t>怎么解决</a:t>
            </a:r>
            <a:r>
              <a:rPr lang="en-US" altLang="zh-CN" sz="1800" dirty="0" smtClean="0"/>
              <a:t>——</a:t>
            </a:r>
            <a:r>
              <a:rPr lang="zh-CN" altLang="en-US" sz="1800" dirty="0" smtClean="0"/>
              <a:t>尽可能减少影响，无法彻底消除</a:t>
            </a:r>
            <a:endParaRPr lang="zh-CN" altLang="en-US" sz="1800" dirty="0" smtClean="0"/>
          </a:p>
        </p:txBody>
      </p:sp>
      <p:grpSp>
        <p:nvGrpSpPr>
          <p:cNvPr id="7" name="组合 6"/>
          <p:cNvGrpSpPr/>
          <p:nvPr/>
        </p:nvGrpSpPr>
        <p:grpSpPr>
          <a:xfrm>
            <a:off x="450215" y="1061720"/>
            <a:ext cx="389255" cy="427990"/>
            <a:chOff x="450391" y="1977754"/>
            <a:chExt cx="465233" cy="511985"/>
          </a:xfrm>
        </p:grpSpPr>
        <p:sp>
          <p:nvSpPr>
            <p:cNvPr id="11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4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6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9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0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1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9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2" name="文本框 1"/>
          <p:cNvSpPr txBox="1"/>
          <p:nvPr/>
        </p:nvSpPr>
        <p:spPr>
          <a:xfrm>
            <a:off x="1120775" y="1578610"/>
            <a:ext cx="4064000" cy="377825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rmAutofit/>
          </a:bodyPr>
          <a:p>
            <a:pPr marL="391795" indent="-285750">
              <a:buFont typeface="Arial" panose="020B0604020202090204" pitchFamily="34" charset="0"/>
              <a:buChar char="•"/>
            </a:pP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缩短观察期</a:t>
            </a:r>
            <a:endParaRPr lang="zh-CN" altLang="en-US" sz="1400" dirty="0" smtClean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4309552" y="2107443"/>
            <a:ext cx="3341149" cy="267156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 indent="0">
              <a:buFont typeface="Arial" panose="020B0604020202090204" pitchFamily="34" charset="0"/>
              <a:buNone/>
            </a:pPr>
            <a:r>
              <a:rPr lang="zh-CN" altLang="en-US" sz="1400">
                <a:latin typeface="+mn-ea"/>
              </a:rPr>
              <a:t>一</a:t>
            </a:r>
            <a:r>
              <a:rPr lang="zh-CN" altLang="en-US" sz="1400" smtClean="0">
                <a:latin typeface="+mn-ea"/>
              </a:rPr>
              <a:t>个预测时间点</a:t>
            </a:r>
            <a:r>
              <a:rPr lang="en-US" altLang="zh-CN" sz="1400" smtClean="0">
                <a:latin typeface="+mn-ea"/>
              </a:rPr>
              <a:t>+</a:t>
            </a:r>
            <a:r>
              <a:rPr lang="zh-CN" altLang="en-US" sz="1400" smtClean="0">
                <a:latin typeface="+mn-ea"/>
              </a:rPr>
              <a:t>多个时间窗预测</a:t>
            </a:r>
            <a:endParaRPr lang="en-US" altLang="zh-CN" sz="1400" smtClean="0">
              <a:latin typeface="+mn-ea"/>
            </a:endParaRPr>
          </a:p>
        </p:txBody>
      </p:sp>
      <p:cxnSp>
        <p:nvCxnSpPr>
          <p:cNvPr id="17" name="直接箭头连接符 16"/>
          <p:cNvCxnSpPr/>
          <p:nvPr/>
        </p:nvCxnSpPr>
        <p:spPr>
          <a:xfrm>
            <a:off x="4503526" y="3175105"/>
            <a:ext cx="2643447" cy="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/>
          <p:cNvCxnSpPr/>
          <p:nvPr/>
        </p:nvCxnSpPr>
        <p:spPr>
          <a:xfrm>
            <a:off x="4727970" y="3041135"/>
            <a:ext cx="0" cy="13397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文本框 21"/>
          <p:cNvSpPr txBox="1"/>
          <p:nvPr/>
        </p:nvSpPr>
        <p:spPr>
          <a:xfrm>
            <a:off x="4187573" y="3175105"/>
            <a:ext cx="925484" cy="267156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/>
            <a:r>
              <a:rPr lang="zh-CN" altLang="en-US" sz="1000" smtClean="0"/>
              <a:t>预测时间点</a:t>
            </a:r>
            <a:endParaRPr lang="en-US" altLang="zh-CN" sz="1000" smtClean="0"/>
          </a:p>
        </p:txBody>
      </p:sp>
      <p:cxnSp>
        <p:nvCxnSpPr>
          <p:cNvPr id="23" name="直接连接符 22"/>
          <p:cNvCxnSpPr/>
          <p:nvPr/>
        </p:nvCxnSpPr>
        <p:spPr>
          <a:xfrm>
            <a:off x="5279379" y="3041135"/>
            <a:ext cx="0" cy="13397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/>
          <p:cNvCxnSpPr/>
          <p:nvPr/>
        </p:nvCxnSpPr>
        <p:spPr>
          <a:xfrm>
            <a:off x="5830788" y="3041135"/>
            <a:ext cx="0" cy="13397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直接连接符 25"/>
          <p:cNvCxnSpPr/>
          <p:nvPr/>
        </p:nvCxnSpPr>
        <p:spPr>
          <a:xfrm>
            <a:off x="6382197" y="3041135"/>
            <a:ext cx="0" cy="13397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直接连接符 26"/>
          <p:cNvCxnSpPr/>
          <p:nvPr/>
        </p:nvCxnSpPr>
        <p:spPr>
          <a:xfrm>
            <a:off x="6933606" y="3041135"/>
            <a:ext cx="0" cy="13397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左大括号 27"/>
          <p:cNvSpPr/>
          <p:nvPr/>
        </p:nvSpPr>
        <p:spPr>
          <a:xfrm rot="5400000">
            <a:off x="4946214" y="2679776"/>
            <a:ext cx="114287" cy="535416"/>
          </a:xfrm>
          <a:prstGeom prst="leftBrace">
            <a:avLst>
              <a:gd name="adj1" fmla="val 58456"/>
              <a:gd name="adj2" fmla="val 50000"/>
            </a:avLst>
          </a:prstGeom>
          <a:noFill/>
          <a:ln w="6350" cap="flat" cmpd="sng" algn="ctr">
            <a:solidFill>
              <a:srgbClr val="FF6600"/>
            </a:solidFill>
            <a:prstDash val="solid"/>
            <a:miter lim="800000"/>
          </a:ln>
          <a:effectLst/>
        </p:spPr>
        <p:txBody>
          <a:bodyPr rtlCol="0" anchor="ctr"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6600"/>
              </a:solidFill>
              <a:effectLst/>
              <a:uLnTx/>
              <a:uFillTx/>
              <a:latin typeface="Arial" panose="020B0604020202090204"/>
              <a:ea typeface="华文楷体" panose="02010600040101010101" pitchFamily="2" charset="-122"/>
              <a:cs typeface="+mn-cs"/>
            </a:endParaRPr>
          </a:p>
        </p:txBody>
      </p:sp>
      <p:sp>
        <p:nvSpPr>
          <p:cNvPr id="30" name="左大括号 29"/>
          <p:cNvSpPr/>
          <p:nvPr/>
        </p:nvSpPr>
        <p:spPr>
          <a:xfrm rot="5400000">
            <a:off x="5201772" y="2291208"/>
            <a:ext cx="162891" cy="1095139"/>
          </a:xfrm>
          <a:prstGeom prst="leftBrace">
            <a:avLst>
              <a:gd name="adj1" fmla="val 58456"/>
              <a:gd name="adj2" fmla="val 50000"/>
            </a:avLst>
          </a:prstGeom>
          <a:noFill/>
          <a:ln w="6350" cap="flat" cmpd="sng" algn="ctr">
            <a:solidFill>
              <a:srgbClr val="FF6600"/>
            </a:solidFill>
            <a:prstDash val="solid"/>
            <a:miter lim="800000"/>
          </a:ln>
          <a:effectLst/>
        </p:spPr>
        <p:txBody>
          <a:bodyPr rtlCol="0" anchor="ctr"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6600"/>
              </a:solidFill>
              <a:effectLst/>
              <a:uLnTx/>
              <a:uFillTx/>
              <a:latin typeface="Arial" panose="020B0604020202090204"/>
              <a:ea typeface="华文楷体" panose="02010600040101010101" pitchFamily="2" charset="-122"/>
              <a:cs typeface="+mn-cs"/>
            </a:endParaRPr>
          </a:p>
        </p:txBody>
      </p:sp>
      <p:sp>
        <p:nvSpPr>
          <p:cNvPr id="32" name="左大括号 31"/>
          <p:cNvSpPr/>
          <p:nvPr/>
        </p:nvSpPr>
        <p:spPr>
          <a:xfrm rot="5400000">
            <a:off x="5454122" y="1890426"/>
            <a:ext cx="209597" cy="1646550"/>
          </a:xfrm>
          <a:prstGeom prst="leftBrace">
            <a:avLst>
              <a:gd name="adj1" fmla="val 58456"/>
              <a:gd name="adj2" fmla="val 50000"/>
            </a:avLst>
          </a:prstGeom>
          <a:noFill/>
          <a:ln w="6350" cap="flat" cmpd="sng" algn="ctr">
            <a:solidFill>
              <a:srgbClr val="FF6600"/>
            </a:solidFill>
            <a:prstDash val="solid"/>
            <a:miter lim="800000"/>
          </a:ln>
          <a:effectLst/>
        </p:spPr>
        <p:txBody>
          <a:bodyPr rtlCol="0" anchor="ctr"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6600"/>
              </a:solidFill>
              <a:effectLst/>
              <a:uLnTx/>
              <a:uFillTx/>
              <a:latin typeface="Arial" panose="020B0604020202090204"/>
              <a:ea typeface="华文楷体" panose="02010600040101010101" pitchFamily="2" charset="-122"/>
              <a:cs typeface="+mn-cs"/>
            </a:endParaRPr>
          </a:p>
        </p:txBody>
      </p:sp>
      <p:sp>
        <p:nvSpPr>
          <p:cNvPr id="33" name="左大括号 32"/>
          <p:cNvSpPr/>
          <p:nvPr/>
        </p:nvSpPr>
        <p:spPr>
          <a:xfrm rot="5400000">
            <a:off x="5729827" y="1456874"/>
            <a:ext cx="209597" cy="2197960"/>
          </a:xfrm>
          <a:prstGeom prst="leftBrace">
            <a:avLst>
              <a:gd name="adj1" fmla="val 58456"/>
              <a:gd name="adj2" fmla="val 50000"/>
            </a:avLst>
          </a:prstGeom>
          <a:noFill/>
          <a:ln w="6350" cap="flat" cmpd="sng" algn="ctr">
            <a:solidFill>
              <a:srgbClr val="FF6600"/>
            </a:solidFill>
            <a:prstDash val="solid"/>
            <a:miter lim="800000"/>
          </a:ln>
          <a:effectLst/>
        </p:spPr>
        <p:txBody>
          <a:bodyPr rtlCol="0" anchor="ctr"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6600"/>
              </a:solidFill>
              <a:effectLst/>
              <a:uLnTx/>
              <a:uFillTx/>
              <a:latin typeface="Arial" panose="020B0604020202090204"/>
              <a:ea typeface="华文楷体" panose="02010600040101010101" pitchFamily="2" charset="-122"/>
              <a:cs typeface="+mn-cs"/>
            </a:endParaRPr>
          </a:p>
        </p:txBody>
      </p:sp>
      <p:sp>
        <p:nvSpPr>
          <p:cNvPr id="34" name="文本框 33"/>
          <p:cNvSpPr txBox="1"/>
          <p:nvPr/>
        </p:nvSpPr>
        <p:spPr>
          <a:xfrm>
            <a:off x="4659385" y="2941377"/>
            <a:ext cx="606137" cy="267156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/>
            <a:r>
              <a:rPr lang="en-US" altLang="zh-CN" sz="1000" smtClean="0"/>
              <a:t>60</a:t>
            </a:r>
            <a:r>
              <a:rPr lang="zh-CN" altLang="en-US" sz="1000" smtClean="0"/>
              <a:t>天</a:t>
            </a:r>
            <a:endParaRPr lang="en-US" altLang="zh-CN" sz="1000" smtClean="0"/>
          </a:p>
        </p:txBody>
      </p:sp>
      <p:sp>
        <p:nvSpPr>
          <p:cNvPr id="12" name="文本框 11"/>
          <p:cNvSpPr txBox="1"/>
          <p:nvPr/>
        </p:nvSpPr>
        <p:spPr>
          <a:xfrm>
            <a:off x="5265522" y="2941377"/>
            <a:ext cx="606137" cy="267156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/>
            <a:r>
              <a:rPr lang="en-US" altLang="zh-CN" sz="1000"/>
              <a:t>9</a:t>
            </a:r>
            <a:r>
              <a:rPr lang="en-US" altLang="zh-CN" sz="1000" smtClean="0"/>
              <a:t>0</a:t>
            </a:r>
            <a:r>
              <a:rPr lang="zh-CN" altLang="en-US" sz="1000" smtClean="0"/>
              <a:t>天</a:t>
            </a:r>
            <a:endParaRPr lang="en-US" altLang="zh-CN" sz="1000" smtClean="0"/>
          </a:p>
        </p:txBody>
      </p:sp>
      <p:sp>
        <p:nvSpPr>
          <p:cNvPr id="13" name="文本框 12"/>
          <p:cNvSpPr txBox="1"/>
          <p:nvPr/>
        </p:nvSpPr>
        <p:spPr>
          <a:xfrm>
            <a:off x="5737335" y="2941377"/>
            <a:ext cx="665298" cy="267156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/>
            <a:r>
              <a:rPr lang="en-US" altLang="zh-CN" sz="1000" smtClean="0"/>
              <a:t>180</a:t>
            </a:r>
            <a:r>
              <a:rPr lang="zh-CN" altLang="en-US" sz="1000" smtClean="0"/>
              <a:t>天</a:t>
            </a:r>
            <a:endParaRPr lang="en-US" altLang="zh-CN" sz="1000" smtClean="0"/>
          </a:p>
        </p:txBody>
      </p:sp>
      <p:sp>
        <p:nvSpPr>
          <p:cNvPr id="15" name="文本框 14"/>
          <p:cNvSpPr txBox="1"/>
          <p:nvPr/>
        </p:nvSpPr>
        <p:spPr>
          <a:xfrm>
            <a:off x="6292678" y="2941377"/>
            <a:ext cx="665298" cy="267156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/>
            <a:r>
              <a:rPr lang="en-US" altLang="zh-CN" sz="1000" smtClean="0"/>
              <a:t>365</a:t>
            </a:r>
            <a:r>
              <a:rPr lang="zh-CN" altLang="en-US" sz="1000" smtClean="0"/>
              <a:t>天</a:t>
            </a:r>
            <a:endParaRPr lang="en-US" altLang="zh-CN" sz="1000" smtClean="0"/>
          </a:p>
        </p:txBody>
      </p:sp>
      <p:sp>
        <p:nvSpPr>
          <p:cNvPr id="18" name="文本框 17"/>
          <p:cNvSpPr txBox="1"/>
          <p:nvPr/>
        </p:nvSpPr>
        <p:spPr>
          <a:xfrm>
            <a:off x="4853574" y="3175105"/>
            <a:ext cx="925484" cy="267156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/>
            <a:r>
              <a:rPr lang="zh-CN" altLang="en-US" sz="1000" smtClean="0"/>
              <a:t>时间窗</a:t>
            </a:r>
            <a:r>
              <a:rPr lang="en-US" altLang="zh-CN" sz="1000" smtClean="0"/>
              <a:t>1</a:t>
            </a:r>
            <a:endParaRPr lang="en-US" altLang="zh-CN" sz="1000" smtClean="0"/>
          </a:p>
        </p:txBody>
      </p:sp>
      <p:sp>
        <p:nvSpPr>
          <p:cNvPr id="25" name="文本框 24"/>
          <p:cNvSpPr txBox="1"/>
          <p:nvPr/>
        </p:nvSpPr>
        <p:spPr>
          <a:xfrm>
            <a:off x="5410815" y="3175105"/>
            <a:ext cx="925484" cy="267156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/>
            <a:r>
              <a:rPr lang="zh-CN" altLang="en-US" sz="1000" smtClean="0"/>
              <a:t>时间窗</a:t>
            </a:r>
            <a:r>
              <a:rPr lang="en-US" altLang="zh-CN" sz="1000" smtClean="0"/>
              <a:t>2</a:t>
            </a:r>
            <a:endParaRPr lang="en-US" altLang="zh-CN" sz="1000" smtClean="0"/>
          </a:p>
        </p:txBody>
      </p:sp>
      <p:sp>
        <p:nvSpPr>
          <p:cNvPr id="31" name="文本框 30"/>
          <p:cNvSpPr txBox="1"/>
          <p:nvPr/>
        </p:nvSpPr>
        <p:spPr>
          <a:xfrm>
            <a:off x="5956228" y="3175105"/>
            <a:ext cx="925484" cy="267156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/>
            <a:r>
              <a:rPr lang="zh-CN" altLang="en-US" sz="1000" smtClean="0"/>
              <a:t>时间窗</a:t>
            </a:r>
            <a:r>
              <a:rPr lang="en-US" altLang="zh-CN" sz="1000" smtClean="0"/>
              <a:t>3</a:t>
            </a:r>
            <a:endParaRPr lang="en-US" altLang="zh-CN" sz="1000" smtClean="0"/>
          </a:p>
        </p:txBody>
      </p:sp>
      <p:sp>
        <p:nvSpPr>
          <p:cNvPr id="45" name="文本框 44"/>
          <p:cNvSpPr txBox="1"/>
          <p:nvPr/>
        </p:nvSpPr>
        <p:spPr>
          <a:xfrm>
            <a:off x="6519393" y="3175105"/>
            <a:ext cx="925484" cy="267156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/>
            <a:r>
              <a:rPr lang="zh-CN" altLang="en-US" sz="1000" smtClean="0"/>
              <a:t>时间窗</a:t>
            </a:r>
            <a:r>
              <a:rPr lang="en-US" altLang="zh-CN" sz="1000" smtClean="0"/>
              <a:t>4</a:t>
            </a:r>
            <a:endParaRPr lang="en-US" altLang="zh-CN" sz="1000" smtClean="0"/>
          </a:p>
        </p:txBody>
      </p:sp>
      <p:sp>
        <p:nvSpPr>
          <p:cNvPr id="61" name="文本框 60"/>
          <p:cNvSpPr txBox="1"/>
          <p:nvPr/>
        </p:nvSpPr>
        <p:spPr>
          <a:xfrm>
            <a:off x="1120775" y="3687445"/>
            <a:ext cx="4064000" cy="377825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rmAutofit/>
          </a:bodyPr>
          <a:p>
            <a:pPr marL="391795" indent="-285750">
              <a:buFont typeface="Arial" panose="020B0604020202090204" pitchFamily="34" charset="0"/>
              <a:buChar char="•"/>
            </a:pPr>
            <a:r>
              <a:rPr 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量化指标拆解</a:t>
            </a:r>
            <a:endParaRPr lang="zh-CN" sz="1400" dirty="0" smtClean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sp>
        <p:nvSpPr>
          <p:cNvPr id="63" name="文本框 62"/>
          <p:cNvSpPr txBox="1"/>
          <p:nvPr/>
        </p:nvSpPr>
        <p:spPr>
          <a:xfrm>
            <a:off x="1412875" y="4118610"/>
            <a:ext cx="5107305" cy="138303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rmAutofit/>
          </a:bodyPr>
          <a:p>
            <a:pPr marL="106045" indent="0" fontAlgn="auto">
              <a:lnSpc>
                <a:spcPts val="1800"/>
              </a:lnSpc>
              <a:buFont typeface="Arial" panose="020B0604020202090204" pitchFamily="34" charset="0"/>
              <a:buNone/>
            </a:pPr>
            <a:r>
              <a:rPr 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环节拆解，量化结果指标拆解成多个中间指标。</a:t>
            </a:r>
            <a:endParaRPr lang="zh-CN" sz="1400" dirty="0" smtClean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  <a:p>
            <a:pPr marL="106045" indent="0" fontAlgn="auto">
              <a:lnSpc>
                <a:spcPts val="1800"/>
              </a:lnSpc>
              <a:buFont typeface="Arial" panose="020B0604020202090204" pitchFamily="34" charset="0"/>
              <a:buNone/>
            </a:pPr>
            <a:endParaRPr lang="zh-CN" sz="1400" dirty="0" smtClean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  <a:p>
            <a:pPr marL="106045" indent="0" fontAlgn="auto">
              <a:lnSpc>
                <a:spcPts val="1800"/>
              </a:lnSpc>
              <a:buFont typeface="Arial" panose="020B0604020202090204" pitchFamily="34" charset="0"/>
              <a:buNone/>
            </a:pPr>
            <a:r>
              <a:rPr 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比如保险转化预测：</a:t>
            </a:r>
            <a:endParaRPr lang="zh-CN" sz="1400" dirty="0" smtClean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  <a:p>
            <a:pPr marL="106045" indent="0" fontAlgn="auto">
              <a:lnSpc>
                <a:spcPts val="1800"/>
              </a:lnSpc>
              <a:buFont typeface="Arial" panose="020B0604020202090204" pitchFamily="34" charset="0"/>
              <a:buNone/>
            </a:pPr>
            <a:r>
              <a:rPr 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可以拆分成线索查看、点击、浏览、转化</a:t>
            </a:r>
            <a:endParaRPr lang="zh-CN" sz="1400" dirty="0" smtClean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  <a:p>
            <a:pPr marL="106045" indent="0" fontAlgn="auto">
              <a:lnSpc>
                <a:spcPts val="1800"/>
              </a:lnSpc>
              <a:buFont typeface="Arial" panose="020B0604020202090204" pitchFamily="34" charset="0"/>
              <a:buNone/>
            </a:pP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量化指标由转化率改为线索查看率</a:t>
            </a:r>
            <a:endParaRPr lang="zh-CN" altLang="en-US" sz="1400" dirty="0" smtClean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6779260" y="1055370"/>
            <a:ext cx="3867150" cy="533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000" dirty="0" smtClean="0">
                <a:solidFill>
                  <a:schemeClr val="tx1"/>
                </a:solidFill>
                <a:sym typeface="+mn-ea"/>
              </a:rPr>
              <a:t>洞察趋势：了解保险风控格局</a:t>
            </a:r>
            <a:endParaRPr lang="zh-CN" altLang="en-US" sz="2000" dirty="0" smtClean="0">
              <a:solidFill>
                <a:schemeClr val="tx1"/>
              </a:solidFill>
              <a:sym typeface="+mn-ea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1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4249207" cy="6858000"/>
          </a:xfrm>
          <a:prstGeom prst="rect">
            <a:avLst/>
          </a:prstGeom>
        </p:spPr>
      </p:pic>
      <p:grpSp>
        <p:nvGrpSpPr>
          <p:cNvPr id="18" name="组合 17"/>
          <p:cNvGrpSpPr/>
          <p:nvPr/>
        </p:nvGrpSpPr>
        <p:grpSpPr>
          <a:xfrm>
            <a:off x="-3750" y="0"/>
            <a:ext cx="4252957" cy="5905045"/>
            <a:chOff x="-3750" y="0"/>
            <a:chExt cx="4252957" cy="5905045"/>
          </a:xfrm>
          <a:solidFill>
            <a:schemeClr val="bg1">
              <a:lumMod val="85000"/>
              <a:alpha val="50000"/>
            </a:schemeClr>
          </a:solidFill>
        </p:grpSpPr>
        <p:sp>
          <p:nvSpPr>
            <p:cNvPr id="19" name="矩形 18"/>
            <p:cNvSpPr/>
            <p:nvPr/>
          </p:nvSpPr>
          <p:spPr>
            <a:xfrm>
              <a:off x="0" y="0"/>
              <a:ext cx="4249207" cy="393714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90204"/>
                <a:ea typeface="楷体" panose="02010609060101010101" pitchFamily="49" charset="-122"/>
                <a:cs typeface="+mn-cs"/>
              </a:endParaRPr>
            </a:p>
          </p:txBody>
        </p:sp>
        <p:sp>
          <p:nvSpPr>
            <p:cNvPr id="20" name="直角三角形 19"/>
            <p:cNvSpPr/>
            <p:nvPr/>
          </p:nvSpPr>
          <p:spPr>
            <a:xfrm rot="10800000">
              <a:off x="-3750" y="3937145"/>
              <a:ext cx="4252957" cy="1967900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90204"/>
                <a:ea typeface="楷体" panose="02010609060101010101" pitchFamily="49" charset="-122"/>
                <a:cs typeface="+mn-cs"/>
              </a:endParaRPr>
            </a:p>
          </p:txBody>
        </p:sp>
      </p:grpSp>
      <p:sp>
        <p:nvSpPr>
          <p:cNvPr id="21" name="等腰三角形 20"/>
          <p:cNvSpPr/>
          <p:nvPr/>
        </p:nvSpPr>
        <p:spPr>
          <a:xfrm rot="10273322">
            <a:off x="2884558" y="793348"/>
            <a:ext cx="1825398" cy="6094409"/>
          </a:xfrm>
          <a:prstGeom prst="triangle">
            <a:avLst>
              <a:gd name="adj" fmla="val 49832"/>
            </a:avLst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90204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22" name="直角三角形 21"/>
          <p:cNvSpPr/>
          <p:nvPr/>
        </p:nvSpPr>
        <p:spPr>
          <a:xfrm rot="10800000">
            <a:off x="1047749" y="-3"/>
            <a:ext cx="3201453" cy="2231503"/>
          </a:xfrm>
          <a:prstGeom prst="rtTriangle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90204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23" name="文本框 6"/>
          <p:cNvSpPr txBox="1"/>
          <p:nvPr/>
        </p:nvSpPr>
        <p:spPr>
          <a:xfrm>
            <a:off x="630723" y="2708304"/>
            <a:ext cx="2984009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i="0" u="none" strike="noStrike" kern="1200" cap="none" spc="0" normalizeH="0" baseline="0" noProof="0" dirty="0">
                <a:ln>
                  <a:noFill/>
                </a:ln>
                <a:solidFill>
                  <a:srgbClr val="ED6F3D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CONTENT</a:t>
            </a:r>
            <a:endParaRPr kumimoji="0" lang="en-US" altLang="zh-CN" sz="3200" i="0" u="none" strike="noStrike" kern="1200" cap="none" spc="0" normalizeH="0" baseline="0" noProof="0" dirty="0">
              <a:ln>
                <a:noFill/>
              </a:ln>
              <a:solidFill>
                <a:srgbClr val="ED6F3D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4400" i="0" u="none" strike="noStrike" kern="1200" cap="none" spc="0" normalizeH="0" baseline="0" noProof="0" dirty="0">
                <a:ln>
                  <a:noFill/>
                </a:ln>
                <a:solidFill>
                  <a:srgbClr val="ED6F3D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目录</a:t>
            </a:r>
            <a:endParaRPr kumimoji="0" lang="zh-CN" altLang="en-US" sz="4400" i="0" u="none" strike="noStrike" kern="1200" cap="none" spc="0" normalizeH="0" baseline="0" noProof="0" dirty="0">
              <a:ln>
                <a:noFill/>
              </a:ln>
              <a:solidFill>
                <a:srgbClr val="ED6F3D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9" name="椭圆 68"/>
          <p:cNvSpPr/>
          <p:nvPr/>
        </p:nvSpPr>
        <p:spPr>
          <a:xfrm>
            <a:off x="5881411" y="1055468"/>
            <a:ext cx="533400" cy="5334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lnSpc>
                <a:spcPct val="140000"/>
              </a:lnSpc>
              <a:buClrTx/>
              <a:buSzTx/>
              <a:buFontTx/>
            </a:pPr>
            <a:r>
              <a:rPr lang="en-US" altLang="zh-CN" sz="2000" b="1" smtClean="0">
                <a:latin typeface="+mj-lt"/>
                <a:ea typeface="Noto Sans S Chinese Regular" panose="020B0500000000000000" pitchFamily="34" charset="-122"/>
                <a:sym typeface="+mn-ea"/>
              </a:rPr>
              <a:t>1</a:t>
            </a:r>
            <a:endParaRPr lang="en-US" altLang="zh-CN" sz="2000" b="1" smtClean="0">
              <a:latin typeface="+mj-lt"/>
              <a:ea typeface="Noto Sans S Chinese Regular" panose="020B0500000000000000" pitchFamily="34" charset="-122"/>
              <a:sym typeface="+mn-ea"/>
            </a:endParaRPr>
          </a:p>
        </p:txBody>
      </p:sp>
      <p:sp>
        <p:nvSpPr>
          <p:cNvPr id="71" name="椭圆 70"/>
          <p:cNvSpPr/>
          <p:nvPr/>
        </p:nvSpPr>
        <p:spPr>
          <a:xfrm>
            <a:off x="5881411" y="2009873"/>
            <a:ext cx="533400" cy="5334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lnSpc>
                <a:spcPct val="140000"/>
              </a:lnSpc>
              <a:buClrTx/>
              <a:buSzTx/>
              <a:buFontTx/>
            </a:pPr>
            <a:r>
              <a:rPr lang="en-US" altLang="zh-CN" sz="2000" b="1" smtClean="0">
                <a:latin typeface="+mj-lt"/>
                <a:ea typeface="Noto Sans S Chinese Regular" panose="020B0500000000000000" pitchFamily="34" charset="-122"/>
                <a:sym typeface="+mn-ea"/>
              </a:rPr>
              <a:t>2</a:t>
            </a:r>
            <a:endParaRPr lang="en-US" altLang="zh-CN" sz="2000" b="1" smtClean="0">
              <a:latin typeface="+mj-lt"/>
              <a:ea typeface="Noto Sans S Chinese Regular" panose="020B0500000000000000" pitchFamily="34" charset="-122"/>
              <a:sym typeface="+mn-ea"/>
            </a:endParaRPr>
          </a:p>
        </p:txBody>
      </p:sp>
      <p:sp>
        <p:nvSpPr>
          <p:cNvPr id="72" name="椭圆 71"/>
          <p:cNvSpPr/>
          <p:nvPr/>
        </p:nvSpPr>
        <p:spPr>
          <a:xfrm>
            <a:off x="5881411" y="2964278"/>
            <a:ext cx="533400" cy="5334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lnSpc>
                <a:spcPct val="140000"/>
              </a:lnSpc>
              <a:buClrTx/>
              <a:buSzTx/>
              <a:buFontTx/>
            </a:pPr>
            <a:r>
              <a:rPr lang="en-US" altLang="zh-CN" sz="2000" b="1" smtClean="0">
                <a:latin typeface="+mj-lt"/>
                <a:ea typeface="Noto Sans S Chinese Regular" panose="020B0500000000000000" pitchFamily="34" charset="-122"/>
                <a:sym typeface="+mn-ea"/>
              </a:rPr>
              <a:t>3</a:t>
            </a:r>
            <a:endParaRPr lang="en-US" altLang="zh-CN" sz="2000" b="1" smtClean="0">
              <a:latin typeface="+mj-lt"/>
              <a:ea typeface="Noto Sans S Chinese Regular" panose="020B0500000000000000" pitchFamily="34" charset="-122"/>
              <a:sym typeface="+mn-ea"/>
            </a:endParaRPr>
          </a:p>
        </p:txBody>
      </p:sp>
      <p:sp>
        <p:nvSpPr>
          <p:cNvPr id="75" name="矩形 74"/>
          <p:cNvSpPr/>
          <p:nvPr/>
        </p:nvSpPr>
        <p:spPr>
          <a:xfrm>
            <a:off x="6779260" y="2005965"/>
            <a:ext cx="3867785" cy="533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000" dirty="0" smtClean="0">
                <a:solidFill>
                  <a:schemeClr val="tx1"/>
                </a:solidFill>
                <a:sym typeface="+mn-ea"/>
              </a:rPr>
              <a:t>突破瓶颈：小样本数据挖掘</a:t>
            </a:r>
            <a:endParaRPr lang="zh-CN" altLang="en-US" sz="2000" dirty="0" smtClean="0">
              <a:solidFill>
                <a:schemeClr val="tx1"/>
              </a:solidFill>
              <a:sym typeface="+mn-ea"/>
            </a:endParaRPr>
          </a:p>
        </p:txBody>
      </p:sp>
      <p:sp>
        <p:nvSpPr>
          <p:cNvPr id="77" name="矩形 76"/>
          <p:cNvSpPr/>
          <p:nvPr/>
        </p:nvSpPr>
        <p:spPr>
          <a:xfrm>
            <a:off x="6779260" y="2956560"/>
            <a:ext cx="3867785" cy="533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000" dirty="0" smtClean="0">
                <a:solidFill>
                  <a:schemeClr val="tx1"/>
                </a:solidFill>
                <a:sym typeface="+mn-ea"/>
              </a:rPr>
              <a:t>解码行为：破局稀缺</a:t>
            </a:r>
            <a:r>
              <a:rPr lang="zh-CN" altLang="en-US" sz="2000" dirty="0" smtClean="0">
                <a:solidFill>
                  <a:schemeClr val="tx1"/>
                </a:solidFill>
                <a:sym typeface="+mn-ea"/>
              </a:rPr>
              <a:t>&amp;</a:t>
            </a:r>
            <a:r>
              <a:rPr lang="zh-CN" altLang="en-US" sz="2000" dirty="0" smtClean="0">
                <a:solidFill>
                  <a:schemeClr val="tx1"/>
                </a:solidFill>
                <a:sym typeface="+mn-ea"/>
              </a:rPr>
              <a:t>精选标签</a:t>
            </a:r>
            <a:endParaRPr lang="zh-CN" altLang="en-US" sz="2000" dirty="0" smtClean="0">
              <a:solidFill>
                <a:schemeClr val="tx1"/>
              </a:solidFill>
              <a:sym typeface="+mn-ea"/>
            </a:endParaRPr>
          </a:p>
        </p:txBody>
      </p:sp>
      <p:sp>
        <p:nvSpPr>
          <p:cNvPr id="2" name="椭圆 1"/>
          <p:cNvSpPr/>
          <p:nvPr/>
        </p:nvSpPr>
        <p:spPr>
          <a:xfrm>
            <a:off x="5882046" y="3918683"/>
            <a:ext cx="533400" cy="5334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lnSpc>
                <a:spcPct val="140000"/>
              </a:lnSpc>
              <a:buClrTx/>
              <a:buSzTx/>
              <a:buFontTx/>
            </a:pPr>
            <a:r>
              <a:rPr lang="en-US" altLang="zh-CN" sz="2000" b="1" smtClean="0">
                <a:latin typeface="+mj-lt"/>
                <a:ea typeface="Noto Sans S Chinese Regular" panose="020B0500000000000000" pitchFamily="34" charset="-122"/>
                <a:sym typeface="+mn-ea"/>
              </a:rPr>
              <a:t>4</a:t>
            </a:r>
            <a:endParaRPr lang="en-US" altLang="zh-CN" sz="2000" b="1" smtClean="0">
              <a:latin typeface="+mj-lt"/>
              <a:ea typeface="Noto Sans S Chinese Regular" panose="020B0500000000000000" pitchFamily="34" charset="-122"/>
              <a:sym typeface="+mn-ea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6779895" y="3907155"/>
            <a:ext cx="3867785" cy="533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000" dirty="0" smtClean="0">
                <a:solidFill>
                  <a:schemeClr val="tx1"/>
                </a:solidFill>
                <a:sym typeface="+mn-ea"/>
              </a:rPr>
              <a:t>实测胜算：AB实验测试效果</a:t>
            </a:r>
            <a:endParaRPr lang="zh-CN" altLang="en-US" sz="2000" dirty="0" smtClean="0">
              <a:solidFill>
                <a:schemeClr val="tx1"/>
              </a:solidFill>
              <a:sym typeface="+mn-ea"/>
            </a:endParaRPr>
          </a:p>
        </p:txBody>
      </p:sp>
      <p:sp>
        <p:nvSpPr>
          <p:cNvPr id="9" name="椭圆 8"/>
          <p:cNvSpPr/>
          <p:nvPr/>
        </p:nvSpPr>
        <p:spPr>
          <a:xfrm>
            <a:off x="5882046" y="4873088"/>
            <a:ext cx="533400" cy="533400"/>
          </a:xfrm>
          <a:prstGeom prst="ellipse">
            <a:avLst/>
          </a:prstGeom>
          <a:solidFill>
            <a:srgbClr val="FF66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lnSpc>
                <a:spcPct val="140000"/>
              </a:lnSpc>
              <a:buClrTx/>
              <a:buSzTx/>
              <a:buFontTx/>
            </a:pPr>
            <a:r>
              <a:rPr lang="en-US" altLang="zh-CN" sz="2000" b="1">
                <a:latin typeface="+mj-lt"/>
                <a:ea typeface="Noto Sans S Chinese Regular" panose="020B0500000000000000" pitchFamily="34" charset="-122"/>
                <a:sym typeface="+mn-ea"/>
              </a:rPr>
              <a:t>5</a:t>
            </a:r>
            <a:endParaRPr lang="en-US" altLang="zh-CN" sz="2000" b="1">
              <a:latin typeface="+mj-lt"/>
              <a:ea typeface="Noto Sans S Chinese Regular" panose="020B0500000000000000" pitchFamily="34" charset="-122"/>
              <a:sym typeface="+mn-ea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6779895" y="4857750"/>
            <a:ext cx="3867785" cy="533400"/>
          </a:xfrm>
          <a:prstGeom prst="rect">
            <a:avLst/>
          </a:prstGeom>
          <a:solidFill>
            <a:srgbClr val="FF66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000" b="1" dirty="0" smtClean="0">
                <a:solidFill>
                  <a:schemeClr val="bg1"/>
                </a:solidFill>
                <a:sym typeface="+mn-ea"/>
              </a:rPr>
              <a:t>解析风险：构建可解释的模型</a:t>
            </a:r>
            <a:endParaRPr lang="zh-CN" altLang="en-US" sz="2000" b="1" dirty="0" smtClean="0">
              <a:solidFill>
                <a:schemeClr val="bg1"/>
              </a:solidFill>
              <a:sym typeface="+mn-ea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直线连接符 3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/>
          <p:cNvCxnSpPr/>
          <p:nvPr/>
        </p:nvCxnSpPr>
        <p:spPr>
          <a:xfrm>
            <a:off x="725817" y="2640474"/>
            <a:ext cx="10591442" cy="0"/>
          </a:xfrm>
          <a:prstGeom prst="line">
            <a:avLst/>
          </a:prstGeom>
          <a:ln w="508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A_文本框 21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/>
          <p:cNvSpPr txBox="1"/>
          <p:nvPr>
            <p:custDataLst>
              <p:tags r:id="rId1"/>
            </p:custDataLst>
          </p:nvPr>
        </p:nvSpPr>
        <p:spPr>
          <a:xfrm>
            <a:off x="3824523" y="1777629"/>
            <a:ext cx="3849931" cy="46166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zh-CN"/>
            </a:defPPr>
            <a:lvl1pPr marL="12700" marR="0" lvl="0" indent="0" fontAlgn="auto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defRPr kumimoji="0" sz="2400" b="1" i="0" u="none" strike="noStrike" cap="none" spc="0" normalizeH="0" baseline="0">
                <a:ln>
                  <a:noFill/>
                </a:ln>
                <a:solidFill>
                  <a:srgbClr val="F05A23"/>
                </a:solidFill>
                <a:effectLst/>
                <a:uLnTx/>
                <a:uFillTx/>
                <a:latin typeface="Arial" panose="020B0604020202090204"/>
                <a:ea typeface="华文楷体" panose="02010600040101010101" pitchFamily="2" charset="-122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  <a:lvl6pPr>
              <a:defRPr>
                <a:latin typeface="+mn-lt"/>
                <a:ea typeface="+mn-ea"/>
                <a:cs typeface="+mn-cs"/>
              </a:defRPr>
            </a:lvl6pPr>
            <a:lvl7pPr>
              <a:defRPr>
                <a:latin typeface="+mn-lt"/>
                <a:ea typeface="+mn-ea"/>
                <a:cs typeface="+mn-cs"/>
              </a:defRPr>
            </a:lvl7pPr>
            <a:lvl8pPr>
              <a:defRPr>
                <a:latin typeface="+mn-lt"/>
                <a:ea typeface="+mn-ea"/>
                <a:cs typeface="+mn-cs"/>
              </a:defRPr>
            </a:lvl8pPr>
            <a:lvl9pPr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3200" dirty="0"/>
              <a:t>问一下</a:t>
            </a:r>
            <a:endParaRPr lang="zh-CN" altLang="en-US" sz="3200" dirty="0"/>
          </a:p>
        </p:txBody>
      </p:sp>
      <p:sp>
        <p:nvSpPr>
          <p:cNvPr id="3" name="e7d195523061f1c0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 hidden="1"/>
          <p:cNvSpPr txBox="1"/>
          <p:nvPr/>
        </p:nvSpPr>
        <p:spPr>
          <a:xfrm>
            <a:off x="-355600" y="1803400"/>
            <a:ext cx="26225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/>
              <a:t>e7d195523061f1c0d318120d6aeaf1b6ccceb6ba3da59c0775C5DE19DDDEBC09ED96DBD9900D9848D623ECAD1D4904B78047D0015C22C8BE97228BE8B5BFF08FE7A3AE04126DA07312A96C0F69F9BAB71A8D4487C13BBD21E3F9DE587F01A2EC9B24CE25FF0E9B2136662A47C8B58C275121A88EC20F5D58602B203067E5F6C927344A314878098B</a:t>
            </a:r>
            <a:endParaRPr lang="zh-CN" altLang="en-US" sz="100"/>
          </a:p>
        </p:txBody>
      </p:sp>
      <p:grpSp>
        <p:nvGrpSpPr>
          <p:cNvPr id="9" name="组合 8"/>
          <p:cNvGrpSpPr/>
          <p:nvPr/>
        </p:nvGrpSpPr>
        <p:grpSpPr>
          <a:xfrm>
            <a:off x="812799" y="551745"/>
            <a:ext cx="2344293" cy="1885528"/>
            <a:chOff x="3207781" y="1105990"/>
            <a:chExt cx="5776438" cy="4646020"/>
          </a:xfrm>
        </p:grpSpPr>
        <p:sp>
          <p:nvSpPr>
            <p:cNvPr id="10" name="任意多边形 4"/>
            <p:cNvSpPr/>
            <p:nvPr/>
          </p:nvSpPr>
          <p:spPr>
            <a:xfrm>
              <a:off x="3598883" y="5220505"/>
              <a:ext cx="5385336" cy="531505"/>
            </a:xfrm>
            <a:custGeom>
              <a:avLst/>
              <a:gdLst>
                <a:gd name="connsiteX0" fmla="*/ -514 w 4756429"/>
                <a:gd name="connsiteY0" fmla="*/ 234476 h 469435"/>
                <a:gd name="connsiteX1" fmla="*/ 2377732 w 4756429"/>
                <a:gd name="connsiteY1" fmla="*/ -210 h 469435"/>
                <a:gd name="connsiteX2" fmla="*/ 4755915 w 4756429"/>
                <a:gd name="connsiteY2" fmla="*/ 234476 h 469435"/>
                <a:gd name="connsiteX3" fmla="*/ 2377732 w 4756429"/>
                <a:gd name="connsiteY3" fmla="*/ 469226 h 469435"/>
                <a:gd name="connsiteX4" fmla="*/ -514 w 4756429"/>
                <a:gd name="connsiteY4" fmla="*/ 234476 h 469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56429" h="469435">
                  <a:moveTo>
                    <a:pt x="-514" y="234476"/>
                  </a:moveTo>
                  <a:cubicBezTo>
                    <a:pt x="-514" y="104871"/>
                    <a:pt x="1064277" y="-210"/>
                    <a:pt x="2377732" y="-210"/>
                  </a:cubicBezTo>
                  <a:cubicBezTo>
                    <a:pt x="3691187" y="-210"/>
                    <a:pt x="4755915" y="104871"/>
                    <a:pt x="4755915" y="234476"/>
                  </a:cubicBezTo>
                  <a:cubicBezTo>
                    <a:pt x="4755915" y="364081"/>
                    <a:pt x="3691187" y="469226"/>
                    <a:pt x="2377732" y="469226"/>
                  </a:cubicBezTo>
                  <a:cubicBezTo>
                    <a:pt x="1064277" y="469226"/>
                    <a:pt x="-514" y="364144"/>
                    <a:pt x="-514" y="234476"/>
                  </a:cubicBezTo>
                  <a:close/>
                </a:path>
              </a:pathLst>
            </a:custGeom>
            <a:solidFill>
              <a:srgbClr val="E8E8E8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 5"/>
            <p:cNvSpPr/>
            <p:nvPr/>
          </p:nvSpPr>
          <p:spPr>
            <a:xfrm>
              <a:off x="4313321" y="3382454"/>
              <a:ext cx="883608" cy="1118025"/>
            </a:xfrm>
            <a:custGeom>
              <a:avLst/>
              <a:gdLst>
                <a:gd name="connsiteX0" fmla="*/ 304303 w 780419"/>
                <a:gd name="connsiteY0" fmla="*/ 118570 h 987461"/>
                <a:gd name="connsiteX1" fmla="*/ 254240 w 780419"/>
                <a:gd name="connsiteY1" fmla="*/ 127782 h 987461"/>
                <a:gd name="connsiteX2" fmla="*/ 200428 w 780419"/>
                <a:gd name="connsiteY2" fmla="*/ 182038 h 987461"/>
                <a:gd name="connsiteX3" fmla="*/ 189374 w 780419"/>
                <a:gd name="connsiteY3" fmla="*/ 260437 h 987461"/>
                <a:gd name="connsiteX4" fmla="*/ 195727 w 780419"/>
                <a:gd name="connsiteY4" fmla="*/ 517740 h 987461"/>
                <a:gd name="connsiteX5" fmla="*/ 71395 w 780419"/>
                <a:gd name="connsiteY5" fmla="*/ 592835 h 987461"/>
                <a:gd name="connsiteX6" fmla="*/ 24001 w 780419"/>
                <a:gd name="connsiteY6" fmla="*/ 840164 h 987461"/>
                <a:gd name="connsiteX7" fmla="*/ 249411 w 780419"/>
                <a:gd name="connsiteY7" fmla="*/ 982284 h 987461"/>
                <a:gd name="connsiteX8" fmla="*/ 522597 w 780419"/>
                <a:gd name="connsiteY8" fmla="*/ 959286 h 987461"/>
                <a:gd name="connsiteX9" fmla="*/ 699597 w 780419"/>
                <a:gd name="connsiteY9" fmla="*/ 889401 h 987461"/>
                <a:gd name="connsiteX10" fmla="*/ 708555 w 780419"/>
                <a:gd name="connsiteY10" fmla="*/ 575617 h 987461"/>
                <a:gd name="connsiteX11" fmla="*/ 764082 w 780419"/>
                <a:gd name="connsiteY11" fmla="*/ 389088 h 987461"/>
                <a:gd name="connsiteX12" fmla="*/ 606968 w 780419"/>
                <a:gd name="connsiteY12" fmla="*/ 27466 h 987461"/>
                <a:gd name="connsiteX13" fmla="*/ 304303 w 780419"/>
                <a:gd name="connsiteY13" fmla="*/ 118761 h 987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80419" h="987461">
                  <a:moveTo>
                    <a:pt x="304303" y="118570"/>
                  </a:moveTo>
                  <a:cubicBezTo>
                    <a:pt x="307860" y="110184"/>
                    <a:pt x="258432" y="125940"/>
                    <a:pt x="254240" y="127782"/>
                  </a:cubicBezTo>
                  <a:cubicBezTo>
                    <a:pt x="230002" y="138284"/>
                    <a:pt x="210733" y="157712"/>
                    <a:pt x="200428" y="182038"/>
                  </a:cubicBezTo>
                  <a:cubicBezTo>
                    <a:pt x="191299" y="207108"/>
                    <a:pt x="187531" y="233817"/>
                    <a:pt x="189374" y="260437"/>
                  </a:cubicBezTo>
                  <a:cubicBezTo>
                    <a:pt x="191216" y="342393"/>
                    <a:pt x="253985" y="444679"/>
                    <a:pt x="195727" y="517740"/>
                  </a:cubicBezTo>
                  <a:cubicBezTo>
                    <a:pt x="165486" y="555478"/>
                    <a:pt x="111484" y="565706"/>
                    <a:pt x="71395" y="592835"/>
                  </a:cubicBezTo>
                  <a:cubicBezTo>
                    <a:pt x="-4843" y="644295"/>
                    <a:pt x="-20154" y="759351"/>
                    <a:pt x="24001" y="840164"/>
                  </a:cubicBezTo>
                  <a:cubicBezTo>
                    <a:pt x="68155" y="920976"/>
                    <a:pt x="158306" y="968752"/>
                    <a:pt x="249411" y="982284"/>
                  </a:cubicBezTo>
                  <a:cubicBezTo>
                    <a:pt x="340516" y="995816"/>
                    <a:pt x="433081" y="979552"/>
                    <a:pt x="522597" y="959286"/>
                  </a:cubicBezTo>
                  <a:cubicBezTo>
                    <a:pt x="584986" y="945182"/>
                    <a:pt x="648835" y="928092"/>
                    <a:pt x="699597" y="889401"/>
                  </a:cubicBezTo>
                  <a:cubicBezTo>
                    <a:pt x="819354" y="797724"/>
                    <a:pt x="763510" y="682986"/>
                    <a:pt x="708555" y="575617"/>
                  </a:cubicBezTo>
                  <a:cubicBezTo>
                    <a:pt x="673358" y="506876"/>
                    <a:pt x="736509" y="474475"/>
                    <a:pt x="764082" y="389088"/>
                  </a:cubicBezTo>
                  <a:cubicBezTo>
                    <a:pt x="813700" y="235469"/>
                    <a:pt x="742608" y="86360"/>
                    <a:pt x="606968" y="27466"/>
                  </a:cubicBezTo>
                  <a:cubicBezTo>
                    <a:pt x="384225" y="-69039"/>
                    <a:pt x="304747" y="117744"/>
                    <a:pt x="304303" y="118761"/>
                  </a:cubicBezTo>
                  <a:close/>
                </a:path>
              </a:pathLst>
            </a:custGeom>
            <a:solidFill>
              <a:srgbClr val="971D0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 6"/>
            <p:cNvSpPr/>
            <p:nvPr/>
          </p:nvSpPr>
          <p:spPr>
            <a:xfrm>
              <a:off x="4743753" y="3967018"/>
              <a:ext cx="251762" cy="311178"/>
            </a:xfrm>
            <a:custGeom>
              <a:avLst/>
              <a:gdLst>
                <a:gd name="connsiteX0" fmla="*/ 110730 w 222361"/>
                <a:gd name="connsiteY0" fmla="*/ 274628 h 274838"/>
                <a:gd name="connsiteX1" fmla="*/ 110730 w 222361"/>
                <a:gd name="connsiteY1" fmla="*/ 274628 h 274838"/>
                <a:gd name="connsiteX2" fmla="*/ -514 w 222361"/>
                <a:gd name="connsiteY2" fmla="*/ 126853 h 274838"/>
                <a:gd name="connsiteX3" fmla="*/ -514 w 222361"/>
                <a:gd name="connsiteY3" fmla="*/ -210 h 274838"/>
                <a:gd name="connsiteX4" fmla="*/ 221847 w 222361"/>
                <a:gd name="connsiteY4" fmla="*/ -210 h 274838"/>
                <a:gd name="connsiteX5" fmla="*/ 221847 w 222361"/>
                <a:gd name="connsiteY5" fmla="*/ 126853 h 274838"/>
                <a:gd name="connsiteX6" fmla="*/ 111937 w 222361"/>
                <a:gd name="connsiteY6" fmla="*/ 274628 h 274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2361" h="274838">
                  <a:moveTo>
                    <a:pt x="110730" y="274628"/>
                  </a:moveTo>
                  <a:lnTo>
                    <a:pt x="110730" y="274628"/>
                  </a:lnTo>
                  <a:cubicBezTo>
                    <a:pt x="49358" y="274628"/>
                    <a:pt x="-451" y="163639"/>
                    <a:pt x="-514" y="126853"/>
                  </a:cubicBezTo>
                  <a:lnTo>
                    <a:pt x="-514" y="-210"/>
                  </a:lnTo>
                  <a:lnTo>
                    <a:pt x="221847" y="-210"/>
                  </a:lnTo>
                  <a:lnTo>
                    <a:pt x="221847" y="126853"/>
                  </a:lnTo>
                  <a:cubicBezTo>
                    <a:pt x="221847" y="163448"/>
                    <a:pt x="172991" y="274438"/>
                    <a:pt x="111937" y="274628"/>
                  </a:cubicBez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 7"/>
            <p:cNvSpPr/>
            <p:nvPr/>
          </p:nvSpPr>
          <p:spPr>
            <a:xfrm>
              <a:off x="4572555" y="3764605"/>
              <a:ext cx="121406" cy="141542"/>
            </a:xfrm>
            <a:custGeom>
              <a:avLst/>
              <a:gdLst>
                <a:gd name="connsiteX0" fmla="*/ 77312 w 107228"/>
                <a:gd name="connsiteY0" fmla="*/ 27741 h 125013"/>
                <a:gd name="connsiteX1" fmla="*/ -514 w 107228"/>
                <a:gd name="connsiteY1" fmla="*/ 46801 h 125013"/>
                <a:gd name="connsiteX2" fmla="*/ 94783 w 107228"/>
                <a:gd name="connsiteY2" fmla="*/ 110332 h 125013"/>
                <a:gd name="connsiteX3" fmla="*/ 77312 w 107228"/>
                <a:gd name="connsiteY3" fmla="*/ 27741 h 125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228" h="125013">
                  <a:moveTo>
                    <a:pt x="77312" y="27741"/>
                  </a:moveTo>
                  <a:cubicBezTo>
                    <a:pt x="41226" y="-26515"/>
                    <a:pt x="-514" y="8364"/>
                    <a:pt x="-514" y="46801"/>
                  </a:cubicBezTo>
                  <a:cubicBezTo>
                    <a:pt x="-514" y="102073"/>
                    <a:pt x="60031" y="149722"/>
                    <a:pt x="94783" y="110332"/>
                  </a:cubicBezTo>
                  <a:cubicBezTo>
                    <a:pt x="129535" y="70943"/>
                    <a:pt x="77312" y="27741"/>
                    <a:pt x="77312" y="2774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 8"/>
            <p:cNvSpPr/>
            <p:nvPr/>
          </p:nvSpPr>
          <p:spPr>
            <a:xfrm>
              <a:off x="5034066" y="3764605"/>
              <a:ext cx="121425" cy="141542"/>
            </a:xfrm>
            <a:custGeom>
              <a:avLst/>
              <a:gdLst>
                <a:gd name="connsiteX0" fmla="*/ 28968 w 107245"/>
                <a:gd name="connsiteY0" fmla="*/ 27741 h 125013"/>
                <a:gd name="connsiteX1" fmla="*/ 106731 w 107245"/>
                <a:gd name="connsiteY1" fmla="*/ 46801 h 125013"/>
                <a:gd name="connsiteX2" fmla="*/ 11433 w 107245"/>
                <a:gd name="connsiteY2" fmla="*/ 110332 h 125013"/>
                <a:gd name="connsiteX3" fmla="*/ 28968 w 107245"/>
                <a:gd name="connsiteY3" fmla="*/ 27741 h 125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245" h="125013">
                  <a:moveTo>
                    <a:pt x="28968" y="27741"/>
                  </a:moveTo>
                  <a:cubicBezTo>
                    <a:pt x="64927" y="-26515"/>
                    <a:pt x="106731" y="8364"/>
                    <a:pt x="106731" y="46801"/>
                  </a:cubicBezTo>
                  <a:cubicBezTo>
                    <a:pt x="106731" y="102073"/>
                    <a:pt x="46249" y="149722"/>
                    <a:pt x="11433" y="110332"/>
                  </a:cubicBezTo>
                  <a:cubicBezTo>
                    <a:pt x="-23382" y="70943"/>
                    <a:pt x="28968" y="27741"/>
                    <a:pt x="28968" y="2774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 9"/>
            <p:cNvSpPr/>
            <p:nvPr/>
          </p:nvSpPr>
          <p:spPr>
            <a:xfrm>
              <a:off x="4636485" y="3571274"/>
              <a:ext cx="453974" cy="467243"/>
            </a:xfrm>
            <a:custGeom>
              <a:avLst/>
              <a:gdLst>
                <a:gd name="connsiteX0" fmla="*/ 199817 w 400958"/>
                <a:gd name="connsiteY0" fmla="*/ 412468 h 412678"/>
                <a:gd name="connsiteX1" fmla="*/ 6744 w 400958"/>
                <a:gd name="connsiteY1" fmla="*/ 98113 h 412678"/>
                <a:gd name="connsiteX2" fmla="*/ 393207 w 400958"/>
                <a:gd name="connsiteY2" fmla="*/ 98113 h 412678"/>
                <a:gd name="connsiteX3" fmla="*/ 199817 w 400958"/>
                <a:gd name="connsiteY3" fmla="*/ 412468 h 41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0958" h="412678">
                  <a:moveTo>
                    <a:pt x="199817" y="412468"/>
                  </a:moveTo>
                  <a:cubicBezTo>
                    <a:pt x="57569" y="412468"/>
                    <a:pt x="-26547" y="257387"/>
                    <a:pt x="6744" y="98113"/>
                  </a:cubicBezTo>
                  <a:cubicBezTo>
                    <a:pt x="34063" y="-33016"/>
                    <a:pt x="365762" y="-32953"/>
                    <a:pt x="393207" y="98113"/>
                  </a:cubicBezTo>
                  <a:cubicBezTo>
                    <a:pt x="426434" y="257387"/>
                    <a:pt x="342382" y="412595"/>
                    <a:pt x="199817" y="412468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 10"/>
            <p:cNvSpPr/>
            <p:nvPr/>
          </p:nvSpPr>
          <p:spPr>
            <a:xfrm>
              <a:off x="4757636" y="3487392"/>
              <a:ext cx="367502" cy="234313"/>
            </a:xfrm>
            <a:custGeom>
              <a:avLst/>
              <a:gdLst>
                <a:gd name="connsiteX0" fmla="*/ -514 w 324585"/>
                <a:gd name="connsiteY0" fmla="*/ 31541 h 206950"/>
                <a:gd name="connsiteX1" fmla="*/ 303231 w 324585"/>
                <a:gd name="connsiteY1" fmla="*/ 198693 h 206950"/>
                <a:gd name="connsiteX2" fmla="*/ 184045 w 324585"/>
                <a:gd name="connsiteY2" fmla="*/ 21757 h 206950"/>
                <a:gd name="connsiteX3" fmla="*/ -514 w 324585"/>
                <a:gd name="connsiteY3" fmla="*/ 31541 h 206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585" h="206950">
                  <a:moveTo>
                    <a:pt x="-514" y="31541"/>
                  </a:moveTo>
                  <a:cubicBezTo>
                    <a:pt x="-514" y="165911"/>
                    <a:pt x="253612" y="230650"/>
                    <a:pt x="303231" y="198693"/>
                  </a:cubicBezTo>
                  <a:cubicBezTo>
                    <a:pt x="352849" y="166737"/>
                    <a:pt x="314158" y="52951"/>
                    <a:pt x="184045" y="21757"/>
                  </a:cubicBezTo>
                  <a:cubicBezTo>
                    <a:pt x="53932" y="-9437"/>
                    <a:pt x="-197" y="-8484"/>
                    <a:pt x="-514" y="31541"/>
                  </a:cubicBezTo>
                  <a:close/>
                </a:path>
              </a:pathLst>
            </a:custGeom>
            <a:solidFill>
              <a:srgbClr val="971D0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 11"/>
            <p:cNvSpPr/>
            <p:nvPr/>
          </p:nvSpPr>
          <p:spPr>
            <a:xfrm>
              <a:off x="4592900" y="3508707"/>
              <a:ext cx="173053" cy="238281"/>
            </a:xfrm>
            <a:custGeom>
              <a:avLst/>
              <a:gdLst>
                <a:gd name="connsiteX0" fmla="*/ 145428 w 152844"/>
                <a:gd name="connsiteY0" fmla="*/ 11762 h 210454"/>
                <a:gd name="connsiteX1" fmla="*/ 38759 w 152844"/>
                <a:gd name="connsiteY1" fmla="*/ 209790 h 210454"/>
                <a:gd name="connsiteX2" fmla="*/ 27704 w 152844"/>
                <a:gd name="connsiteY2" fmla="*/ 78089 h 210454"/>
                <a:gd name="connsiteX3" fmla="*/ 145428 w 152844"/>
                <a:gd name="connsiteY3" fmla="*/ 11762 h 210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844" h="210454">
                  <a:moveTo>
                    <a:pt x="145428" y="11762"/>
                  </a:moveTo>
                  <a:cubicBezTo>
                    <a:pt x="177703" y="76501"/>
                    <a:pt x="89076" y="219320"/>
                    <a:pt x="38759" y="209790"/>
                  </a:cubicBezTo>
                  <a:cubicBezTo>
                    <a:pt x="-11559" y="200261"/>
                    <a:pt x="-11622" y="144416"/>
                    <a:pt x="27704" y="78089"/>
                  </a:cubicBezTo>
                  <a:cubicBezTo>
                    <a:pt x="67030" y="11762"/>
                    <a:pt x="130117" y="-18987"/>
                    <a:pt x="145428" y="11762"/>
                  </a:cubicBezTo>
                  <a:close/>
                </a:path>
              </a:pathLst>
            </a:custGeom>
            <a:solidFill>
              <a:srgbClr val="971D0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 12"/>
            <p:cNvSpPr/>
            <p:nvPr/>
          </p:nvSpPr>
          <p:spPr>
            <a:xfrm>
              <a:off x="3612370" y="4281731"/>
              <a:ext cx="915035" cy="627652"/>
            </a:xfrm>
            <a:custGeom>
              <a:avLst/>
              <a:gdLst>
                <a:gd name="connsiteX0" fmla="*/ 797158 w 808176"/>
                <a:gd name="connsiteY0" fmla="*/ 72207 h 554354"/>
                <a:gd name="connsiteX1" fmla="*/ 561011 w 808176"/>
                <a:gd name="connsiteY1" fmla="*/ 325698 h 554354"/>
                <a:gd name="connsiteX2" fmla="*/ 47611 w 808176"/>
                <a:gd name="connsiteY2" fmla="*/ 553523 h 554354"/>
                <a:gd name="connsiteX3" fmla="*/ 47611 w 808176"/>
                <a:gd name="connsiteY3" fmla="*/ 451110 h 554354"/>
                <a:gd name="connsiteX4" fmla="*/ 496844 w 808176"/>
                <a:gd name="connsiteY4" fmla="*/ 243743 h 554354"/>
                <a:gd name="connsiteX5" fmla="*/ 650844 w 808176"/>
                <a:gd name="connsiteY5" fmla="*/ 90123 h 554354"/>
                <a:gd name="connsiteX6" fmla="*/ 699637 w 808176"/>
                <a:gd name="connsiteY6" fmla="*/ 36375 h 554354"/>
                <a:gd name="connsiteX7" fmla="*/ 709866 w 808176"/>
                <a:gd name="connsiteY7" fmla="*/ 18459 h 554354"/>
                <a:gd name="connsiteX8" fmla="*/ 709866 w 808176"/>
                <a:gd name="connsiteY8" fmla="*/ 21000 h 554354"/>
                <a:gd name="connsiteX9" fmla="*/ 797158 w 808176"/>
                <a:gd name="connsiteY9" fmla="*/ 72207 h 554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8176" h="554354">
                  <a:moveTo>
                    <a:pt x="797158" y="72207"/>
                  </a:moveTo>
                  <a:cubicBezTo>
                    <a:pt x="727280" y="164525"/>
                    <a:pt x="648151" y="249460"/>
                    <a:pt x="561011" y="325698"/>
                  </a:cubicBezTo>
                  <a:cubicBezTo>
                    <a:pt x="422385" y="446027"/>
                    <a:pt x="242717" y="563752"/>
                    <a:pt x="47611" y="553523"/>
                  </a:cubicBezTo>
                  <a:cubicBezTo>
                    <a:pt x="-16556" y="548377"/>
                    <a:pt x="-16556" y="446027"/>
                    <a:pt x="47611" y="451110"/>
                  </a:cubicBezTo>
                  <a:cubicBezTo>
                    <a:pt x="219591" y="461339"/>
                    <a:pt x="376197" y="351302"/>
                    <a:pt x="496844" y="243743"/>
                  </a:cubicBezTo>
                  <a:cubicBezTo>
                    <a:pt x="553323" y="197682"/>
                    <a:pt x="602052" y="143871"/>
                    <a:pt x="650844" y="90123"/>
                  </a:cubicBezTo>
                  <a:cubicBezTo>
                    <a:pt x="668824" y="72207"/>
                    <a:pt x="684199" y="54291"/>
                    <a:pt x="699637" y="36375"/>
                  </a:cubicBezTo>
                  <a:cubicBezTo>
                    <a:pt x="703589" y="30727"/>
                    <a:pt x="707013" y="24730"/>
                    <a:pt x="709866" y="18459"/>
                  </a:cubicBezTo>
                  <a:cubicBezTo>
                    <a:pt x="717553" y="10772"/>
                    <a:pt x="702178" y="31165"/>
                    <a:pt x="709866" y="21000"/>
                  </a:cubicBezTo>
                  <a:cubicBezTo>
                    <a:pt x="748366" y="-30206"/>
                    <a:pt x="838199" y="21000"/>
                    <a:pt x="797158" y="72207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 13"/>
            <p:cNvSpPr/>
            <p:nvPr/>
          </p:nvSpPr>
          <p:spPr>
            <a:xfrm>
              <a:off x="5248839" y="3957542"/>
              <a:ext cx="415701" cy="712692"/>
            </a:xfrm>
            <a:custGeom>
              <a:avLst/>
              <a:gdLst>
                <a:gd name="connsiteX0" fmla="*/ 90290 w 367155"/>
                <a:gd name="connsiteY0" fmla="*/ 275691 h 629463"/>
                <a:gd name="connsiteX1" fmla="*/ 229361 w 367155"/>
                <a:gd name="connsiteY1" fmla="*/ 451738 h 629463"/>
                <a:gd name="connsiteX2" fmla="*/ 246959 w 367155"/>
                <a:gd name="connsiteY2" fmla="*/ 471877 h 629463"/>
                <a:gd name="connsiteX3" fmla="*/ 201979 w 367155"/>
                <a:gd name="connsiteY3" fmla="*/ 211016 h 629463"/>
                <a:gd name="connsiteX4" fmla="*/ 194292 w 367155"/>
                <a:gd name="connsiteY4" fmla="*/ 113241 h 629463"/>
                <a:gd name="connsiteX5" fmla="*/ 298420 w 367155"/>
                <a:gd name="connsiteY5" fmla="*/ 6952 h 629463"/>
                <a:gd name="connsiteX6" fmla="*/ 340732 w 367155"/>
                <a:gd name="connsiteY6" fmla="*/ 100280 h 629463"/>
                <a:gd name="connsiteX7" fmla="*/ 314748 w 367155"/>
                <a:gd name="connsiteY7" fmla="*/ 117624 h 629463"/>
                <a:gd name="connsiteX8" fmla="*/ 294544 w 367155"/>
                <a:gd name="connsiteY8" fmla="*/ 135286 h 629463"/>
                <a:gd name="connsiteX9" fmla="*/ 296006 w 367155"/>
                <a:gd name="connsiteY9" fmla="*/ 157077 h 629463"/>
                <a:gd name="connsiteX10" fmla="*/ 320402 w 367155"/>
                <a:gd name="connsiteY10" fmla="*/ 297927 h 629463"/>
                <a:gd name="connsiteX11" fmla="*/ 354518 w 367155"/>
                <a:gd name="connsiteY11" fmla="*/ 572194 h 629463"/>
                <a:gd name="connsiteX12" fmla="*/ 268560 w 367155"/>
                <a:gd name="connsiteY12" fmla="*/ 625243 h 629463"/>
                <a:gd name="connsiteX13" fmla="*/ 170785 w 367155"/>
                <a:gd name="connsiteY13" fmla="*/ 540237 h 629463"/>
                <a:gd name="connsiteX14" fmla="*/ 9668 w 367155"/>
                <a:gd name="connsiteY14" fmla="*/ 340176 h 629463"/>
                <a:gd name="connsiteX15" fmla="*/ 90290 w 367155"/>
                <a:gd name="connsiteY15" fmla="*/ 275437 h 629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67155" h="629463">
                  <a:moveTo>
                    <a:pt x="90290" y="275691"/>
                  </a:moveTo>
                  <a:cubicBezTo>
                    <a:pt x="134762" y="336999"/>
                    <a:pt x="181013" y="394877"/>
                    <a:pt x="229361" y="451738"/>
                  </a:cubicBezTo>
                  <a:cubicBezTo>
                    <a:pt x="235714" y="459997"/>
                    <a:pt x="241432" y="465969"/>
                    <a:pt x="246959" y="471877"/>
                  </a:cubicBezTo>
                  <a:cubicBezTo>
                    <a:pt x="235460" y="384267"/>
                    <a:pt x="213478" y="298626"/>
                    <a:pt x="201979" y="211016"/>
                  </a:cubicBezTo>
                  <a:cubicBezTo>
                    <a:pt x="196325" y="179822"/>
                    <a:pt x="189273" y="146277"/>
                    <a:pt x="194292" y="113241"/>
                  </a:cubicBezTo>
                  <a:cubicBezTo>
                    <a:pt x="199692" y="62923"/>
                    <a:pt x="258395" y="30649"/>
                    <a:pt x="298420" y="6952"/>
                  </a:cubicBezTo>
                  <a:cubicBezTo>
                    <a:pt x="353692" y="-26593"/>
                    <a:pt x="396068" y="66735"/>
                    <a:pt x="340732" y="100280"/>
                  </a:cubicBezTo>
                  <a:cubicBezTo>
                    <a:pt x="351342" y="92593"/>
                    <a:pt x="319449" y="115528"/>
                    <a:pt x="314748" y="117624"/>
                  </a:cubicBezTo>
                  <a:cubicBezTo>
                    <a:pt x="304138" y="125311"/>
                    <a:pt x="296705" y="139924"/>
                    <a:pt x="294544" y="135286"/>
                  </a:cubicBezTo>
                  <a:cubicBezTo>
                    <a:pt x="294544" y="141004"/>
                    <a:pt x="296451" y="145642"/>
                    <a:pt x="296006" y="157077"/>
                  </a:cubicBezTo>
                  <a:cubicBezTo>
                    <a:pt x="303375" y="204409"/>
                    <a:pt x="310682" y="251740"/>
                    <a:pt x="320402" y="297927"/>
                  </a:cubicBezTo>
                  <a:cubicBezTo>
                    <a:pt x="335523" y="381090"/>
                    <a:pt x="369321" y="486744"/>
                    <a:pt x="354518" y="572194"/>
                  </a:cubicBezTo>
                  <a:cubicBezTo>
                    <a:pt x="348165" y="614442"/>
                    <a:pt x="311698" y="639474"/>
                    <a:pt x="268560" y="625243"/>
                  </a:cubicBezTo>
                  <a:cubicBezTo>
                    <a:pt x="230124" y="608915"/>
                    <a:pt x="198358" y="569906"/>
                    <a:pt x="170785" y="540237"/>
                  </a:cubicBezTo>
                  <a:cubicBezTo>
                    <a:pt x="113695" y="476343"/>
                    <a:pt x="59922" y="409571"/>
                    <a:pt x="9668" y="340176"/>
                  </a:cubicBezTo>
                  <a:cubicBezTo>
                    <a:pt x="-28451" y="287127"/>
                    <a:pt x="49821" y="223468"/>
                    <a:pt x="90290" y="275437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 14"/>
            <p:cNvSpPr/>
            <p:nvPr/>
          </p:nvSpPr>
          <p:spPr>
            <a:xfrm>
              <a:off x="4494869" y="4089375"/>
              <a:ext cx="731188" cy="915335"/>
            </a:xfrm>
            <a:custGeom>
              <a:avLst/>
              <a:gdLst>
                <a:gd name="connsiteX0" fmla="*/ -514 w 645799"/>
                <a:gd name="connsiteY0" fmla="*/ 61416 h 808441"/>
                <a:gd name="connsiteX1" fmla="*/ 219877 w 645799"/>
                <a:gd name="connsiteY1" fmla="*/ -210 h 808441"/>
                <a:gd name="connsiteX2" fmla="*/ 333662 w 645799"/>
                <a:gd name="connsiteY2" fmla="*/ 71263 h 808441"/>
                <a:gd name="connsiteX3" fmla="*/ 441666 w 645799"/>
                <a:gd name="connsiteY3" fmla="*/ -210 h 808441"/>
                <a:gd name="connsiteX4" fmla="*/ 481564 w 645799"/>
                <a:gd name="connsiteY4" fmla="*/ 3475 h 808441"/>
                <a:gd name="connsiteX5" fmla="*/ 625527 w 645799"/>
                <a:gd name="connsiteY5" fmla="*/ 23360 h 808441"/>
                <a:gd name="connsiteX6" fmla="*/ 637598 w 645799"/>
                <a:gd name="connsiteY6" fmla="*/ 333459 h 808441"/>
                <a:gd name="connsiteX7" fmla="*/ 645285 w 645799"/>
                <a:gd name="connsiteY7" fmla="*/ 792920 h 808441"/>
                <a:gd name="connsiteX8" fmla="*/ 384488 w 645799"/>
                <a:gd name="connsiteY8" fmla="*/ 808231 h 808441"/>
                <a:gd name="connsiteX9" fmla="*/ 20006 w 645799"/>
                <a:gd name="connsiteY9" fmla="*/ 792920 h 808441"/>
                <a:gd name="connsiteX10" fmla="*/ 27694 w 645799"/>
                <a:gd name="connsiteY10" fmla="*/ 333459 h 808441"/>
                <a:gd name="connsiteX11" fmla="*/ -514 w 645799"/>
                <a:gd name="connsiteY11" fmla="*/ 61416 h 808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45799" h="808441">
                  <a:moveTo>
                    <a:pt x="-514" y="61416"/>
                  </a:moveTo>
                  <a:lnTo>
                    <a:pt x="219877" y="-210"/>
                  </a:lnTo>
                  <a:cubicBezTo>
                    <a:pt x="235252" y="69103"/>
                    <a:pt x="308250" y="71263"/>
                    <a:pt x="333662" y="71263"/>
                  </a:cubicBezTo>
                  <a:cubicBezTo>
                    <a:pt x="365428" y="71263"/>
                    <a:pt x="426292" y="69103"/>
                    <a:pt x="441666" y="-210"/>
                  </a:cubicBezTo>
                  <a:lnTo>
                    <a:pt x="481564" y="3475"/>
                  </a:lnTo>
                  <a:cubicBezTo>
                    <a:pt x="594142" y="14085"/>
                    <a:pt x="625527" y="23360"/>
                    <a:pt x="625527" y="23360"/>
                  </a:cubicBezTo>
                  <a:cubicBezTo>
                    <a:pt x="597382" y="336508"/>
                    <a:pt x="658436" y="258428"/>
                    <a:pt x="637598" y="333459"/>
                  </a:cubicBezTo>
                  <a:cubicBezTo>
                    <a:pt x="581436" y="535045"/>
                    <a:pt x="645285" y="792920"/>
                    <a:pt x="645285" y="792920"/>
                  </a:cubicBezTo>
                  <a:cubicBezTo>
                    <a:pt x="543317" y="808231"/>
                    <a:pt x="455770" y="808231"/>
                    <a:pt x="384488" y="808231"/>
                  </a:cubicBezTo>
                  <a:cubicBezTo>
                    <a:pt x="17401" y="808231"/>
                    <a:pt x="20006" y="792920"/>
                    <a:pt x="20006" y="792920"/>
                  </a:cubicBezTo>
                  <a:cubicBezTo>
                    <a:pt x="20006" y="792920"/>
                    <a:pt x="85889" y="477866"/>
                    <a:pt x="27694" y="333459"/>
                  </a:cubicBezTo>
                  <a:cubicBezTo>
                    <a:pt x="2281" y="269927"/>
                    <a:pt x="-514" y="61416"/>
                    <a:pt x="-514" y="61416"/>
                  </a:cubicBezTo>
                  <a:close/>
                </a:path>
              </a:pathLst>
            </a:custGeom>
            <a:solidFill>
              <a:srgbClr val="BE5ED3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 15"/>
            <p:cNvSpPr/>
            <p:nvPr/>
          </p:nvSpPr>
          <p:spPr>
            <a:xfrm>
              <a:off x="4736560" y="4414867"/>
              <a:ext cx="302114" cy="302114"/>
            </a:xfrm>
            <a:custGeom>
              <a:avLst/>
              <a:gdLst>
                <a:gd name="connsiteX0" fmla="*/ 266833 w 266833"/>
                <a:gd name="connsiteY0" fmla="*/ 133417 h 266833"/>
                <a:gd name="connsiteX1" fmla="*/ 133417 w 266833"/>
                <a:gd name="connsiteY1" fmla="*/ 266833 h 266833"/>
                <a:gd name="connsiteX2" fmla="*/ 0 w 266833"/>
                <a:gd name="connsiteY2" fmla="*/ 133417 h 266833"/>
                <a:gd name="connsiteX3" fmla="*/ 133417 w 266833"/>
                <a:gd name="connsiteY3" fmla="*/ 0 h 266833"/>
                <a:gd name="connsiteX4" fmla="*/ 266833 w 266833"/>
                <a:gd name="connsiteY4" fmla="*/ 133417 h 2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833" h="266833">
                  <a:moveTo>
                    <a:pt x="266833" y="133417"/>
                  </a:moveTo>
                  <a:cubicBezTo>
                    <a:pt x="266833" y="207101"/>
                    <a:pt x="207101" y="266833"/>
                    <a:pt x="133417" y="266833"/>
                  </a:cubicBezTo>
                  <a:cubicBezTo>
                    <a:pt x="59733" y="266833"/>
                    <a:pt x="0" y="207101"/>
                    <a:pt x="0" y="133417"/>
                  </a:cubicBezTo>
                  <a:cubicBezTo>
                    <a:pt x="0" y="59733"/>
                    <a:pt x="59733" y="0"/>
                    <a:pt x="133417" y="0"/>
                  </a:cubicBezTo>
                  <a:cubicBezTo>
                    <a:pt x="207101" y="0"/>
                    <a:pt x="266833" y="59733"/>
                    <a:pt x="266833" y="133417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 16"/>
            <p:cNvSpPr/>
            <p:nvPr/>
          </p:nvSpPr>
          <p:spPr>
            <a:xfrm>
              <a:off x="4808492" y="4501185"/>
              <a:ext cx="28772" cy="57545"/>
            </a:xfrm>
            <a:custGeom>
              <a:avLst/>
              <a:gdLst>
                <a:gd name="connsiteX0" fmla="*/ 25413 w 25412"/>
                <a:gd name="connsiteY0" fmla="*/ 25413 h 50825"/>
                <a:gd name="connsiteX1" fmla="*/ 12706 w 25412"/>
                <a:gd name="connsiteY1" fmla="*/ 50825 h 50825"/>
                <a:gd name="connsiteX2" fmla="*/ 0 w 25412"/>
                <a:gd name="connsiteY2" fmla="*/ 25413 h 50825"/>
                <a:gd name="connsiteX3" fmla="*/ 12706 w 25412"/>
                <a:gd name="connsiteY3" fmla="*/ 0 h 50825"/>
                <a:gd name="connsiteX4" fmla="*/ 25413 w 25412"/>
                <a:gd name="connsiteY4" fmla="*/ 25413 h 50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12" h="50825">
                  <a:moveTo>
                    <a:pt x="25413" y="25413"/>
                  </a:moveTo>
                  <a:cubicBezTo>
                    <a:pt x="25413" y="39448"/>
                    <a:pt x="19724" y="50825"/>
                    <a:pt x="12706" y="50825"/>
                  </a:cubicBezTo>
                  <a:cubicBezTo>
                    <a:pt x="5689" y="50825"/>
                    <a:pt x="0" y="39448"/>
                    <a:pt x="0" y="25413"/>
                  </a:cubicBezTo>
                  <a:cubicBezTo>
                    <a:pt x="0" y="11378"/>
                    <a:pt x="5689" y="0"/>
                    <a:pt x="12706" y="0"/>
                  </a:cubicBezTo>
                  <a:cubicBezTo>
                    <a:pt x="19724" y="0"/>
                    <a:pt x="25413" y="11378"/>
                    <a:pt x="25413" y="25413"/>
                  </a:cubicBez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 17"/>
            <p:cNvSpPr/>
            <p:nvPr/>
          </p:nvSpPr>
          <p:spPr>
            <a:xfrm>
              <a:off x="4937970" y="4501185"/>
              <a:ext cx="28772" cy="57545"/>
            </a:xfrm>
            <a:custGeom>
              <a:avLst/>
              <a:gdLst>
                <a:gd name="connsiteX0" fmla="*/ 25413 w 25412"/>
                <a:gd name="connsiteY0" fmla="*/ 25413 h 50825"/>
                <a:gd name="connsiteX1" fmla="*/ 12706 w 25412"/>
                <a:gd name="connsiteY1" fmla="*/ 50825 h 50825"/>
                <a:gd name="connsiteX2" fmla="*/ 0 w 25412"/>
                <a:gd name="connsiteY2" fmla="*/ 25413 h 50825"/>
                <a:gd name="connsiteX3" fmla="*/ 12706 w 25412"/>
                <a:gd name="connsiteY3" fmla="*/ 0 h 50825"/>
                <a:gd name="connsiteX4" fmla="*/ 25413 w 25412"/>
                <a:gd name="connsiteY4" fmla="*/ 25413 h 50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12" h="50825">
                  <a:moveTo>
                    <a:pt x="25413" y="25413"/>
                  </a:moveTo>
                  <a:cubicBezTo>
                    <a:pt x="25413" y="39448"/>
                    <a:pt x="19724" y="50825"/>
                    <a:pt x="12706" y="50825"/>
                  </a:cubicBezTo>
                  <a:cubicBezTo>
                    <a:pt x="5689" y="50825"/>
                    <a:pt x="0" y="39448"/>
                    <a:pt x="0" y="25413"/>
                  </a:cubicBezTo>
                  <a:cubicBezTo>
                    <a:pt x="0" y="11378"/>
                    <a:pt x="5689" y="0"/>
                    <a:pt x="12706" y="0"/>
                  </a:cubicBezTo>
                  <a:cubicBezTo>
                    <a:pt x="19724" y="0"/>
                    <a:pt x="25413" y="11378"/>
                    <a:pt x="25413" y="25413"/>
                  </a:cubicBez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 18"/>
            <p:cNvSpPr/>
            <p:nvPr/>
          </p:nvSpPr>
          <p:spPr>
            <a:xfrm>
              <a:off x="4809355" y="4601890"/>
              <a:ext cx="156524" cy="64640"/>
            </a:xfrm>
            <a:custGeom>
              <a:avLst/>
              <a:gdLst>
                <a:gd name="connsiteX0" fmla="*/ -514 w 138245"/>
                <a:gd name="connsiteY0" fmla="*/ -210 h 57091"/>
                <a:gd name="connsiteX1" fmla="*/ 81924 w 138245"/>
                <a:gd name="connsiteY1" fmla="*/ 55596 h 57091"/>
                <a:gd name="connsiteX2" fmla="*/ 137731 w 138245"/>
                <a:gd name="connsiteY2" fmla="*/ -210 h 57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8245" h="57091">
                  <a:moveTo>
                    <a:pt x="-514" y="-210"/>
                  </a:moveTo>
                  <a:cubicBezTo>
                    <a:pt x="6836" y="37966"/>
                    <a:pt x="43748" y="62953"/>
                    <a:pt x="81924" y="55596"/>
                  </a:cubicBezTo>
                  <a:cubicBezTo>
                    <a:pt x="110183" y="50152"/>
                    <a:pt x="132286" y="28055"/>
                    <a:pt x="137731" y="-210"/>
                  </a:cubicBezTo>
                  <a:close/>
                </a:path>
              </a:pathLst>
            </a:custGeom>
            <a:solidFill>
              <a:srgbClr val="E27AA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 19"/>
            <p:cNvSpPr/>
            <p:nvPr/>
          </p:nvSpPr>
          <p:spPr>
            <a:xfrm>
              <a:off x="4509837" y="4987374"/>
              <a:ext cx="724245" cy="307437"/>
            </a:xfrm>
            <a:custGeom>
              <a:avLst/>
              <a:gdLst>
                <a:gd name="connsiteX0" fmla="*/ 6214 w 639667"/>
                <a:gd name="connsiteY0" fmla="*/ -210 h 271534"/>
                <a:gd name="connsiteX1" fmla="*/ 632637 w 639667"/>
                <a:gd name="connsiteY1" fmla="*/ -210 h 271534"/>
                <a:gd name="connsiteX2" fmla="*/ 537657 w 639667"/>
                <a:gd name="connsiteY2" fmla="*/ 271325 h 271534"/>
                <a:gd name="connsiteX3" fmla="*/ 101194 w 639667"/>
                <a:gd name="connsiteY3" fmla="*/ 271325 h 271534"/>
                <a:gd name="connsiteX4" fmla="*/ 5897 w 639667"/>
                <a:gd name="connsiteY4" fmla="*/ -210 h 271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9667" h="271534">
                  <a:moveTo>
                    <a:pt x="6214" y="-210"/>
                  </a:moveTo>
                  <a:cubicBezTo>
                    <a:pt x="295029" y="15101"/>
                    <a:pt x="632637" y="-210"/>
                    <a:pt x="632637" y="-210"/>
                  </a:cubicBezTo>
                  <a:cubicBezTo>
                    <a:pt x="632637" y="-210"/>
                    <a:pt x="676283" y="271325"/>
                    <a:pt x="537657" y="271325"/>
                  </a:cubicBezTo>
                  <a:lnTo>
                    <a:pt x="101194" y="271325"/>
                  </a:lnTo>
                  <a:cubicBezTo>
                    <a:pt x="-37432" y="271325"/>
                    <a:pt x="5897" y="-210"/>
                    <a:pt x="5897" y="-210"/>
                  </a:cubicBez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 20"/>
            <p:cNvSpPr/>
            <p:nvPr/>
          </p:nvSpPr>
          <p:spPr>
            <a:xfrm>
              <a:off x="5524719" y="5246473"/>
              <a:ext cx="230304" cy="183920"/>
            </a:xfrm>
            <a:custGeom>
              <a:avLst/>
              <a:gdLst>
                <a:gd name="connsiteX0" fmla="*/ 27630 w 203409"/>
                <a:gd name="connsiteY0" fmla="*/ -210 h 162442"/>
                <a:gd name="connsiteX1" fmla="*/ 202787 w 203409"/>
                <a:gd name="connsiteY1" fmla="*/ 97057 h 162442"/>
                <a:gd name="connsiteX2" fmla="*/ -514 w 203409"/>
                <a:gd name="connsiteY2" fmla="*/ 161034 h 162442"/>
                <a:gd name="connsiteX3" fmla="*/ 27630 w 203409"/>
                <a:gd name="connsiteY3" fmla="*/ -210 h 162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3409" h="162442">
                  <a:moveTo>
                    <a:pt x="27630" y="-210"/>
                  </a:moveTo>
                  <a:cubicBezTo>
                    <a:pt x="27630" y="-210"/>
                    <a:pt x="207933" y="20247"/>
                    <a:pt x="202787" y="97057"/>
                  </a:cubicBezTo>
                  <a:cubicBezTo>
                    <a:pt x="200246" y="176408"/>
                    <a:pt x="-514" y="161034"/>
                    <a:pt x="-514" y="161034"/>
                  </a:cubicBezTo>
                  <a:lnTo>
                    <a:pt x="27630" y="-210"/>
                  </a:ln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 21"/>
            <p:cNvSpPr/>
            <p:nvPr/>
          </p:nvSpPr>
          <p:spPr>
            <a:xfrm>
              <a:off x="4100646" y="5006258"/>
              <a:ext cx="1488236" cy="437236"/>
            </a:xfrm>
            <a:custGeom>
              <a:avLst/>
              <a:gdLst>
                <a:gd name="connsiteX0" fmla="*/ 1313924 w 1314438"/>
                <a:gd name="connsiteY0" fmla="*/ 208966 h 386175"/>
                <a:gd name="connsiteX1" fmla="*/ 2820 w 1314438"/>
                <a:gd name="connsiteY1" fmla="*/ 90797 h 386175"/>
                <a:gd name="connsiteX2" fmla="*/ 1293403 w 1314438"/>
                <a:gd name="connsiteY2" fmla="*/ 385966 h 386175"/>
                <a:gd name="connsiteX3" fmla="*/ 1313924 w 1314438"/>
                <a:gd name="connsiteY3" fmla="*/ 208712 h 386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4438" h="386175">
                  <a:moveTo>
                    <a:pt x="1313924" y="208966"/>
                  </a:moveTo>
                  <a:cubicBezTo>
                    <a:pt x="1313924" y="208966"/>
                    <a:pt x="82361" y="-168603"/>
                    <a:pt x="2820" y="90797"/>
                  </a:cubicBezTo>
                  <a:cubicBezTo>
                    <a:pt x="-76722" y="347847"/>
                    <a:pt x="1293403" y="385966"/>
                    <a:pt x="1293403" y="385966"/>
                  </a:cubicBezTo>
                  <a:lnTo>
                    <a:pt x="1313924" y="208712"/>
                  </a:lnTo>
                  <a:close/>
                </a:path>
              </a:pathLst>
            </a:custGeom>
            <a:solidFill>
              <a:srgbClr val="1E216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 22"/>
            <p:cNvSpPr/>
            <p:nvPr/>
          </p:nvSpPr>
          <p:spPr>
            <a:xfrm>
              <a:off x="4002665" y="5286755"/>
              <a:ext cx="235837" cy="184637"/>
            </a:xfrm>
            <a:custGeom>
              <a:avLst/>
              <a:gdLst>
                <a:gd name="connsiteX0" fmla="*/ 169282 w 208296"/>
                <a:gd name="connsiteY0" fmla="*/ -210 h 163075"/>
                <a:gd name="connsiteX1" fmla="*/ -94 w 208296"/>
                <a:gd name="connsiteY1" fmla="*/ 109382 h 163075"/>
                <a:gd name="connsiteX2" fmla="*/ 207782 w 208296"/>
                <a:gd name="connsiteY2" fmla="*/ 157857 h 163075"/>
                <a:gd name="connsiteX3" fmla="*/ 169282 w 208296"/>
                <a:gd name="connsiteY3" fmla="*/ -210 h 163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8296" h="163075">
                  <a:moveTo>
                    <a:pt x="169282" y="-210"/>
                  </a:moveTo>
                  <a:cubicBezTo>
                    <a:pt x="169282" y="-210"/>
                    <a:pt x="-10322" y="32890"/>
                    <a:pt x="-94" y="109382"/>
                  </a:cubicBezTo>
                  <a:cubicBezTo>
                    <a:pt x="10135" y="185874"/>
                    <a:pt x="207782" y="157857"/>
                    <a:pt x="207782" y="157857"/>
                  </a:cubicBezTo>
                  <a:lnTo>
                    <a:pt x="169282" y="-210"/>
                  </a:ln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 23"/>
            <p:cNvSpPr/>
            <p:nvPr/>
          </p:nvSpPr>
          <p:spPr>
            <a:xfrm>
              <a:off x="4163334" y="4959760"/>
              <a:ext cx="1475212" cy="524448"/>
            </a:xfrm>
            <a:custGeom>
              <a:avLst/>
              <a:gdLst>
                <a:gd name="connsiteX0" fmla="*/ -514 w 1302935"/>
                <a:gd name="connsiteY0" fmla="*/ 288407 h 463202"/>
                <a:gd name="connsiteX1" fmla="*/ 1297439 w 1302935"/>
                <a:gd name="connsiteY1" fmla="*/ 75449 h 463202"/>
                <a:gd name="connsiteX2" fmla="*/ 30298 w 1302935"/>
                <a:gd name="connsiteY2" fmla="*/ 462992 h 463202"/>
                <a:gd name="connsiteX3" fmla="*/ -514 w 1302935"/>
                <a:gd name="connsiteY3" fmla="*/ 288535 h 463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2935" h="463202">
                  <a:moveTo>
                    <a:pt x="-514" y="288407"/>
                  </a:moveTo>
                  <a:cubicBezTo>
                    <a:pt x="-514" y="288407"/>
                    <a:pt x="1197376" y="-178551"/>
                    <a:pt x="1297439" y="75449"/>
                  </a:cubicBezTo>
                  <a:cubicBezTo>
                    <a:pt x="1394896" y="326908"/>
                    <a:pt x="30298" y="462992"/>
                    <a:pt x="30298" y="462992"/>
                  </a:cubicBezTo>
                  <a:lnTo>
                    <a:pt x="-514" y="288535"/>
                  </a:lnTo>
                  <a:close/>
                </a:path>
              </a:pathLst>
            </a:custGeom>
            <a:solidFill>
              <a:srgbClr val="2A3072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 24"/>
            <p:cNvSpPr/>
            <p:nvPr/>
          </p:nvSpPr>
          <p:spPr>
            <a:xfrm>
              <a:off x="4197069" y="4159220"/>
              <a:ext cx="334881" cy="457055"/>
            </a:xfrm>
            <a:custGeom>
              <a:avLst/>
              <a:gdLst>
                <a:gd name="connsiteX0" fmla="*/ 262507 w 295773"/>
                <a:gd name="connsiteY0" fmla="*/ -210 h 403680"/>
                <a:gd name="connsiteX1" fmla="*/ -514 w 295773"/>
                <a:gd name="connsiteY1" fmla="*/ 206522 h 403680"/>
                <a:gd name="connsiteX2" fmla="*/ 151962 w 295773"/>
                <a:gd name="connsiteY2" fmla="*/ 403470 h 403680"/>
                <a:gd name="connsiteX3" fmla="*/ 290969 w 295773"/>
                <a:gd name="connsiteY3" fmla="*/ 272468 h 403680"/>
                <a:gd name="connsiteX4" fmla="*/ 262507 w 295773"/>
                <a:gd name="connsiteY4" fmla="*/ -210 h 403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5773" h="403680">
                  <a:moveTo>
                    <a:pt x="262507" y="-210"/>
                  </a:moveTo>
                  <a:cubicBezTo>
                    <a:pt x="262507" y="-210"/>
                    <a:pt x="113843" y="47693"/>
                    <a:pt x="-514" y="206522"/>
                  </a:cubicBezTo>
                  <a:lnTo>
                    <a:pt x="151962" y="403470"/>
                  </a:lnTo>
                  <a:cubicBezTo>
                    <a:pt x="151962" y="403470"/>
                    <a:pt x="278326" y="317766"/>
                    <a:pt x="290969" y="272468"/>
                  </a:cubicBezTo>
                  <a:cubicBezTo>
                    <a:pt x="309393" y="206395"/>
                    <a:pt x="262507" y="-210"/>
                    <a:pt x="262507" y="-210"/>
                  </a:cubicBezTo>
                  <a:close/>
                </a:path>
              </a:pathLst>
            </a:custGeom>
            <a:solidFill>
              <a:srgbClr val="BE5ED3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 25"/>
            <p:cNvSpPr/>
            <p:nvPr/>
          </p:nvSpPr>
          <p:spPr>
            <a:xfrm>
              <a:off x="5168201" y="4116061"/>
              <a:ext cx="316452" cy="449862"/>
            </a:xfrm>
            <a:custGeom>
              <a:avLst/>
              <a:gdLst>
                <a:gd name="connsiteX0" fmla="*/ 30827 w 279496"/>
                <a:gd name="connsiteY0" fmla="*/ -210 h 397327"/>
                <a:gd name="connsiteX1" fmla="*/ 278982 w 279496"/>
                <a:gd name="connsiteY1" fmla="*/ 203092 h 397327"/>
                <a:gd name="connsiteX2" fmla="*/ 134892 w 279496"/>
                <a:gd name="connsiteY2" fmla="*/ 397117 h 397327"/>
                <a:gd name="connsiteX3" fmla="*/ 3508 w 279496"/>
                <a:gd name="connsiteY3" fmla="*/ 268148 h 397327"/>
                <a:gd name="connsiteX4" fmla="*/ 30827 w 279496"/>
                <a:gd name="connsiteY4" fmla="*/ -210 h 397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9496" h="397327">
                  <a:moveTo>
                    <a:pt x="30827" y="-210"/>
                  </a:moveTo>
                  <a:cubicBezTo>
                    <a:pt x="30827" y="-210"/>
                    <a:pt x="161575" y="21899"/>
                    <a:pt x="278982" y="203092"/>
                  </a:cubicBezTo>
                  <a:lnTo>
                    <a:pt x="134892" y="397117"/>
                  </a:lnTo>
                  <a:cubicBezTo>
                    <a:pt x="134892" y="397117"/>
                    <a:pt x="15452" y="312747"/>
                    <a:pt x="3508" y="268148"/>
                  </a:cubicBezTo>
                  <a:cubicBezTo>
                    <a:pt x="-13899" y="203155"/>
                    <a:pt x="30827" y="-210"/>
                    <a:pt x="30827" y="-210"/>
                  </a:cubicBezTo>
                  <a:close/>
                </a:path>
              </a:pathLst>
            </a:custGeom>
            <a:solidFill>
              <a:srgbClr val="BE5ED3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 26"/>
            <p:cNvSpPr/>
            <p:nvPr/>
          </p:nvSpPr>
          <p:spPr>
            <a:xfrm>
              <a:off x="3207781" y="3560975"/>
              <a:ext cx="1486066" cy="1759003"/>
            </a:xfrm>
            <a:custGeom>
              <a:avLst/>
              <a:gdLst>
                <a:gd name="connsiteX0" fmla="*/ 933471 w 1312521"/>
                <a:gd name="connsiteY0" fmla="*/ 872704 h 1553585"/>
                <a:gd name="connsiteX1" fmla="*/ 1030738 w 1312521"/>
                <a:gd name="connsiteY1" fmla="*/ 1006121 h 1553585"/>
                <a:gd name="connsiteX2" fmla="*/ 1002848 w 1312521"/>
                <a:gd name="connsiteY2" fmla="*/ 1177656 h 1553585"/>
                <a:gd name="connsiteX3" fmla="*/ 831211 w 1312521"/>
                <a:gd name="connsiteY3" fmla="*/ 1152962 h 1553585"/>
                <a:gd name="connsiteX4" fmla="*/ 830677 w 1312521"/>
                <a:gd name="connsiteY4" fmla="*/ 1152244 h 1553585"/>
                <a:gd name="connsiteX5" fmla="*/ 674897 w 1312521"/>
                <a:gd name="connsiteY5" fmla="*/ 940874 h 1553585"/>
                <a:gd name="connsiteX6" fmla="*/ 674008 w 1312521"/>
                <a:gd name="connsiteY6" fmla="*/ 935220 h 1553585"/>
                <a:gd name="connsiteX7" fmla="*/ 669942 w 1312521"/>
                <a:gd name="connsiteY7" fmla="*/ 931217 h 1553585"/>
                <a:gd name="connsiteX8" fmla="*/ 695354 w 1312521"/>
                <a:gd name="connsiteY8" fmla="*/ 758792 h 1553585"/>
                <a:gd name="connsiteX9" fmla="*/ 761046 w 1312521"/>
                <a:gd name="connsiteY9" fmla="*/ 359495 h 1553585"/>
                <a:gd name="connsiteX10" fmla="*/ 364075 w 1312521"/>
                <a:gd name="connsiteY10" fmla="*/ 301001 h 1553585"/>
                <a:gd name="connsiteX11" fmla="*/ 362321 w 1312521"/>
                <a:gd name="connsiteY11" fmla="*/ 302316 h 1553585"/>
                <a:gd name="connsiteX12" fmla="*/ 248727 w 1312521"/>
                <a:gd name="connsiteY12" fmla="*/ 557015 h 1553585"/>
                <a:gd name="connsiteX13" fmla="*/ 137946 w 1312521"/>
                <a:gd name="connsiteY13" fmla="*/ 696670 h 1553585"/>
                <a:gd name="connsiteX14" fmla="*/ 136910 w 1312521"/>
                <a:gd name="connsiteY14" fmla="*/ 696785 h 1553585"/>
                <a:gd name="connsiteX15" fmla="*/ 2668 w 1312521"/>
                <a:gd name="connsiteY15" fmla="*/ 586557 h 1553585"/>
                <a:gd name="connsiteX16" fmla="*/ 216389 w 1312521"/>
                <a:gd name="connsiteY16" fmla="*/ 102509 h 1553585"/>
                <a:gd name="connsiteX17" fmla="*/ 960282 w 1312521"/>
                <a:gd name="connsiteY17" fmla="*/ 215786 h 1553585"/>
                <a:gd name="connsiteX18" fmla="*/ 933471 w 1312521"/>
                <a:gd name="connsiteY18" fmla="*/ 872704 h 1553585"/>
                <a:gd name="connsiteX19" fmla="*/ 1259071 w 1312521"/>
                <a:gd name="connsiteY19" fmla="*/ 1318824 h 1553585"/>
                <a:gd name="connsiteX20" fmla="*/ 1287153 w 1312521"/>
                <a:gd name="connsiteY20" fmla="*/ 1357388 h 1553585"/>
                <a:gd name="connsiteX21" fmla="*/ 1259199 w 1312521"/>
                <a:gd name="connsiteY21" fmla="*/ 1528923 h 1553585"/>
                <a:gd name="connsiteX22" fmla="*/ 1087644 w 1312521"/>
                <a:gd name="connsiteY22" fmla="*/ 1504260 h 1553585"/>
                <a:gd name="connsiteX23" fmla="*/ 1087091 w 1312521"/>
                <a:gd name="connsiteY23" fmla="*/ 1503511 h 1553585"/>
                <a:gd name="connsiteX24" fmla="*/ 1061678 w 1312521"/>
                <a:gd name="connsiteY24" fmla="*/ 1465391 h 1553585"/>
                <a:gd name="connsiteX25" fmla="*/ 1087091 w 1312521"/>
                <a:gd name="connsiteY25" fmla="*/ 1292967 h 1553585"/>
                <a:gd name="connsiteX26" fmla="*/ 1259199 w 1312521"/>
                <a:gd name="connsiteY26" fmla="*/ 1318379 h 1553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312521" h="1553585">
                  <a:moveTo>
                    <a:pt x="933471" y="872704"/>
                  </a:moveTo>
                  <a:lnTo>
                    <a:pt x="1030738" y="1006121"/>
                  </a:lnTo>
                  <a:cubicBezTo>
                    <a:pt x="1071971" y="1062410"/>
                    <a:pt x="1061551" y="1137187"/>
                    <a:pt x="1002848" y="1177656"/>
                  </a:cubicBezTo>
                  <a:cubicBezTo>
                    <a:pt x="948630" y="1218234"/>
                    <a:pt x="871788" y="1207179"/>
                    <a:pt x="831211" y="1152962"/>
                  </a:cubicBezTo>
                  <a:cubicBezTo>
                    <a:pt x="831033" y="1152720"/>
                    <a:pt x="830855" y="1152485"/>
                    <a:pt x="830677" y="1152244"/>
                  </a:cubicBezTo>
                  <a:lnTo>
                    <a:pt x="674897" y="940874"/>
                  </a:lnTo>
                  <a:cubicBezTo>
                    <a:pt x="673246" y="937633"/>
                    <a:pt x="676486" y="935982"/>
                    <a:pt x="674008" y="935220"/>
                  </a:cubicBezTo>
                  <a:cubicBezTo>
                    <a:pt x="671530" y="934457"/>
                    <a:pt x="671594" y="934457"/>
                    <a:pt x="669942" y="931217"/>
                  </a:cubicBezTo>
                  <a:cubicBezTo>
                    <a:pt x="630362" y="878168"/>
                    <a:pt x="642369" y="798499"/>
                    <a:pt x="695354" y="758792"/>
                  </a:cubicBezTo>
                  <a:cubicBezTo>
                    <a:pt x="824769" y="665400"/>
                    <a:pt x="855010" y="486495"/>
                    <a:pt x="761046" y="359495"/>
                  </a:cubicBezTo>
                  <a:cubicBezTo>
                    <a:pt x="667578" y="233721"/>
                    <a:pt x="489849" y="207534"/>
                    <a:pt x="364075" y="301001"/>
                  </a:cubicBezTo>
                  <a:cubicBezTo>
                    <a:pt x="363490" y="301439"/>
                    <a:pt x="362906" y="301878"/>
                    <a:pt x="362321" y="302316"/>
                  </a:cubicBezTo>
                  <a:cubicBezTo>
                    <a:pt x="281636" y="360797"/>
                    <a:pt x="238326" y="457912"/>
                    <a:pt x="248727" y="557015"/>
                  </a:cubicBezTo>
                  <a:cubicBezTo>
                    <a:pt x="256700" y="626169"/>
                    <a:pt x="207101" y="688697"/>
                    <a:pt x="137946" y="696670"/>
                  </a:cubicBezTo>
                  <a:cubicBezTo>
                    <a:pt x="137603" y="696708"/>
                    <a:pt x="137254" y="696747"/>
                    <a:pt x="136910" y="696785"/>
                  </a:cubicBezTo>
                  <a:cubicBezTo>
                    <a:pt x="68106" y="701741"/>
                    <a:pt x="9847" y="656252"/>
                    <a:pt x="2668" y="586557"/>
                  </a:cubicBezTo>
                  <a:cubicBezTo>
                    <a:pt x="-18056" y="398554"/>
                    <a:pt x="63493" y="213855"/>
                    <a:pt x="216389" y="102509"/>
                  </a:cubicBezTo>
                  <a:cubicBezTo>
                    <a:pt x="453375" y="-70456"/>
                    <a:pt x="785519" y="-19878"/>
                    <a:pt x="960282" y="215786"/>
                  </a:cubicBezTo>
                  <a:cubicBezTo>
                    <a:pt x="1106405" y="415975"/>
                    <a:pt x="1089251" y="688017"/>
                    <a:pt x="933471" y="872704"/>
                  </a:cubicBezTo>
                  <a:close/>
                  <a:moveTo>
                    <a:pt x="1259071" y="1318824"/>
                  </a:moveTo>
                  <a:lnTo>
                    <a:pt x="1287153" y="1357388"/>
                  </a:lnTo>
                  <a:cubicBezTo>
                    <a:pt x="1328321" y="1413677"/>
                    <a:pt x="1317902" y="1488454"/>
                    <a:pt x="1259199" y="1528923"/>
                  </a:cubicBezTo>
                  <a:cubicBezTo>
                    <a:pt x="1205012" y="1569488"/>
                    <a:pt x="1128209" y="1558440"/>
                    <a:pt x="1087644" y="1504260"/>
                  </a:cubicBezTo>
                  <a:cubicBezTo>
                    <a:pt x="1087460" y="1504013"/>
                    <a:pt x="1087275" y="1503758"/>
                    <a:pt x="1087091" y="1503511"/>
                  </a:cubicBezTo>
                  <a:lnTo>
                    <a:pt x="1061678" y="1465391"/>
                  </a:lnTo>
                  <a:cubicBezTo>
                    <a:pt x="1019684" y="1411517"/>
                    <a:pt x="1034106" y="1332610"/>
                    <a:pt x="1087091" y="1292967"/>
                  </a:cubicBezTo>
                  <a:cubicBezTo>
                    <a:pt x="1141671" y="1252592"/>
                    <a:pt x="1218621" y="1263958"/>
                    <a:pt x="1259199" y="1318379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 27"/>
            <p:cNvSpPr/>
            <p:nvPr/>
          </p:nvSpPr>
          <p:spPr>
            <a:xfrm>
              <a:off x="6164723" y="1962102"/>
              <a:ext cx="703194" cy="564027"/>
            </a:xfrm>
            <a:custGeom>
              <a:avLst/>
              <a:gdLst>
                <a:gd name="connsiteX0" fmla="*/ 577794 w 621074"/>
                <a:gd name="connsiteY0" fmla="*/ 416455 h 498159"/>
                <a:gd name="connsiteX1" fmla="*/ 538976 w 621074"/>
                <a:gd name="connsiteY1" fmla="*/ 192061 h 498159"/>
                <a:gd name="connsiteX2" fmla="*/ 398317 w 621074"/>
                <a:gd name="connsiteY2" fmla="*/ 31135 h 498159"/>
                <a:gd name="connsiteX3" fmla="*/ 10265 w 621074"/>
                <a:gd name="connsiteY3" fmla="*/ 121159 h 498159"/>
                <a:gd name="connsiteX4" fmla="*/ 38156 w 621074"/>
                <a:gd name="connsiteY4" fmla="*/ 265504 h 498159"/>
                <a:gd name="connsiteX5" fmla="*/ 65983 w 621074"/>
                <a:gd name="connsiteY5" fmla="*/ 440152 h 498159"/>
                <a:gd name="connsiteX6" fmla="*/ 577794 w 621074"/>
                <a:gd name="connsiteY6" fmla="*/ 416455 h 498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1074" h="498159">
                  <a:moveTo>
                    <a:pt x="577794" y="416455"/>
                  </a:moveTo>
                  <a:cubicBezTo>
                    <a:pt x="667819" y="254576"/>
                    <a:pt x="596536" y="161629"/>
                    <a:pt x="538976" y="192061"/>
                  </a:cubicBezTo>
                  <a:cubicBezTo>
                    <a:pt x="538976" y="192061"/>
                    <a:pt x="530399" y="91617"/>
                    <a:pt x="398317" y="31135"/>
                  </a:cubicBezTo>
                  <a:cubicBezTo>
                    <a:pt x="245841" y="-38750"/>
                    <a:pt x="48893" y="15633"/>
                    <a:pt x="10265" y="121159"/>
                  </a:cubicBezTo>
                  <a:cubicBezTo>
                    <a:pt x="-25186" y="218554"/>
                    <a:pt x="38156" y="265504"/>
                    <a:pt x="38156" y="265504"/>
                  </a:cubicBezTo>
                  <a:cubicBezTo>
                    <a:pt x="38156" y="265504"/>
                    <a:pt x="-1043" y="335388"/>
                    <a:pt x="65983" y="440152"/>
                  </a:cubicBezTo>
                  <a:cubicBezTo>
                    <a:pt x="133009" y="544916"/>
                    <a:pt x="537515" y="488945"/>
                    <a:pt x="577794" y="416455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 28"/>
            <p:cNvSpPr/>
            <p:nvPr/>
          </p:nvSpPr>
          <p:spPr>
            <a:xfrm>
              <a:off x="6390997" y="2695691"/>
              <a:ext cx="273341" cy="276362"/>
            </a:xfrm>
            <a:custGeom>
              <a:avLst/>
              <a:gdLst>
                <a:gd name="connsiteX0" fmla="*/ 120196 w 241420"/>
                <a:gd name="connsiteY0" fmla="*/ 243879 h 244088"/>
                <a:gd name="connsiteX1" fmla="*/ 120196 w 241420"/>
                <a:gd name="connsiteY1" fmla="*/ 243879 h 244088"/>
                <a:gd name="connsiteX2" fmla="*/ -514 w 241420"/>
                <a:gd name="connsiteY2" fmla="*/ 160017 h 244088"/>
                <a:gd name="connsiteX3" fmla="*/ -514 w 241420"/>
                <a:gd name="connsiteY3" fmla="*/ -210 h 244088"/>
                <a:gd name="connsiteX4" fmla="*/ 240906 w 241420"/>
                <a:gd name="connsiteY4" fmla="*/ -210 h 244088"/>
                <a:gd name="connsiteX5" fmla="*/ 240906 w 241420"/>
                <a:gd name="connsiteY5" fmla="*/ 160335 h 244088"/>
                <a:gd name="connsiteX6" fmla="*/ 120958 w 241420"/>
                <a:gd name="connsiteY6" fmla="*/ 243752 h 244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1420" h="244088">
                  <a:moveTo>
                    <a:pt x="120196" y="243879"/>
                  </a:moveTo>
                  <a:lnTo>
                    <a:pt x="120196" y="243879"/>
                  </a:lnTo>
                  <a:cubicBezTo>
                    <a:pt x="53551" y="243879"/>
                    <a:pt x="-514" y="206332"/>
                    <a:pt x="-514" y="160017"/>
                  </a:cubicBezTo>
                  <a:lnTo>
                    <a:pt x="-514" y="-210"/>
                  </a:lnTo>
                  <a:lnTo>
                    <a:pt x="240906" y="-210"/>
                  </a:lnTo>
                  <a:lnTo>
                    <a:pt x="240906" y="160335"/>
                  </a:lnTo>
                  <a:cubicBezTo>
                    <a:pt x="240906" y="206395"/>
                    <a:pt x="187222" y="243752"/>
                    <a:pt x="120958" y="243752"/>
                  </a:cubicBez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 29"/>
            <p:cNvSpPr/>
            <p:nvPr/>
          </p:nvSpPr>
          <p:spPr>
            <a:xfrm>
              <a:off x="6190954" y="2434905"/>
              <a:ext cx="140645" cy="163868"/>
            </a:xfrm>
            <a:custGeom>
              <a:avLst/>
              <a:gdLst>
                <a:gd name="connsiteX0" fmla="*/ 89827 w 124220"/>
                <a:gd name="connsiteY0" fmla="*/ 32284 h 144731"/>
                <a:gd name="connsiteX1" fmla="*/ -514 w 124220"/>
                <a:gd name="connsiteY1" fmla="*/ 54139 h 144731"/>
                <a:gd name="connsiteX2" fmla="*/ 109904 w 124220"/>
                <a:gd name="connsiteY2" fmla="*/ 127518 h 144731"/>
                <a:gd name="connsiteX3" fmla="*/ 89827 w 124220"/>
                <a:gd name="connsiteY3" fmla="*/ 32221 h 14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220" h="144731">
                  <a:moveTo>
                    <a:pt x="89827" y="32284"/>
                  </a:moveTo>
                  <a:cubicBezTo>
                    <a:pt x="47960" y="-30739"/>
                    <a:pt x="-514" y="9730"/>
                    <a:pt x="-514" y="54139"/>
                  </a:cubicBezTo>
                  <a:cubicBezTo>
                    <a:pt x="-514" y="118306"/>
                    <a:pt x="69752" y="173579"/>
                    <a:pt x="109904" y="127518"/>
                  </a:cubicBezTo>
                  <a:cubicBezTo>
                    <a:pt x="150056" y="81458"/>
                    <a:pt x="89827" y="32221"/>
                    <a:pt x="89827" y="3222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 30"/>
            <p:cNvSpPr/>
            <p:nvPr/>
          </p:nvSpPr>
          <p:spPr>
            <a:xfrm>
              <a:off x="6727091" y="2434905"/>
              <a:ext cx="140816" cy="163868"/>
            </a:xfrm>
            <a:custGeom>
              <a:avLst/>
              <a:gdLst>
                <a:gd name="connsiteX0" fmla="*/ 33579 w 124371"/>
                <a:gd name="connsiteY0" fmla="*/ 32284 h 144731"/>
                <a:gd name="connsiteX1" fmla="*/ 123857 w 124371"/>
                <a:gd name="connsiteY1" fmla="*/ 54139 h 144731"/>
                <a:gd name="connsiteX2" fmla="*/ 13439 w 124371"/>
                <a:gd name="connsiteY2" fmla="*/ 127518 h 144731"/>
                <a:gd name="connsiteX3" fmla="*/ 33579 w 124371"/>
                <a:gd name="connsiteY3" fmla="*/ 32221 h 14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371" h="144731">
                  <a:moveTo>
                    <a:pt x="33579" y="32284"/>
                  </a:moveTo>
                  <a:cubicBezTo>
                    <a:pt x="75319" y="-30739"/>
                    <a:pt x="123857" y="9730"/>
                    <a:pt x="123857" y="54139"/>
                  </a:cubicBezTo>
                  <a:cubicBezTo>
                    <a:pt x="123857" y="118306"/>
                    <a:pt x="53972" y="173579"/>
                    <a:pt x="13439" y="127518"/>
                  </a:cubicBezTo>
                  <a:cubicBezTo>
                    <a:pt x="-27095" y="81458"/>
                    <a:pt x="33579" y="32221"/>
                    <a:pt x="33579" y="3222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 31"/>
            <p:cNvSpPr/>
            <p:nvPr/>
          </p:nvSpPr>
          <p:spPr>
            <a:xfrm>
              <a:off x="6265196" y="2209296"/>
              <a:ext cx="527030" cy="543940"/>
            </a:xfrm>
            <a:custGeom>
              <a:avLst/>
              <a:gdLst>
                <a:gd name="connsiteX0" fmla="*/ 232068 w 465483"/>
                <a:gd name="connsiteY0" fmla="*/ 480209 h 480418"/>
                <a:gd name="connsiteX1" fmla="*/ 7928 w 465483"/>
                <a:gd name="connsiteY1" fmla="*/ 114266 h 480418"/>
                <a:gd name="connsiteX2" fmla="*/ 456589 w 465483"/>
                <a:gd name="connsiteY2" fmla="*/ 114266 h 480418"/>
                <a:gd name="connsiteX3" fmla="*/ 232068 w 465483"/>
                <a:gd name="connsiteY3" fmla="*/ 480209 h 480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5483" h="480418">
                  <a:moveTo>
                    <a:pt x="232068" y="480209"/>
                  </a:moveTo>
                  <a:cubicBezTo>
                    <a:pt x="66886" y="480209"/>
                    <a:pt x="-30763" y="299588"/>
                    <a:pt x="7928" y="114266"/>
                  </a:cubicBezTo>
                  <a:cubicBezTo>
                    <a:pt x="39694" y="-38527"/>
                    <a:pt x="424696" y="-38210"/>
                    <a:pt x="456589" y="114266"/>
                  </a:cubicBezTo>
                  <a:cubicBezTo>
                    <a:pt x="495153" y="299588"/>
                    <a:pt x="397251" y="480209"/>
                    <a:pt x="232068" y="480209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 32"/>
            <p:cNvSpPr/>
            <p:nvPr/>
          </p:nvSpPr>
          <p:spPr>
            <a:xfrm>
              <a:off x="6255890" y="2082565"/>
              <a:ext cx="448236" cy="230262"/>
            </a:xfrm>
            <a:custGeom>
              <a:avLst/>
              <a:gdLst>
                <a:gd name="connsiteX0" fmla="*/ 386663 w 395890"/>
                <a:gd name="connsiteY0" fmla="*/ 112221 h 203372"/>
                <a:gd name="connsiteX1" fmla="*/ 250388 w 395890"/>
                <a:gd name="connsiteY1" fmla="*/ 153708 h 203372"/>
                <a:gd name="connsiteX2" fmla="*/ 94799 w 395890"/>
                <a:gd name="connsiteY2" fmla="*/ 202246 h 203372"/>
                <a:gd name="connsiteX3" fmla="*/ 66146 w 395890"/>
                <a:gd name="connsiteY3" fmla="*/ 31028 h 203372"/>
                <a:gd name="connsiteX4" fmla="*/ 386663 w 395890"/>
                <a:gd name="connsiteY4" fmla="*/ 112221 h 203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5890" h="203372">
                  <a:moveTo>
                    <a:pt x="386663" y="112221"/>
                  </a:moveTo>
                  <a:cubicBezTo>
                    <a:pt x="344034" y="208472"/>
                    <a:pt x="250388" y="153708"/>
                    <a:pt x="250388" y="153708"/>
                  </a:cubicBezTo>
                  <a:cubicBezTo>
                    <a:pt x="207091" y="190022"/>
                    <a:pt x="151062" y="207500"/>
                    <a:pt x="94799" y="202246"/>
                  </a:cubicBezTo>
                  <a:cubicBezTo>
                    <a:pt x="581" y="192970"/>
                    <a:pt x="-48592" y="79439"/>
                    <a:pt x="66146" y="31028"/>
                  </a:cubicBezTo>
                  <a:cubicBezTo>
                    <a:pt x="180884" y="-17383"/>
                    <a:pt x="446701" y="-22784"/>
                    <a:pt x="386663" y="112221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 33"/>
            <p:cNvSpPr/>
            <p:nvPr/>
          </p:nvSpPr>
          <p:spPr>
            <a:xfrm>
              <a:off x="5999615" y="5296537"/>
              <a:ext cx="484830" cy="136671"/>
            </a:xfrm>
            <a:custGeom>
              <a:avLst/>
              <a:gdLst>
                <a:gd name="connsiteX0" fmla="*/ 415046 w 428211"/>
                <a:gd name="connsiteY0" fmla="*/ -210 h 120710"/>
                <a:gd name="connsiteX1" fmla="*/ 150755 w 428211"/>
                <a:gd name="connsiteY1" fmla="*/ -210 h 120710"/>
                <a:gd name="connsiteX2" fmla="*/ -514 w 428211"/>
                <a:gd name="connsiteY2" fmla="*/ 107794 h 120710"/>
                <a:gd name="connsiteX3" fmla="*/ -514 w 428211"/>
                <a:gd name="connsiteY3" fmla="*/ 120500 h 120710"/>
                <a:gd name="connsiteX4" fmla="*/ 425148 w 428211"/>
                <a:gd name="connsiteY4" fmla="*/ 120500 h 120710"/>
                <a:gd name="connsiteX5" fmla="*/ 414856 w 428211"/>
                <a:gd name="connsiteY5" fmla="*/ -210 h 120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8211" h="120710">
                  <a:moveTo>
                    <a:pt x="415046" y="-210"/>
                  </a:moveTo>
                  <a:lnTo>
                    <a:pt x="150755" y="-210"/>
                  </a:lnTo>
                  <a:cubicBezTo>
                    <a:pt x="150755" y="-210"/>
                    <a:pt x="14924" y="76981"/>
                    <a:pt x="-514" y="107794"/>
                  </a:cubicBezTo>
                  <a:lnTo>
                    <a:pt x="-514" y="120500"/>
                  </a:lnTo>
                  <a:lnTo>
                    <a:pt x="425148" y="120500"/>
                  </a:lnTo>
                  <a:cubicBezTo>
                    <a:pt x="425148" y="120500"/>
                    <a:pt x="435377" y="30412"/>
                    <a:pt x="414856" y="-210"/>
                  </a:cubicBezTo>
                  <a:close/>
                </a:path>
              </a:pathLst>
            </a:custGeom>
            <a:solidFill>
              <a:srgbClr val="00065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 34"/>
            <p:cNvSpPr/>
            <p:nvPr/>
          </p:nvSpPr>
          <p:spPr>
            <a:xfrm>
              <a:off x="5999255" y="5433496"/>
              <a:ext cx="483023" cy="22802"/>
            </a:xfrm>
            <a:custGeom>
              <a:avLst/>
              <a:gdLst>
                <a:gd name="connsiteX0" fmla="*/ 426615 w 426615"/>
                <a:gd name="connsiteY0" fmla="*/ 0 h 20139"/>
                <a:gd name="connsiteX1" fmla="*/ 0 w 426615"/>
                <a:gd name="connsiteY1" fmla="*/ 0 h 20139"/>
                <a:gd name="connsiteX2" fmla="*/ 0 w 426615"/>
                <a:gd name="connsiteY2" fmla="*/ 20140 h 20139"/>
                <a:gd name="connsiteX3" fmla="*/ 426615 w 426615"/>
                <a:gd name="connsiteY3" fmla="*/ 20140 h 20139"/>
                <a:gd name="connsiteX4" fmla="*/ 426615 w 426615"/>
                <a:gd name="connsiteY4" fmla="*/ 0 h 20139"/>
                <a:gd name="connsiteX5" fmla="*/ 426615 w 426615"/>
                <a:gd name="connsiteY5" fmla="*/ 0 h 2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6615" h="20139">
                  <a:moveTo>
                    <a:pt x="426615" y="0"/>
                  </a:moveTo>
                  <a:lnTo>
                    <a:pt x="0" y="0"/>
                  </a:lnTo>
                  <a:lnTo>
                    <a:pt x="0" y="20140"/>
                  </a:lnTo>
                  <a:lnTo>
                    <a:pt x="426615" y="20140"/>
                  </a:lnTo>
                  <a:lnTo>
                    <a:pt x="426615" y="0"/>
                  </a:lnTo>
                  <a:lnTo>
                    <a:pt x="426615" y="0"/>
                  </a:ln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 35"/>
            <p:cNvSpPr/>
            <p:nvPr/>
          </p:nvSpPr>
          <p:spPr>
            <a:xfrm>
              <a:off x="6140242" y="3782441"/>
              <a:ext cx="395626" cy="1526181"/>
            </a:xfrm>
            <a:custGeom>
              <a:avLst/>
              <a:gdLst>
                <a:gd name="connsiteX0" fmla="*/ 348910 w 349424"/>
                <a:gd name="connsiteY0" fmla="*/ -210 h 1347952"/>
                <a:gd name="connsiteX1" fmla="*/ 17656 w 349424"/>
                <a:gd name="connsiteY1" fmla="*/ -210 h 1347952"/>
                <a:gd name="connsiteX2" fmla="*/ -514 w 349424"/>
                <a:gd name="connsiteY2" fmla="*/ 1347742 h 1347952"/>
                <a:gd name="connsiteX3" fmla="*/ 305200 w 349424"/>
                <a:gd name="connsiteY3" fmla="*/ 1347742 h 1347952"/>
                <a:gd name="connsiteX4" fmla="*/ 346369 w 349424"/>
                <a:gd name="connsiteY4" fmla="*/ 202583 h 1347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424" h="1347952">
                  <a:moveTo>
                    <a:pt x="348910" y="-210"/>
                  </a:moveTo>
                  <a:lnTo>
                    <a:pt x="17656" y="-210"/>
                  </a:lnTo>
                  <a:lnTo>
                    <a:pt x="-514" y="1347742"/>
                  </a:lnTo>
                  <a:lnTo>
                    <a:pt x="305200" y="1347742"/>
                  </a:lnTo>
                  <a:cubicBezTo>
                    <a:pt x="305200" y="1347742"/>
                    <a:pt x="303548" y="602833"/>
                    <a:pt x="346369" y="202583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 36"/>
            <p:cNvSpPr/>
            <p:nvPr/>
          </p:nvSpPr>
          <p:spPr>
            <a:xfrm>
              <a:off x="6583298" y="5296537"/>
              <a:ext cx="484866" cy="136671"/>
            </a:xfrm>
            <a:custGeom>
              <a:avLst/>
              <a:gdLst>
                <a:gd name="connsiteX0" fmla="*/ 12168 w 428243"/>
                <a:gd name="connsiteY0" fmla="*/ -210 h 120710"/>
                <a:gd name="connsiteX1" fmla="*/ 276460 w 428243"/>
                <a:gd name="connsiteY1" fmla="*/ -210 h 120710"/>
                <a:gd name="connsiteX2" fmla="*/ 427729 w 428243"/>
                <a:gd name="connsiteY2" fmla="*/ 107794 h 120710"/>
                <a:gd name="connsiteX3" fmla="*/ 427729 w 428243"/>
                <a:gd name="connsiteY3" fmla="*/ 120500 h 120710"/>
                <a:gd name="connsiteX4" fmla="*/ 2067 w 428243"/>
                <a:gd name="connsiteY4" fmla="*/ 120500 h 120710"/>
                <a:gd name="connsiteX5" fmla="*/ 12295 w 428243"/>
                <a:gd name="connsiteY5" fmla="*/ -210 h 120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8243" h="120710">
                  <a:moveTo>
                    <a:pt x="12168" y="-210"/>
                  </a:moveTo>
                  <a:lnTo>
                    <a:pt x="276460" y="-210"/>
                  </a:lnTo>
                  <a:cubicBezTo>
                    <a:pt x="276460" y="-210"/>
                    <a:pt x="412354" y="76981"/>
                    <a:pt x="427729" y="107794"/>
                  </a:cubicBezTo>
                  <a:lnTo>
                    <a:pt x="427729" y="120500"/>
                  </a:lnTo>
                  <a:lnTo>
                    <a:pt x="2067" y="120500"/>
                  </a:lnTo>
                  <a:cubicBezTo>
                    <a:pt x="2067" y="120500"/>
                    <a:pt x="-8226" y="30412"/>
                    <a:pt x="12295" y="-210"/>
                  </a:cubicBezTo>
                  <a:close/>
                </a:path>
              </a:pathLst>
            </a:custGeom>
            <a:solidFill>
              <a:srgbClr val="00065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 37"/>
            <p:cNvSpPr/>
            <p:nvPr/>
          </p:nvSpPr>
          <p:spPr>
            <a:xfrm>
              <a:off x="6585142" y="5433496"/>
              <a:ext cx="483023" cy="22802"/>
            </a:xfrm>
            <a:custGeom>
              <a:avLst/>
              <a:gdLst>
                <a:gd name="connsiteX0" fmla="*/ 0 w 426615"/>
                <a:gd name="connsiteY0" fmla="*/ 0 h 20139"/>
                <a:gd name="connsiteX1" fmla="*/ 426615 w 426615"/>
                <a:gd name="connsiteY1" fmla="*/ 0 h 20139"/>
                <a:gd name="connsiteX2" fmla="*/ 426615 w 426615"/>
                <a:gd name="connsiteY2" fmla="*/ 20140 h 20139"/>
                <a:gd name="connsiteX3" fmla="*/ 0 w 426615"/>
                <a:gd name="connsiteY3" fmla="*/ 20140 h 20139"/>
                <a:gd name="connsiteX4" fmla="*/ 0 w 426615"/>
                <a:gd name="connsiteY4" fmla="*/ 0 h 20139"/>
                <a:gd name="connsiteX5" fmla="*/ 0 w 426615"/>
                <a:gd name="connsiteY5" fmla="*/ 0 h 2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6615" h="20139">
                  <a:moveTo>
                    <a:pt x="0" y="0"/>
                  </a:moveTo>
                  <a:lnTo>
                    <a:pt x="426615" y="0"/>
                  </a:lnTo>
                  <a:lnTo>
                    <a:pt x="426615" y="20140"/>
                  </a:lnTo>
                  <a:lnTo>
                    <a:pt x="0" y="2014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 38"/>
            <p:cNvSpPr/>
            <p:nvPr/>
          </p:nvSpPr>
          <p:spPr>
            <a:xfrm>
              <a:off x="6531551" y="3782441"/>
              <a:ext cx="395698" cy="1526181"/>
            </a:xfrm>
            <a:custGeom>
              <a:avLst/>
              <a:gdLst>
                <a:gd name="connsiteX0" fmla="*/ -514 w 349488"/>
                <a:gd name="connsiteY0" fmla="*/ -210 h 1347952"/>
                <a:gd name="connsiteX1" fmla="*/ 330803 w 349488"/>
                <a:gd name="connsiteY1" fmla="*/ -210 h 1347952"/>
                <a:gd name="connsiteX2" fmla="*/ 348974 w 349488"/>
                <a:gd name="connsiteY2" fmla="*/ 1347742 h 1347952"/>
                <a:gd name="connsiteX3" fmla="*/ 43259 w 349488"/>
                <a:gd name="connsiteY3" fmla="*/ 1347742 h 1347952"/>
                <a:gd name="connsiteX4" fmla="*/ 2408 w 349488"/>
                <a:gd name="connsiteY4" fmla="*/ 202583 h 1347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488" h="1347952">
                  <a:moveTo>
                    <a:pt x="-514" y="-210"/>
                  </a:moveTo>
                  <a:lnTo>
                    <a:pt x="330803" y="-210"/>
                  </a:lnTo>
                  <a:lnTo>
                    <a:pt x="348974" y="1347742"/>
                  </a:lnTo>
                  <a:lnTo>
                    <a:pt x="43259" y="1347742"/>
                  </a:lnTo>
                  <a:cubicBezTo>
                    <a:pt x="43259" y="1347742"/>
                    <a:pt x="44911" y="602833"/>
                    <a:pt x="2408" y="202583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 39"/>
            <p:cNvSpPr/>
            <p:nvPr/>
          </p:nvSpPr>
          <p:spPr>
            <a:xfrm>
              <a:off x="6096076" y="2836102"/>
              <a:ext cx="877570" cy="1154292"/>
            </a:xfrm>
            <a:custGeom>
              <a:avLst/>
              <a:gdLst>
                <a:gd name="connsiteX0" fmla="*/ 259966 w 775086"/>
                <a:gd name="connsiteY0" fmla="*/ -210 h 1019493"/>
                <a:gd name="connsiteX1" fmla="*/ 380676 w 775086"/>
                <a:gd name="connsiteY1" fmla="*/ 81873 h 1019493"/>
                <a:gd name="connsiteX2" fmla="*/ 383217 w 775086"/>
                <a:gd name="connsiteY2" fmla="*/ 81873 h 1019493"/>
                <a:gd name="connsiteX3" fmla="*/ 501132 w 775086"/>
                <a:gd name="connsiteY3" fmla="*/ -210 h 1019493"/>
                <a:gd name="connsiteX4" fmla="*/ 703735 w 775086"/>
                <a:gd name="connsiteY4" fmla="*/ 40832 h 1019493"/>
                <a:gd name="connsiteX5" fmla="*/ 774573 w 775086"/>
                <a:gd name="connsiteY5" fmla="*/ 943109 h 1019493"/>
                <a:gd name="connsiteX6" fmla="*/ -514 w 775086"/>
                <a:gd name="connsiteY6" fmla="*/ 924050 h 1019493"/>
                <a:gd name="connsiteX7" fmla="*/ 66893 w 775086"/>
                <a:gd name="connsiteY7" fmla="*/ 30603 h 1019493"/>
                <a:gd name="connsiteX8" fmla="*/ 260029 w 775086"/>
                <a:gd name="connsiteY8" fmla="*/ -210 h 1019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75086" h="1019493">
                  <a:moveTo>
                    <a:pt x="259966" y="-210"/>
                  </a:moveTo>
                  <a:cubicBezTo>
                    <a:pt x="277882" y="79268"/>
                    <a:pt x="372734" y="81873"/>
                    <a:pt x="380676" y="81873"/>
                  </a:cubicBezTo>
                  <a:lnTo>
                    <a:pt x="383217" y="81873"/>
                  </a:lnTo>
                  <a:cubicBezTo>
                    <a:pt x="390904" y="81873"/>
                    <a:pt x="480611" y="79268"/>
                    <a:pt x="501132" y="-210"/>
                  </a:cubicBezTo>
                  <a:lnTo>
                    <a:pt x="703735" y="40832"/>
                  </a:lnTo>
                  <a:lnTo>
                    <a:pt x="774573" y="943109"/>
                  </a:lnTo>
                  <a:cubicBezTo>
                    <a:pt x="615743" y="1025700"/>
                    <a:pt x="132394" y="1069347"/>
                    <a:pt x="-514" y="924050"/>
                  </a:cubicBezTo>
                  <a:lnTo>
                    <a:pt x="66893" y="30603"/>
                  </a:lnTo>
                  <a:lnTo>
                    <a:pt x="260029" y="-210"/>
                  </a:lnTo>
                  <a:close/>
                </a:path>
              </a:pathLst>
            </a:custGeom>
            <a:solidFill>
              <a:srgbClr val="00065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 40"/>
            <p:cNvSpPr/>
            <p:nvPr/>
          </p:nvSpPr>
          <p:spPr>
            <a:xfrm>
              <a:off x="5368249" y="3005839"/>
              <a:ext cx="792980" cy="422613"/>
            </a:xfrm>
            <a:custGeom>
              <a:avLst/>
              <a:gdLst>
                <a:gd name="connsiteX0" fmla="*/ 698477 w 700375"/>
                <a:gd name="connsiteY0" fmla="*/ 67344 h 373260"/>
                <a:gd name="connsiteX1" fmla="*/ 582976 w 700375"/>
                <a:gd name="connsiteY1" fmla="*/ 238880 h 373260"/>
                <a:gd name="connsiteX2" fmla="*/ 51470 w 700375"/>
                <a:gd name="connsiteY2" fmla="*/ 369755 h 373260"/>
                <a:gd name="connsiteX3" fmla="*/ 51470 w 700375"/>
                <a:gd name="connsiteY3" fmla="*/ 261751 h 373260"/>
                <a:gd name="connsiteX4" fmla="*/ 505786 w 700375"/>
                <a:gd name="connsiteY4" fmla="*/ 161816 h 373260"/>
                <a:gd name="connsiteX5" fmla="*/ 580181 w 700375"/>
                <a:gd name="connsiteY5" fmla="*/ 74714 h 373260"/>
                <a:gd name="connsiteX6" fmla="*/ 587932 w 700375"/>
                <a:gd name="connsiteY6" fmla="*/ 56798 h 373260"/>
                <a:gd name="connsiteX7" fmla="*/ 587932 w 700375"/>
                <a:gd name="connsiteY7" fmla="*/ 59339 h 373260"/>
                <a:gd name="connsiteX8" fmla="*/ 590474 w 700375"/>
                <a:gd name="connsiteY8" fmla="*/ 51652 h 373260"/>
                <a:gd name="connsiteX9" fmla="*/ 593015 w 700375"/>
                <a:gd name="connsiteY9" fmla="*/ 38945 h 373260"/>
                <a:gd name="connsiteX10" fmla="*/ 698287 w 700375"/>
                <a:gd name="connsiteY10" fmla="*/ 67154 h 37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00375" h="373260">
                  <a:moveTo>
                    <a:pt x="698477" y="67344"/>
                  </a:moveTo>
                  <a:cubicBezTo>
                    <a:pt x="683039" y="133989"/>
                    <a:pt x="634310" y="195488"/>
                    <a:pt x="582976" y="238880"/>
                  </a:cubicBezTo>
                  <a:cubicBezTo>
                    <a:pt x="439014" y="362068"/>
                    <a:pt x="233933" y="382525"/>
                    <a:pt x="51470" y="369755"/>
                  </a:cubicBezTo>
                  <a:cubicBezTo>
                    <a:pt x="-17843" y="364609"/>
                    <a:pt x="-17843" y="256986"/>
                    <a:pt x="51470" y="261751"/>
                  </a:cubicBezTo>
                  <a:cubicBezTo>
                    <a:pt x="202930" y="274457"/>
                    <a:pt x="385139" y="264356"/>
                    <a:pt x="505786" y="161816"/>
                  </a:cubicBezTo>
                  <a:cubicBezTo>
                    <a:pt x="541681" y="131066"/>
                    <a:pt x="559660" y="110609"/>
                    <a:pt x="580181" y="74714"/>
                  </a:cubicBezTo>
                  <a:cubicBezTo>
                    <a:pt x="582284" y="68545"/>
                    <a:pt x="584876" y="62554"/>
                    <a:pt x="587932" y="56798"/>
                  </a:cubicBezTo>
                  <a:cubicBezTo>
                    <a:pt x="593015" y="46506"/>
                    <a:pt x="582786" y="69504"/>
                    <a:pt x="587932" y="59339"/>
                  </a:cubicBezTo>
                  <a:cubicBezTo>
                    <a:pt x="587932" y="56798"/>
                    <a:pt x="590474" y="54193"/>
                    <a:pt x="590474" y="51652"/>
                  </a:cubicBezTo>
                  <a:cubicBezTo>
                    <a:pt x="591077" y="47370"/>
                    <a:pt x="591928" y="43132"/>
                    <a:pt x="593015" y="38945"/>
                  </a:cubicBezTo>
                  <a:cubicBezTo>
                    <a:pt x="610994" y="-30241"/>
                    <a:pt x="713725" y="509"/>
                    <a:pt x="698287" y="67154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 41"/>
            <p:cNvSpPr/>
            <p:nvPr/>
          </p:nvSpPr>
          <p:spPr>
            <a:xfrm>
              <a:off x="5555003" y="2870989"/>
              <a:ext cx="617392" cy="613005"/>
            </a:xfrm>
            <a:custGeom>
              <a:avLst/>
              <a:gdLst>
                <a:gd name="connsiteX0" fmla="*/ 14860 w 545292"/>
                <a:gd name="connsiteY0" fmla="*/ 541208 h 541418"/>
                <a:gd name="connsiteX1" fmla="*/ 534550 w 545292"/>
                <a:gd name="connsiteY1" fmla="*/ 283332 h 541418"/>
                <a:gd name="connsiteX2" fmla="*/ 544778 w 545292"/>
                <a:gd name="connsiteY2" fmla="*/ -210 h 541418"/>
                <a:gd name="connsiteX3" fmla="*/ 544778 w 545292"/>
                <a:gd name="connsiteY3" fmla="*/ -210 h 541418"/>
                <a:gd name="connsiteX4" fmla="*/ 356661 w 545292"/>
                <a:gd name="connsiteY4" fmla="*/ 143562 h 541418"/>
                <a:gd name="connsiteX5" fmla="*/ -514 w 545292"/>
                <a:gd name="connsiteY5" fmla="*/ 353662 h 541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5292" h="541418">
                  <a:moveTo>
                    <a:pt x="14860" y="541208"/>
                  </a:moveTo>
                  <a:cubicBezTo>
                    <a:pt x="14860" y="541208"/>
                    <a:pt x="369367" y="543812"/>
                    <a:pt x="534550" y="283332"/>
                  </a:cubicBezTo>
                  <a:lnTo>
                    <a:pt x="544778" y="-210"/>
                  </a:lnTo>
                  <a:lnTo>
                    <a:pt x="544778" y="-210"/>
                  </a:lnTo>
                  <a:cubicBezTo>
                    <a:pt x="544778" y="-210"/>
                    <a:pt x="471018" y="3793"/>
                    <a:pt x="356661" y="143562"/>
                  </a:cubicBezTo>
                  <a:cubicBezTo>
                    <a:pt x="285251" y="230855"/>
                    <a:pt x="140653" y="363890"/>
                    <a:pt x="-514" y="353662"/>
                  </a:cubicBez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 42"/>
            <p:cNvSpPr/>
            <p:nvPr/>
          </p:nvSpPr>
          <p:spPr>
            <a:xfrm>
              <a:off x="4621893" y="1105990"/>
              <a:ext cx="1140920" cy="1998720"/>
            </a:xfrm>
            <a:custGeom>
              <a:avLst/>
              <a:gdLst>
                <a:gd name="connsiteX0" fmla="*/ 596690 w 1007682"/>
                <a:gd name="connsiteY0" fmla="*/ 1042540 h 1765307"/>
                <a:gd name="connsiteX1" fmla="*/ 596690 w 1007682"/>
                <a:gd name="connsiteY1" fmla="*/ 1209120 h 1765307"/>
                <a:gd name="connsiteX2" fmla="*/ 479747 w 1007682"/>
                <a:gd name="connsiteY2" fmla="*/ 1332124 h 1765307"/>
                <a:gd name="connsiteX3" fmla="*/ 473502 w 1007682"/>
                <a:gd name="connsiteY3" fmla="*/ 1332118 h 1765307"/>
                <a:gd name="connsiteX4" fmla="*/ 350314 w 1007682"/>
                <a:gd name="connsiteY4" fmla="*/ 1209120 h 1765307"/>
                <a:gd name="connsiteX5" fmla="*/ 350314 w 1007682"/>
                <a:gd name="connsiteY5" fmla="*/ 945209 h 1765307"/>
                <a:gd name="connsiteX6" fmla="*/ 352855 w 1007682"/>
                <a:gd name="connsiteY6" fmla="*/ 940063 h 1765307"/>
                <a:gd name="connsiteX7" fmla="*/ 350314 w 1007682"/>
                <a:gd name="connsiteY7" fmla="*/ 934981 h 1765307"/>
                <a:gd name="connsiteX8" fmla="*/ 473502 w 1007682"/>
                <a:gd name="connsiteY8" fmla="*/ 811983 h 1765307"/>
                <a:gd name="connsiteX9" fmla="*/ 760983 w 1007682"/>
                <a:gd name="connsiteY9" fmla="*/ 530157 h 1765307"/>
                <a:gd name="connsiteX10" fmla="*/ 473502 w 1007682"/>
                <a:gd name="connsiteY10" fmla="*/ 245725 h 1765307"/>
                <a:gd name="connsiteX11" fmla="*/ 229667 w 1007682"/>
                <a:gd name="connsiteY11" fmla="*/ 384097 h 1765307"/>
                <a:gd name="connsiteX12" fmla="*/ 62134 w 1007682"/>
                <a:gd name="connsiteY12" fmla="*/ 430888 h 1765307"/>
                <a:gd name="connsiteX13" fmla="*/ 15343 w 1007682"/>
                <a:gd name="connsiteY13" fmla="*/ 263355 h 1765307"/>
                <a:gd name="connsiteX14" fmla="*/ 16645 w 1007682"/>
                <a:gd name="connsiteY14" fmla="*/ 261100 h 1765307"/>
                <a:gd name="connsiteX15" fmla="*/ 473502 w 1007682"/>
                <a:gd name="connsiteY15" fmla="*/ -206 h 1765307"/>
                <a:gd name="connsiteX16" fmla="*/ 1007168 w 1007682"/>
                <a:gd name="connsiteY16" fmla="*/ 530157 h 1765307"/>
                <a:gd name="connsiteX17" fmla="*/ 596499 w 1007682"/>
                <a:gd name="connsiteY17" fmla="*/ 1042540 h 1765307"/>
                <a:gd name="connsiteX18" fmla="*/ 596690 w 1007682"/>
                <a:gd name="connsiteY18" fmla="*/ 1595965 h 1765307"/>
                <a:gd name="connsiteX19" fmla="*/ 596690 w 1007682"/>
                <a:gd name="connsiteY19" fmla="*/ 1642089 h 1765307"/>
                <a:gd name="connsiteX20" fmla="*/ 473502 w 1007682"/>
                <a:gd name="connsiteY20" fmla="*/ 1765086 h 1765307"/>
                <a:gd name="connsiteX21" fmla="*/ 350314 w 1007682"/>
                <a:gd name="connsiteY21" fmla="*/ 1645221 h 1765307"/>
                <a:gd name="connsiteX22" fmla="*/ 350314 w 1007682"/>
                <a:gd name="connsiteY22" fmla="*/ 1642089 h 1765307"/>
                <a:gd name="connsiteX23" fmla="*/ 350314 w 1007682"/>
                <a:gd name="connsiteY23" fmla="*/ 1595965 h 1765307"/>
                <a:gd name="connsiteX24" fmla="*/ 473502 w 1007682"/>
                <a:gd name="connsiteY24" fmla="*/ 1473031 h 1765307"/>
                <a:gd name="connsiteX25" fmla="*/ 596690 w 1007682"/>
                <a:gd name="connsiteY25" fmla="*/ 1592769 h 1765307"/>
                <a:gd name="connsiteX26" fmla="*/ 596690 w 1007682"/>
                <a:gd name="connsiteY26" fmla="*/ 1595965 h 1765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07682" h="1765307">
                  <a:moveTo>
                    <a:pt x="596690" y="1042540"/>
                  </a:moveTo>
                  <a:lnTo>
                    <a:pt x="596690" y="1209120"/>
                  </a:lnTo>
                  <a:cubicBezTo>
                    <a:pt x="598361" y="1275377"/>
                    <a:pt x="546004" y="1330447"/>
                    <a:pt x="479747" y="1332124"/>
                  </a:cubicBezTo>
                  <a:cubicBezTo>
                    <a:pt x="477663" y="1332175"/>
                    <a:pt x="475579" y="1332175"/>
                    <a:pt x="473502" y="1332118"/>
                  </a:cubicBezTo>
                  <a:cubicBezTo>
                    <a:pt x="405529" y="1332156"/>
                    <a:pt x="350384" y="1277093"/>
                    <a:pt x="350314" y="1209120"/>
                  </a:cubicBezTo>
                  <a:lnTo>
                    <a:pt x="350314" y="945209"/>
                  </a:lnTo>
                  <a:cubicBezTo>
                    <a:pt x="350314" y="942668"/>
                    <a:pt x="352855" y="942668"/>
                    <a:pt x="352855" y="940063"/>
                  </a:cubicBezTo>
                  <a:cubicBezTo>
                    <a:pt x="350314" y="937522"/>
                    <a:pt x="350314" y="937522"/>
                    <a:pt x="350314" y="934981"/>
                  </a:cubicBezTo>
                  <a:cubicBezTo>
                    <a:pt x="350314" y="870941"/>
                    <a:pt x="406793" y="811983"/>
                    <a:pt x="473502" y="811983"/>
                  </a:cubicBezTo>
                  <a:cubicBezTo>
                    <a:pt x="632649" y="811983"/>
                    <a:pt x="760983" y="686445"/>
                    <a:pt x="760983" y="530157"/>
                  </a:cubicBezTo>
                  <a:cubicBezTo>
                    <a:pt x="760983" y="368723"/>
                    <a:pt x="632649" y="245725"/>
                    <a:pt x="473502" y="245725"/>
                  </a:cubicBezTo>
                  <a:cubicBezTo>
                    <a:pt x="373636" y="246094"/>
                    <a:pt x="281198" y="298552"/>
                    <a:pt x="229667" y="384097"/>
                  </a:cubicBezTo>
                  <a:cubicBezTo>
                    <a:pt x="196326" y="443283"/>
                    <a:pt x="121320" y="464230"/>
                    <a:pt x="62134" y="430888"/>
                  </a:cubicBezTo>
                  <a:cubicBezTo>
                    <a:pt x="2948" y="397547"/>
                    <a:pt x="-17999" y="322541"/>
                    <a:pt x="15343" y="263355"/>
                  </a:cubicBezTo>
                  <a:cubicBezTo>
                    <a:pt x="15769" y="262599"/>
                    <a:pt x="16201" y="261850"/>
                    <a:pt x="16645" y="261100"/>
                  </a:cubicBezTo>
                  <a:cubicBezTo>
                    <a:pt x="111346" y="98668"/>
                    <a:pt x="285480" y="-930"/>
                    <a:pt x="473502" y="-206"/>
                  </a:cubicBezTo>
                  <a:cubicBezTo>
                    <a:pt x="766129" y="-206"/>
                    <a:pt x="1007168" y="235497"/>
                    <a:pt x="1007168" y="530157"/>
                  </a:cubicBezTo>
                  <a:cubicBezTo>
                    <a:pt x="1007168" y="778693"/>
                    <a:pt x="832647" y="988792"/>
                    <a:pt x="596499" y="1042540"/>
                  </a:cubicBezTo>
                  <a:close/>
                  <a:moveTo>
                    <a:pt x="596690" y="1595965"/>
                  </a:moveTo>
                  <a:lnTo>
                    <a:pt x="596690" y="1642089"/>
                  </a:lnTo>
                  <a:cubicBezTo>
                    <a:pt x="596690" y="1713816"/>
                    <a:pt x="545356" y="1765086"/>
                    <a:pt x="473502" y="1765086"/>
                  </a:cubicBezTo>
                  <a:cubicBezTo>
                    <a:pt x="406387" y="1766001"/>
                    <a:pt x="351235" y="1712336"/>
                    <a:pt x="350314" y="1645221"/>
                  </a:cubicBezTo>
                  <a:cubicBezTo>
                    <a:pt x="350301" y="1644179"/>
                    <a:pt x="350301" y="1643131"/>
                    <a:pt x="350314" y="1642089"/>
                  </a:cubicBezTo>
                  <a:lnTo>
                    <a:pt x="350314" y="1595965"/>
                  </a:lnTo>
                  <a:cubicBezTo>
                    <a:pt x="351305" y="1528386"/>
                    <a:pt x="405923" y="1473882"/>
                    <a:pt x="473502" y="1473031"/>
                  </a:cubicBezTo>
                  <a:cubicBezTo>
                    <a:pt x="540585" y="1472078"/>
                    <a:pt x="595737" y="1525686"/>
                    <a:pt x="596690" y="1592769"/>
                  </a:cubicBezTo>
                  <a:cubicBezTo>
                    <a:pt x="596703" y="1593830"/>
                    <a:pt x="596703" y="1594897"/>
                    <a:pt x="596690" y="1595965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 43"/>
            <p:cNvSpPr/>
            <p:nvPr/>
          </p:nvSpPr>
          <p:spPr>
            <a:xfrm>
              <a:off x="6447837" y="2687348"/>
              <a:ext cx="549892" cy="723736"/>
            </a:xfrm>
            <a:custGeom>
              <a:avLst/>
              <a:gdLst>
                <a:gd name="connsiteX0" fmla="*/ 104936 w 485675"/>
                <a:gd name="connsiteY0" fmla="*/ 49599 h 639217"/>
                <a:gd name="connsiteX1" fmla="*/ 228188 w 485675"/>
                <a:gd name="connsiteY1" fmla="*/ 397943 h 639217"/>
                <a:gd name="connsiteX2" fmla="*/ 282126 w 485675"/>
                <a:gd name="connsiteY2" fmla="*/ 492733 h 639217"/>
                <a:gd name="connsiteX3" fmla="*/ 305252 w 485675"/>
                <a:gd name="connsiteY3" fmla="*/ 523482 h 639217"/>
                <a:gd name="connsiteX4" fmla="*/ 315544 w 485675"/>
                <a:gd name="connsiteY4" fmla="*/ 533711 h 639217"/>
                <a:gd name="connsiteX5" fmla="*/ 294959 w 485675"/>
                <a:gd name="connsiteY5" fmla="*/ 533711 h 639217"/>
                <a:gd name="connsiteX6" fmla="*/ 310398 w 485675"/>
                <a:gd name="connsiteY6" fmla="*/ 513253 h 639217"/>
                <a:gd name="connsiteX7" fmla="*/ 341210 w 485675"/>
                <a:gd name="connsiteY7" fmla="*/ 456837 h 639217"/>
                <a:gd name="connsiteX8" fmla="*/ 379711 w 485675"/>
                <a:gd name="connsiteY8" fmla="*/ 308300 h 639217"/>
                <a:gd name="connsiteX9" fmla="*/ 484982 w 485675"/>
                <a:gd name="connsiteY9" fmla="*/ 308300 h 639217"/>
                <a:gd name="connsiteX10" fmla="*/ 364272 w 485675"/>
                <a:gd name="connsiteY10" fmla="*/ 613252 h 639217"/>
                <a:gd name="connsiteX11" fmla="*/ 179395 w 485675"/>
                <a:gd name="connsiteY11" fmla="*/ 528692 h 639217"/>
                <a:gd name="connsiteX12" fmla="*/ 53602 w 485675"/>
                <a:gd name="connsiteY12" fmla="*/ 267449 h 639217"/>
                <a:gd name="connsiteX13" fmla="*/ -336 w 485675"/>
                <a:gd name="connsiteY13" fmla="*/ 49726 h 639217"/>
                <a:gd name="connsiteX14" fmla="*/ 104936 w 485675"/>
                <a:gd name="connsiteY14" fmla="*/ 49726 h 639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85675" h="639217">
                  <a:moveTo>
                    <a:pt x="104936" y="49599"/>
                  </a:moveTo>
                  <a:cubicBezTo>
                    <a:pt x="115228" y="172533"/>
                    <a:pt x="174312" y="290384"/>
                    <a:pt x="228188" y="397943"/>
                  </a:cubicBezTo>
                  <a:cubicBezTo>
                    <a:pt x="246167" y="431234"/>
                    <a:pt x="261605" y="461983"/>
                    <a:pt x="282126" y="492733"/>
                  </a:cubicBezTo>
                  <a:lnTo>
                    <a:pt x="305252" y="523482"/>
                  </a:lnTo>
                  <a:cubicBezTo>
                    <a:pt x="307793" y="528565"/>
                    <a:pt x="320626" y="536188"/>
                    <a:pt x="315544" y="533711"/>
                  </a:cubicBezTo>
                  <a:cubicBezTo>
                    <a:pt x="297564" y="541398"/>
                    <a:pt x="290131" y="541398"/>
                    <a:pt x="294959" y="533711"/>
                  </a:cubicBezTo>
                  <a:cubicBezTo>
                    <a:pt x="302647" y="528565"/>
                    <a:pt x="305252" y="521004"/>
                    <a:pt x="310398" y="513253"/>
                  </a:cubicBezTo>
                  <a:cubicBezTo>
                    <a:pt x="322596" y="495566"/>
                    <a:pt x="332951" y="476659"/>
                    <a:pt x="341210" y="456837"/>
                  </a:cubicBezTo>
                  <a:cubicBezTo>
                    <a:pt x="364145" y="410497"/>
                    <a:pt x="377233" y="359932"/>
                    <a:pt x="379711" y="308300"/>
                  </a:cubicBezTo>
                  <a:cubicBezTo>
                    <a:pt x="382252" y="241719"/>
                    <a:pt x="490129" y="241719"/>
                    <a:pt x="484982" y="308300"/>
                  </a:cubicBezTo>
                  <a:cubicBezTo>
                    <a:pt x="479837" y="410777"/>
                    <a:pt x="441336" y="541398"/>
                    <a:pt x="364272" y="613252"/>
                  </a:cubicBezTo>
                  <a:cubicBezTo>
                    <a:pt x="287208" y="685107"/>
                    <a:pt x="218149" y="590190"/>
                    <a:pt x="179395" y="528692"/>
                  </a:cubicBezTo>
                  <a:cubicBezTo>
                    <a:pt x="128061" y="446736"/>
                    <a:pt x="92102" y="357156"/>
                    <a:pt x="53602" y="267449"/>
                  </a:cubicBezTo>
                  <a:cubicBezTo>
                    <a:pt x="25185" y="197869"/>
                    <a:pt x="7014" y="124528"/>
                    <a:pt x="-336" y="49726"/>
                  </a:cubicBezTo>
                  <a:cubicBezTo>
                    <a:pt x="-5419" y="-16855"/>
                    <a:pt x="99853" y="-16855"/>
                    <a:pt x="104936" y="49726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 44"/>
            <p:cNvSpPr/>
            <p:nvPr/>
          </p:nvSpPr>
          <p:spPr>
            <a:xfrm>
              <a:off x="6450484" y="2821356"/>
              <a:ext cx="595677" cy="626971"/>
            </a:xfrm>
            <a:custGeom>
              <a:avLst/>
              <a:gdLst>
                <a:gd name="connsiteX0" fmla="*/ 391667 w 526113"/>
                <a:gd name="connsiteY0" fmla="*/ 53983 h 553753"/>
                <a:gd name="connsiteX1" fmla="*/ 525083 w 526113"/>
                <a:gd name="connsiteY1" fmla="*/ 215734 h 553753"/>
                <a:gd name="connsiteX2" fmla="*/ 273815 w 526113"/>
                <a:gd name="connsiteY2" fmla="*/ 552135 h 553753"/>
                <a:gd name="connsiteX3" fmla="*/ -514 w 526113"/>
                <a:gd name="connsiteY3" fmla="*/ 53983 h 553753"/>
                <a:gd name="connsiteX4" fmla="*/ 137540 w 526113"/>
                <a:gd name="connsiteY4" fmla="*/ -210 h 553753"/>
                <a:gd name="connsiteX5" fmla="*/ 299037 w 526113"/>
                <a:gd name="connsiteY5" fmla="*/ 364398 h 553753"/>
                <a:gd name="connsiteX6" fmla="*/ 391667 w 526113"/>
                <a:gd name="connsiteY6" fmla="*/ 53983 h 553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6113" h="553753">
                  <a:moveTo>
                    <a:pt x="391667" y="53983"/>
                  </a:moveTo>
                  <a:cubicBezTo>
                    <a:pt x="391667" y="53983"/>
                    <a:pt x="535248" y="69357"/>
                    <a:pt x="525083" y="215734"/>
                  </a:cubicBezTo>
                  <a:cubicBezTo>
                    <a:pt x="514791" y="364653"/>
                    <a:pt x="391667" y="572656"/>
                    <a:pt x="273815" y="552135"/>
                  </a:cubicBezTo>
                  <a:cubicBezTo>
                    <a:pt x="155837" y="529009"/>
                    <a:pt x="27630" y="187463"/>
                    <a:pt x="-514" y="53983"/>
                  </a:cubicBezTo>
                  <a:lnTo>
                    <a:pt x="137540" y="-210"/>
                  </a:lnTo>
                  <a:cubicBezTo>
                    <a:pt x="137540" y="-210"/>
                    <a:pt x="275975" y="356711"/>
                    <a:pt x="299037" y="364398"/>
                  </a:cubicBezTo>
                  <a:lnTo>
                    <a:pt x="391667" y="53983"/>
                  </a:ln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 45"/>
            <p:cNvSpPr/>
            <p:nvPr/>
          </p:nvSpPr>
          <p:spPr>
            <a:xfrm>
              <a:off x="8263601" y="2004798"/>
              <a:ext cx="273214" cy="237195"/>
            </a:xfrm>
            <a:custGeom>
              <a:avLst/>
              <a:gdLst>
                <a:gd name="connsiteX0" fmla="*/ -513 w 241308"/>
                <a:gd name="connsiteY0" fmla="*/ 130082 h 209495"/>
                <a:gd name="connsiteX1" fmla="*/ 215813 w 241308"/>
                <a:gd name="connsiteY1" fmla="*/ 56513 h 209495"/>
                <a:gd name="connsiteX2" fmla="*/ 122294 w 241308"/>
                <a:gd name="connsiteY2" fmla="*/ 208608 h 209495"/>
                <a:gd name="connsiteX3" fmla="*/ 21470 w 241308"/>
                <a:gd name="connsiteY3" fmla="*/ 130972 h 2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308" h="209495">
                  <a:moveTo>
                    <a:pt x="-513" y="130082"/>
                  </a:moveTo>
                  <a:cubicBezTo>
                    <a:pt x="-1084" y="1177"/>
                    <a:pt x="150439" y="-48188"/>
                    <a:pt x="215813" y="56513"/>
                  </a:cubicBezTo>
                  <a:cubicBezTo>
                    <a:pt x="281187" y="161213"/>
                    <a:pt x="207046" y="216104"/>
                    <a:pt x="122294" y="208608"/>
                  </a:cubicBezTo>
                  <a:cubicBezTo>
                    <a:pt x="37543" y="201111"/>
                    <a:pt x="21470" y="130972"/>
                    <a:pt x="21470" y="130972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 46"/>
            <p:cNvSpPr/>
            <p:nvPr/>
          </p:nvSpPr>
          <p:spPr>
            <a:xfrm>
              <a:off x="8197929" y="2105151"/>
              <a:ext cx="197911" cy="239513"/>
            </a:xfrm>
            <a:custGeom>
              <a:avLst/>
              <a:gdLst>
                <a:gd name="connsiteX0" fmla="*/ -514 w 174799"/>
                <a:gd name="connsiteY0" fmla="*/ 24739 h 211542"/>
                <a:gd name="connsiteX1" fmla="*/ 166701 w 174799"/>
                <a:gd name="connsiteY1" fmla="*/ 92020 h 211542"/>
                <a:gd name="connsiteX2" fmla="*/ 160348 w 174799"/>
                <a:gd name="connsiteY2" fmla="*/ 211332 h 21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4799" h="211542">
                  <a:moveTo>
                    <a:pt x="-514" y="24739"/>
                  </a:moveTo>
                  <a:cubicBezTo>
                    <a:pt x="35890" y="-41461"/>
                    <a:pt x="146498" y="39161"/>
                    <a:pt x="166701" y="92020"/>
                  </a:cubicBezTo>
                  <a:cubicBezTo>
                    <a:pt x="186904" y="144878"/>
                    <a:pt x="160348" y="211332"/>
                    <a:pt x="160348" y="211332"/>
                  </a:cubicBez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 47"/>
            <p:cNvSpPr/>
            <p:nvPr/>
          </p:nvSpPr>
          <p:spPr>
            <a:xfrm>
              <a:off x="7774250" y="2086348"/>
              <a:ext cx="652587" cy="579300"/>
            </a:xfrm>
            <a:custGeom>
              <a:avLst/>
              <a:gdLst>
                <a:gd name="connsiteX0" fmla="*/ -514 w 576377"/>
                <a:gd name="connsiteY0" fmla="*/ 291788 h 511649"/>
                <a:gd name="connsiteX1" fmla="*/ 355898 w 576377"/>
                <a:gd name="connsiteY1" fmla="*/ 7992 h 511649"/>
                <a:gd name="connsiteX2" fmla="*/ 556976 w 576377"/>
                <a:gd name="connsiteY2" fmla="*/ 175842 h 511649"/>
                <a:gd name="connsiteX3" fmla="*/ 473114 w 576377"/>
                <a:gd name="connsiteY3" fmla="*/ 482701 h 511649"/>
                <a:gd name="connsiteX4" fmla="*/ -514 w 576377"/>
                <a:gd name="connsiteY4" fmla="*/ 291661 h 511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6377" h="511649">
                  <a:moveTo>
                    <a:pt x="-514" y="291788"/>
                  </a:moveTo>
                  <a:cubicBezTo>
                    <a:pt x="10667" y="33341"/>
                    <a:pt x="203739" y="-24473"/>
                    <a:pt x="355898" y="7992"/>
                  </a:cubicBezTo>
                  <a:cubicBezTo>
                    <a:pt x="508056" y="40456"/>
                    <a:pt x="556976" y="175842"/>
                    <a:pt x="556976" y="175842"/>
                  </a:cubicBezTo>
                  <a:cubicBezTo>
                    <a:pt x="556976" y="175842"/>
                    <a:pt x="635247" y="359195"/>
                    <a:pt x="473114" y="482701"/>
                  </a:cubicBezTo>
                  <a:cubicBezTo>
                    <a:pt x="310981" y="606206"/>
                    <a:pt x="-514" y="291661"/>
                    <a:pt x="-514" y="291661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 48"/>
            <p:cNvSpPr/>
            <p:nvPr/>
          </p:nvSpPr>
          <p:spPr>
            <a:xfrm>
              <a:off x="7926027" y="2682959"/>
              <a:ext cx="248884" cy="276290"/>
            </a:xfrm>
            <a:custGeom>
              <a:avLst/>
              <a:gdLst>
                <a:gd name="connsiteX0" fmla="*/ 109395 w 219819"/>
                <a:gd name="connsiteY0" fmla="*/ 243815 h 244025"/>
                <a:gd name="connsiteX1" fmla="*/ 109395 w 219819"/>
                <a:gd name="connsiteY1" fmla="*/ 243815 h 244025"/>
                <a:gd name="connsiteX2" fmla="*/ -514 w 219819"/>
                <a:gd name="connsiteY2" fmla="*/ 160906 h 244025"/>
                <a:gd name="connsiteX3" fmla="*/ -514 w 219819"/>
                <a:gd name="connsiteY3" fmla="*/ -210 h 244025"/>
                <a:gd name="connsiteX4" fmla="*/ 219305 w 219819"/>
                <a:gd name="connsiteY4" fmla="*/ -210 h 244025"/>
                <a:gd name="connsiteX5" fmla="*/ 219305 w 219819"/>
                <a:gd name="connsiteY5" fmla="*/ 160017 h 244025"/>
                <a:gd name="connsiteX6" fmla="*/ 110602 w 219819"/>
                <a:gd name="connsiteY6" fmla="*/ 243815 h 244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819" h="244025">
                  <a:moveTo>
                    <a:pt x="109395" y="243815"/>
                  </a:moveTo>
                  <a:lnTo>
                    <a:pt x="109395" y="243815"/>
                  </a:lnTo>
                  <a:cubicBezTo>
                    <a:pt x="48976" y="243815"/>
                    <a:pt x="-197" y="206967"/>
                    <a:pt x="-514" y="160906"/>
                  </a:cubicBezTo>
                  <a:lnTo>
                    <a:pt x="-514" y="-210"/>
                  </a:lnTo>
                  <a:lnTo>
                    <a:pt x="219305" y="-210"/>
                  </a:lnTo>
                  <a:lnTo>
                    <a:pt x="219305" y="160017"/>
                  </a:lnTo>
                  <a:cubicBezTo>
                    <a:pt x="219305" y="206014"/>
                    <a:pt x="170958" y="243498"/>
                    <a:pt x="110602" y="243815"/>
                  </a:cubicBez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 49"/>
            <p:cNvSpPr/>
            <p:nvPr/>
          </p:nvSpPr>
          <p:spPr>
            <a:xfrm>
              <a:off x="7730087" y="2415564"/>
              <a:ext cx="132524" cy="169000"/>
            </a:xfrm>
            <a:custGeom>
              <a:avLst/>
              <a:gdLst>
                <a:gd name="connsiteX0" fmla="*/ 93764 w 117048"/>
                <a:gd name="connsiteY0" fmla="*/ 41043 h 149264"/>
                <a:gd name="connsiteX1" fmla="*/ 1072 w 117048"/>
                <a:gd name="connsiteY1" fmla="*/ 45490 h 149264"/>
                <a:gd name="connsiteX2" fmla="*/ 95670 w 117048"/>
                <a:gd name="connsiteY2" fmla="*/ 138183 h 149264"/>
                <a:gd name="connsiteX3" fmla="*/ 93764 w 117048"/>
                <a:gd name="connsiteY3" fmla="*/ 41043 h 149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7048" h="149264">
                  <a:moveTo>
                    <a:pt x="93764" y="41043"/>
                  </a:moveTo>
                  <a:cubicBezTo>
                    <a:pt x="64540" y="-28842"/>
                    <a:pt x="9394" y="2098"/>
                    <a:pt x="1072" y="45490"/>
                  </a:cubicBezTo>
                  <a:cubicBezTo>
                    <a:pt x="-10936" y="108450"/>
                    <a:pt x="47640" y="175857"/>
                    <a:pt x="95670" y="138183"/>
                  </a:cubicBezTo>
                  <a:cubicBezTo>
                    <a:pt x="143700" y="100509"/>
                    <a:pt x="93764" y="41043"/>
                    <a:pt x="93764" y="41043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 50"/>
            <p:cNvSpPr/>
            <p:nvPr/>
          </p:nvSpPr>
          <p:spPr>
            <a:xfrm>
              <a:off x="8248927" y="2523567"/>
              <a:ext cx="148402" cy="155616"/>
            </a:xfrm>
            <a:custGeom>
              <a:avLst/>
              <a:gdLst>
                <a:gd name="connsiteX0" fmla="*/ 44850 w 131071"/>
                <a:gd name="connsiteY0" fmla="*/ 23606 h 137443"/>
                <a:gd name="connsiteX1" fmla="*/ 129474 w 131071"/>
                <a:gd name="connsiteY1" fmla="*/ 61725 h 137443"/>
                <a:gd name="connsiteX2" fmla="*/ 7430 w 131071"/>
                <a:gd name="connsiteY2" fmla="*/ 113122 h 137443"/>
                <a:gd name="connsiteX3" fmla="*/ 44850 w 131071"/>
                <a:gd name="connsiteY3" fmla="*/ 23479 h 137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071" h="137443">
                  <a:moveTo>
                    <a:pt x="44850" y="23606"/>
                  </a:moveTo>
                  <a:cubicBezTo>
                    <a:pt x="97708" y="-30396"/>
                    <a:pt x="137734" y="18397"/>
                    <a:pt x="129474" y="61725"/>
                  </a:cubicBezTo>
                  <a:cubicBezTo>
                    <a:pt x="117466" y="124685"/>
                    <a:pt x="38115" y="165790"/>
                    <a:pt x="7430" y="113122"/>
                  </a:cubicBezTo>
                  <a:cubicBezTo>
                    <a:pt x="-23256" y="60455"/>
                    <a:pt x="44850" y="23479"/>
                    <a:pt x="44850" y="23479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 51"/>
            <p:cNvSpPr/>
            <p:nvPr/>
          </p:nvSpPr>
          <p:spPr>
            <a:xfrm>
              <a:off x="7809723" y="2240589"/>
              <a:ext cx="532212" cy="546181"/>
            </a:xfrm>
            <a:custGeom>
              <a:avLst/>
              <a:gdLst>
                <a:gd name="connsiteX0" fmla="*/ 180923 w 470060"/>
                <a:gd name="connsiteY0" fmla="*/ 478301 h 482397"/>
                <a:gd name="connsiteX1" fmla="*/ 29463 w 470060"/>
                <a:gd name="connsiteY1" fmla="*/ 77479 h 482397"/>
                <a:gd name="connsiteX2" fmla="*/ 469484 w 470060"/>
                <a:gd name="connsiteY2" fmla="*/ 161341 h 482397"/>
                <a:gd name="connsiteX3" fmla="*/ 180923 w 470060"/>
                <a:gd name="connsiteY3" fmla="*/ 478301 h 482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0060" h="482397">
                  <a:moveTo>
                    <a:pt x="180923" y="478301"/>
                  </a:moveTo>
                  <a:cubicBezTo>
                    <a:pt x="19045" y="447488"/>
                    <a:pt x="-42962" y="252065"/>
                    <a:pt x="29463" y="77479"/>
                  </a:cubicBezTo>
                  <a:cubicBezTo>
                    <a:pt x="89247" y="-66293"/>
                    <a:pt x="466880" y="5688"/>
                    <a:pt x="469484" y="161341"/>
                  </a:cubicBezTo>
                  <a:cubicBezTo>
                    <a:pt x="472788" y="350348"/>
                    <a:pt x="342929" y="509304"/>
                    <a:pt x="180923" y="47830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 52"/>
            <p:cNvSpPr/>
            <p:nvPr/>
          </p:nvSpPr>
          <p:spPr>
            <a:xfrm>
              <a:off x="7789201" y="2165401"/>
              <a:ext cx="375782" cy="560573"/>
            </a:xfrm>
            <a:custGeom>
              <a:avLst/>
              <a:gdLst>
                <a:gd name="connsiteX0" fmla="*/ 331384 w 331898"/>
                <a:gd name="connsiteY0" fmla="*/ 36709 h 495109"/>
                <a:gd name="connsiteX1" fmla="*/ 61184 w 331898"/>
                <a:gd name="connsiteY1" fmla="*/ 494899 h 495109"/>
                <a:gd name="connsiteX2" fmla="*/ 61184 w 331898"/>
                <a:gd name="connsiteY2" fmla="*/ 494899 h 495109"/>
                <a:gd name="connsiteX3" fmla="*/ 42633 w 331898"/>
                <a:gd name="connsiteY3" fmla="*/ 73430 h 495109"/>
                <a:gd name="connsiteX4" fmla="*/ 331384 w 331898"/>
                <a:gd name="connsiteY4" fmla="*/ 36709 h 495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898" h="495109">
                  <a:moveTo>
                    <a:pt x="331384" y="36709"/>
                  </a:moveTo>
                  <a:cubicBezTo>
                    <a:pt x="45491" y="74002"/>
                    <a:pt x="40409" y="335308"/>
                    <a:pt x="61184" y="494899"/>
                  </a:cubicBezTo>
                  <a:lnTo>
                    <a:pt x="61184" y="494899"/>
                  </a:lnTo>
                  <a:cubicBezTo>
                    <a:pt x="61184" y="494899"/>
                    <a:pt x="-64292" y="213962"/>
                    <a:pt x="42633" y="73430"/>
                  </a:cubicBezTo>
                  <a:cubicBezTo>
                    <a:pt x="149556" y="-67102"/>
                    <a:pt x="331384" y="36709"/>
                    <a:pt x="331384" y="36709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 53"/>
            <p:cNvSpPr/>
            <p:nvPr/>
          </p:nvSpPr>
          <p:spPr>
            <a:xfrm>
              <a:off x="7703109" y="2838260"/>
              <a:ext cx="683282" cy="765140"/>
            </a:xfrm>
            <a:custGeom>
              <a:avLst/>
              <a:gdLst>
                <a:gd name="connsiteX0" fmla="*/ 602973 w 603487"/>
                <a:gd name="connsiteY0" fmla="*/ 61225 h 675786"/>
                <a:gd name="connsiteX1" fmla="*/ 415491 w 603487"/>
                <a:gd name="connsiteY1" fmla="*/ -210 h 675786"/>
                <a:gd name="connsiteX2" fmla="*/ 302532 w 603487"/>
                <a:gd name="connsiteY2" fmla="*/ 86828 h 675786"/>
                <a:gd name="connsiteX3" fmla="*/ 299927 w 603487"/>
                <a:gd name="connsiteY3" fmla="*/ 86828 h 675786"/>
                <a:gd name="connsiteX4" fmla="*/ 197260 w 603487"/>
                <a:gd name="connsiteY4" fmla="*/ -210 h 675786"/>
                <a:gd name="connsiteX5" fmla="*/ -514 w 603487"/>
                <a:gd name="connsiteY5" fmla="*/ 61225 h 675786"/>
                <a:gd name="connsiteX6" fmla="*/ 24898 w 603487"/>
                <a:gd name="connsiteY6" fmla="*/ 268529 h 675786"/>
                <a:gd name="connsiteX7" fmla="*/ 50311 w 603487"/>
                <a:gd name="connsiteY7" fmla="*/ 406774 h 675786"/>
                <a:gd name="connsiteX8" fmla="*/ 88811 w 603487"/>
                <a:gd name="connsiteY8" fmla="*/ 675577 h 675786"/>
                <a:gd name="connsiteX9" fmla="*/ 512504 w 603487"/>
                <a:gd name="connsiteY9" fmla="*/ 675577 h 675786"/>
                <a:gd name="connsiteX10" fmla="*/ 553609 w 603487"/>
                <a:gd name="connsiteY10" fmla="*/ 406774 h 675786"/>
                <a:gd name="connsiteX11" fmla="*/ 576735 w 603487"/>
                <a:gd name="connsiteY11" fmla="*/ 268529 h 675786"/>
                <a:gd name="connsiteX12" fmla="*/ 602147 w 603487"/>
                <a:gd name="connsiteY12" fmla="*/ 61225 h 675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03487" h="675786">
                  <a:moveTo>
                    <a:pt x="602973" y="61225"/>
                  </a:moveTo>
                  <a:lnTo>
                    <a:pt x="415491" y="-210"/>
                  </a:lnTo>
                  <a:cubicBezTo>
                    <a:pt x="400116" y="66308"/>
                    <a:pt x="315365" y="86828"/>
                    <a:pt x="302532" y="86828"/>
                  </a:cubicBezTo>
                  <a:lnTo>
                    <a:pt x="299927" y="86828"/>
                  </a:lnTo>
                  <a:cubicBezTo>
                    <a:pt x="287220" y="86828"/>
                    <a:pt x="212634" y="66308"/>
                    <a:pt x="197260" y="-210"/>
                  </a:cubicBezTo>
                  <a:lnTo>
                    <a:pt x="-514" y="61225"/>
                  </a:lnTo>
                  <a:lnTo>
                    <a:pt x="24898" y="268529"/>
                  </a:lnTo>
                  <a:cubicBezTo>
                    <a:pt x="24898" y="268529"/>
                    <a:pt x="9460" y="347880"/>
                    <a:pt x="50311" y="406774"/>
                  </a:cubicBezTo>
                  <a:cubicBezTo>
                    <a:pt x="88811" y="463063"/>
                    <a:pt x="88811" y="675577"/>
                    <a:pt x="88811" y="675577"/>
                  </a:cubicBezTo>
                  <a:lnTo>
                    <a:pt x="512504" y="675577"/>
                  </a:lnTo>
                  <a:cubicBezTo>
                    <a:pt x="512504" y="675577"/>
                    <a:pt x="512504" y="463063"/>
                    <a:pt x="553609" y="406774"/>
                  </a:cubicBezTo>
                  <a:cubicBezTo>
                    <a:pt x="592109" y="347880"/>
                    <a:pt x="576735" y="268529"/>
                    <a:pt x="576735" y="268529"/>
                  </a:cubicBezTo>
                  <a:lnTo>
                    <a:pt x="602147" y="61225"/>
                  </a:ln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 54"/>
            <p:cNvSpPr/>
            <p:nvPr/>
          </p:nvSpPr>
          <p:spPr>
            <a:xfrm>
              <a:off x="7668222" y="2246131"/>
              <a:ext cx="203061" cy="147805"/>
            </a:xfrm>
            <a:custGeom>
              <a:avLst/>
              <a:gdLst>
                <a:gd name="connsiteX0" fmla="*/ -514 w 179347"/>
                <a:gd name="connsiteY0" fmla="*/ 71186 h 130544"/>
                <a:gd name="connsiteX1" fmla="*/ 171784 w 179347"/>
                <a:gd name="connsiteY1" fmla="*/ 4287 h 130544"/>
                <a:gd name="connsiteX2" fmla="*/ 43195 w 179347"/>
                <a:gd name="connsiteY2" fmla="*/ 130334 h 130544"/>
                <a:gd name="connsiteX3" fmla="*/ -514 w 179347"/>
                <a:gd name="connsiteY3" fmla="*/ 71186 h 130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9347" h="130544">
                  <a:moveTo>
                    <a:pt x="-514" y="71186"/>
                  </a:moveTo>
                  <a:cubicBezTo>
                    <a:pt x="-514" y="71186"/>
                    <a:pt x="146053" y="-21379"/>
                    <a:pt x="171784" y="4287"/>
                  </a:cubicBezTo>
                  <a:cubicBezTo>
                    <a:pt x="197196" y="27477"/>
                    <a:pt x="153804" y="73728"/>
                    <a:pt x="43195" y="130334"/>
                  </a:cubicBezTo>
                  <a:lnTo>
                    <a:pt x="-514" y="71186"/>
                  </a:ln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 55"/>
            <p:cNvSpPr/>
            <p:nvPr/>
          </p:nvSpPr>
          <p:spPr>
            <a:xfrm>
              <a:off x="7253337" y="2273163"/>
              <a:ext cx="519616" cy="812040"/>
            </a:xfrm>
            <a:custGeom>
              <a:avLst/>
              <a:gdLst>
                <a:gd name="connsiteX0" fmla="*/ 396859 w 458935"/>
                <a:gd name="connsiteY0" fmla="*/ 560775 h 717209"/>
                <a:gd name="connsiteX1" fmla="*/ 147942 w 458935"/>
                <a:gd name="connsiteY1" fmla="*/ 358426 h 717209"/>
                <a:gd name="connsiteX2" fmla="*/ 458421 w 458935"/>
                <a:gd name="connsiteY2" fmla="*/ 107349 h 717209"/>
                <a:gd name="connsiteX3" fmla="*/ 409628 w 458935"/>
                <a:gd name="connsiteY3" fmla="*/ -210 h 717209"/>
                <a:gd name="connsiteX4" fmla="*/ 4297 w 458935"/>
                <a:gd name="connsiteY4" fmla="*/ 348134 h 717209"/>
                <a:gd name="connsiteX5" fmla="*/ 417253 w 458935"/>
                <a:gd name="connsiteY5" fmla="*/ 716999 h 717209"/>
                <a:gd name="connsiteX6" fmla="*/ 396732 w 458935"/>
                <a:gd name="connsiteY6" fmla="*/ 560775 h 717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8935" h="717209">
                  <a:moveTo>
                    <a:pt x="396859" y="560775"/>
                  </a:moveTo>
                  <a:cubicBezTo>
                    <a:pt x="396859" y="560775"/>
                    <a:pt x="158234" y="399404"/>
                    <a:pt x="147942" y="358426"/>
                  </a:cubicBezTo>
                  <a:cubicBezTo>
                    <a:pt x="137713" y="320307"/>
                    <a:pt x="458421" y="107349"/>
                    <a:pt x="458421" y="107349"/>
                  </a:cubicBezTo>
                  <a:lnTo>
                    <a:pt x="409628" y="-210"/>
                  </a:lnTo>
                  <a:cubicBezTo>
                    <a:pt x="409628" y="-210"/>
                    <a:pt x="47879" y="230346"/>
                    <a:pt x="4297" y="348134"/>
                  </a:cubicBezTo>
                  <a:cubicBezTo>
                    <a:pt x="-41891" y="465986"/>
                    <a:pt x="255691" y="696542"/>
                    <a:pt x="417253" y="716999"/>
                  </a:cubicBezTo>
                  <a:lnTo>
                    <a:pt x="396732" y="560775"/>
                  </a:ln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 56"/>
            <p:cNvSpPr/>
            <p:nvPr/>
          </p:nvSpPr>
          <p:spPr>
            <a:xfrm>
              <a:off x="7861504" y="4281217"/>
              <a:ext cx="152998" cy="1017478"/>
            </a:xfrm>
            <a:custGeom>
              <a:avLst/>
              <a:gdLst>
                <a:gd name="connsiteX0" fmla="*/ 126555 w 135131"/>
                <a:gd name="connsiteY0" fmla="*/ 898656 h 898656"/>
                <a:gd name="connsiteX1" fmla="*/ 0 w 135131"/>
                <a:gd name="connsiteY1" fmla="*/ 898656 h 898656"/>
                <a:gd name="connsiteX2" fmla="*/ 0 w 135131"/>
                <a:gd name="connsiteY2" fmla="*/ 0 h 898656"/>
                <a:gd name="connsiteX3" fmla="*/ 135132 w 135131"/>
                <a:gd name="connsiteY3" fmla="*/ 0 h 898656"/>
                <a:gd name="connsiteX4" fmla="*/ 126555 w 135131"/>
                <a:gd name="connsiteY4" fmla="*/ 898656 h 898656"/>
                <a:gd name="connsiteX5" fmla="*/ 126555 w 135131"/>
                <a:gd name="connsiteY5" fmla="*/ 898656 h 898656"/>
                <a:gd name="connsiteX6" fmla="*/ 126555 w 135131"/>
                <a:gd name="connsiteY6" fmla="*/ 898656 h 898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131" h="898656">
                  <a:moveTo>
                    <a:pt x="126555" y="898656"/>
                  </a:moveTo>
                  <a:lnTo>
                    <a:pt x="0" y="898656"/>
                  </a:lnTo>
                  <a:lnTo>
                    <a:pt x="0" y="0"/>
                  </a:lnTo>
                  <a:lnTo>
                    <a:pt x="135132" y="0"/>
                  </a:lnTo>
                  <a:lnTo>
                    <a:pt x="126555" y="898656"/>
                  </a:lnTo>
                  <a:lnTo>
                    <a:pt x="126555" y="898656"/>
                  </a:lnTo>
                  <a:lnTo>
                    <a:pt x="126555" y="898656"/>
                  </a:ln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 57"/>
            <p:cNvSpPr/>
            <p:nvPr/>
          </p:nvSpPr>
          <p:spPr>
            <a:xfrm>
              <a:off x="7703109" y="5287978"/>
              <a:ext cx="316405" cy="123506"/>
            </a:xfrm>
            <a:custGeom>
              <a:avLst/>
              <a:gdLst>
                <a:gd name="connsiteX0" fmla="*/ 264603 w 279455"/>
                <a:gd name="connsiteY0" fmla="*/ -210 h 109083"/>
                <a:gd name="connsiteX1" fmla="*/ 138493 w 279455"/>
                <a:gd name="connsiteY1" fmla="*/ -210 h 109083"/>
                <a:gd name="connsiteX2" fmla="*/ -514 w 279455"/>
                <a:gd name="connsiteY2" fmla="*/ 96168 h 109083"/>
                <a:gd name="connsiteX3" fmla="*/ -514 w 279455"/>
                <a:gd name="connsiteY3" fmla="*/ 108874 h 109083"/>
                <a:gd name="connsiteX4" fmla="*/ 277500 w 279455"/>
                <a:gd name="connsiteY4" fmla="*/ 108874 h 109083"/>
                <a:gd name="connsiteX5" fmla="*/ 264794 w 279455"/>
                <a:gd name="connsiteY5" fmla="*/ -210 h 109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9455" h="109083">
                  <a:moveTo>
                    <a:pt x="264603" y="-210"/>
                  </a:moveTo>
                  <a:lnTo>
                    <a:pt x="138493" y="-210"/>
                  </a:lnTo>
                  <a:cubicBezTo>
                    <a:pt x="138493" y="-210"/>
                    <a:pt x="12382" y="68277"/>
                    <a:pt x="-514" y="96168"/>
                  </a:cubicBezTo>
                  <a:lnTo>
                    <a:pt x="-514" y="108874"/>
                  </a:lnTo>
                  <a:lnTo>
                    <a:pt x="277500" y="108874"/>
                  </a:lnTo>
                  <a:cubicBezTo>
                    <a:pt x="277500" y="108874"/>
                    <a:pt x="285251" y="27681"/>
                    <a:pt x="264794" y="-210"/>
                  </a:cubicBez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 58"/>
            <p:cNvSpPr/>
            <p:nvPr/>
          </p:nvSpPr>
          <p:spPr>
            <a:xfrm>
              <a:off x="7703109" y="5411484"/>
              <a:ext cx="314126" cy="18773"/>
            </a:xfrm>
            <a:custGeom>
              <a:avLst/>
              <a:gdLst>
                <a:gd name="connsiteX0" fmla="*/ 0 w 277442"/>
                <a:gd name="connsiteY0" fmla="*/ 0 h 16581"/>
                <a:gd name="connsiteX1" fmla="*/ 277443 w 277442"/>
                <a:gd name="connsiteY1" fmla="*/ 0 h 16581"/>
                <a:gd name="connsiteX2" fmla="*/ 277443 w 277442"/>
                <a:gd name="connsiteY2" fmla="*/ 16582 h 16581"/>
                <a:gd name="connsiteX3" fmla="*/ 0 w 277442"/>
                <a:gd name="connsiteY3" fmla="*/ 16582 h 16581"/>
                <a:gd name="connsiteX4" fmla="*/ 0 w 277442"/>
                <a:gd name="connsiteY4" fmla="*/ 0 h 16581"/>
                <a:gd name="connsiteX5" fmla="*/ 0 w 277442"/>
                <a:gd name="connsiteY5" fmla="*/ 0 h 16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7442" h="16581">
                  <a:moveTo>
                    <a:pt x="0" y="0"/>
                  </a:moveTo>
                  <a:lnTo>
                    <a:pt x="277443" y="0"/>
                  </a:lnTo>
                  <a:lnTo>
                    <a:pt x="277443" y="16582"/>
                  </a:lnTo>
                  <a:lnTo>
                    <a:pt x="0" y="1658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 59"/>
            <p:cNvSpPr/>
            <p:nvPr/>
          </p:nvSpPr>
          <p:spPr>
            <a:xfrm>
              <a:off x="8074926" y="4281217"/>
              <a:ext cx="154366" cy="1017478"/>
            </a:xfrm>
            <a:custGeom>
              <a:avLst/>
              <a:gdLst>
                <a:gd name="connsiteX0" fmla="*/ 8704 w 136339"/>
                <a:gd name="connsiteY0" fmla="*/ 898656 h 898656"/>
                <a:gd name="connsiteX1" fmla="*/ 136339 w 136339"/>
                <a:gd name="connsiteY1" fmla="*/ 898656 h 898656"/>
                <a:gd name="connsiteX2" fmla="*/ 136339 w 136339"/>
                <a:gd name="connsiteY2" fmla="*/ 0 h 898656"/>
                <a:gd name="connsiteX3" fmla="*/ 0 w 136339"/>
                <a:gd name="connsiteY3" fmla="*/ 0 h 898656"/>
                <a:gd name="connsiteX4" fmla="*/ 8704 w 136339"/>
                <a:gd name="connsiteY4" fmla="*/ 898656 h 898656"/>
                <a:gd name="connsiteX5" fmla="*/ 8704 w 136339"/>
                <a:gd name="connsiteY5" fmla="*/ 898656 h 898656"/>
                <a:gd name="connsiteX6" fmla="*/ 8704 w 136339"/>
                <a:gd name="connsiteY6" fmla="*/ 898656 h 898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6339" h="898656">
                  <a:moveTo>
                    <a:pt x="8704" y="898656"/>
                  </a:moveTo>
                  <a:lnTo>
                    <a:pt x="136339" y="898656"/>
                  </a:lnTo>
                  <a:lnTo>
                    <a:pt x="136339" y="0"/>
                  </a:lnTo>
                  <a:lnTo>
                    <a:pt x="0" y="0"/>
                  </a:lnTo>
                  <a:lnTo>
                    <a:pt x="8704" y="898656"/>
                  </a:lnTo>
                  <a:lnTo>
                    <a:pt x="8704" y="898656"/>
                  </a:lnTo>
                  <a:lnTo>
                    <a:pt x="8704" y="898656"/>
                  </a:ln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 60"/>
            <p:cNvSpPr/>
            <p:nvPr/>
          </p:nvSpPr>
          <p:spPr>
            <a:xfrm>
              <a:off x="8073764" y="5287978"/>
              <a:ext cx="312627" cy="123506"/>
            </a:xfrm>
            <a:custGeom>
              <a:avLst/>
              <a:gdLst>
                <a:gd name="connsiteX0" fmla="*/ 11376 w 276118"/>
                <a:gd name="connsiteY0" fmla="*/ -210 h 109083"/>
                <a:gd name="connsiteX1" fmla="*/ 139646 w 276118"/>
                <a:gd name="connsiteY1" fmla="*/ -210 h 109083"/>
                <a:gd name="connsiteX2" fmla="*/ 275604 w 276118"/>
                <a:gd name="connsiteY2" fmla="*/ 96168 h 109083"/>
                <a:gd name="connsiteX3" fmla="*/ 275604 w 276118"/>
                <a:gd name="connsiteY3" fmla="*/ 108874 h 109083"/>
                <a:gd name="connsiteX4" fmla="*/ 1147 w 276118"/>
                <a:gd name="connsiteY4" fmla="*/ 108874 h 109083"/>
                <a:gd name="connsiteX5" fmla="*/ 11376 w 276118"/>
                <a:gd name="connsiteY5" fmla="*/ -210 h 109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6118" h="109083">
                  <a:moveTo>
                    <a:pt x="11376" y="-210"/>
                  </a:moveTo>
                  <a:lnTo>
                    <a:pt x="139646" y="-210"/>
                  </a:lnTo>
                  <a:cubicBezTo>
                    <a:pt x="139646" y="-210"/>
                    <a:pt x="262771" y="68277"/>
                    <a:pt x="275604" y="96168"/>
                  </a:cubicBezTo>
                  <a:lnTo>
                    <a:pt x="275604" y="108874"/>
                  </a:lnTo>
                  <a:lnTo>
                    <a:pt x="1147" y="108874"/>
                  </a:lnTo>
                  <a:cubicBezTo>
                    <a:pt x="1147" y="108874"/>
                    <a:pt x="-6604" y="27681"/>
                    <a:pt x="11376" y="-210"/>
                  </a:cubicBez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 61"/>
            <p:cNvSpPr/>
            <p:nvPr/>
          </p:nvSpPr>
          <p:spPr>
            <a:xfrm>
              <a:off x="8074926" y="5411484"/>
              <a:ext cx="311393" cy="18773"/>
            </a:xfrm>
            <a:custGeom>
              <a:avLst/>
              <a:gdLst>
                <a:gd name="connsiteX0" fmla="*/ 0 w 275028"/>
                <a:gd name="connsiteY0" fmla="*/ 0 h 16581"/>
                <a:gd name="connsiteX1" fmla="*/ 275029 w 275028"/>
                <a:gd name="connsiteY1" fmla="*/ 0 h 16581"/>
                <a:gd name="connsiteX2" fmla="*/ 275029 w 275028"/>
                <a:gd name="connsiteY2" fmla="*/ 16582 h 16581"/>
                <a:gd name="connsiteX3" fmla="*/ 0 w 275028"/>
                <a:gd name="connsiteY3" fmla="*/ 16582 h 16581"/>
                <a:gd name="connsiteX4" fmla="*/ 0 w 275028"/>
                <a:gd name="connsiteY4" fmla="*/ 0 h 16581"/>
                <a:gd name="connsiteX5" fmla="*/ 0 w 275028"/>
                <a:gd name="connsiteY5" fmla="*/ 0 h 16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5028" h="16581">
                  <a:moveTo>
                    <a:pt x="0" y="0"/>
                  </a:moveTo>
                  <a:lnTo>
                    <a:pt x="275029" y="0"/>
                  </a:lnTo>
                  <a:lnTo>
                    <a:pt x="275029" y="16582"/>
                  </a:lnTo>
                  <a:lnTo>
                    <a:pt x="0" y="1658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 62"/>
            <p:cNvSpPr/>
            <p:nvPr/>
          </p:nvSpPr>
          <p:spPr>
            <a:xfrm>
              <a:off x="7564855" y="3584555"/>
              <a:ext cx="961084" cy="1110846"/>
            </a:xfrm>
            <a:custGeom>
              <a:avLst/>
              <a:gdLst>
                <a:gd name="connsiteX0" fmla="*/ 635502 w 848847"/>
                <a:gd name="connsiteY0" fmla="*/ -210 h 981120"/>
                <a:gd name="connsiteX1" fmla="*/ 212380 w 848847"/>
                <a:gd name="connsiteY1" fmla="*/ -210 h 981120"/>
                <a:gd name="connsiteX2" fmla="*/ -514 w 848847"/>
                <a:gd name="connsiteY2" fmla="*/ 980910 h 981120"/>
                <a:gd name="connsiteX3" fmla="*/ 848334 w 848847"/>
                <a:gd name="connsiteY3" fmla="*/ 980910 h 981120"/>
                <a:gd name="connsiteX4" fmla="*/ 635502 w 848847"/>
                <a:gd name="connsiteY4" fmla="*/ -210 h 981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8847" h="981120">
                  <a:moveTo>
                    <a:pt x="635502" y="-210"/>
                  </a:moveTo>
                  <a:lnTo>
                    <a:pt x="212380" y="-210"/>
                  </a:lnTo>
                  <a:cubicBezTo>
                    <a:pt x="12319" y="253281"/>
                    <a:pt x="-514" y="980910"/>
                    <a:pt x="-514" y="980910"/>
                  </a:cubicBezTo>
                  <a:lnTo>
                    <a:pt x="848334" y="980910"/>
                  </a:lnTo>
                  <a:cubicBezTo>
                    <a:pt x="848334" y="980910"/>
                    <a:pt x="838104" y="253281"/>
                    <a:pt x="635502" y="-210"/>
                  </a:cubicBez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 63"/>
            <p:cNvSpPr/>
            <p:nvPr/>
          </p:nvSpPr>
          <p:spPr>
            <a:xfrm>
              <a:off x="6993099" y="2948350"/>
              <a:ext cx="1467130" cy="1769867"/>
            </a:xfrm>
            <a:custGeom>
              <a:avLst/>
              <a:gdLst>
                <a:gd name="connsiteX0" fmla="*/ 927593 w 1295797"/>
                <a:gd name="connsiteY0" fmla="*/ 878849 h 1563180"/>
                <a:gd name="connsiteX1" fmla="*/ 1022891 w 1295797"/>
                <a:gd name="connsiteY1" fmla="*/ 1014617 h 1563180"/>
                <a:gd name="connsiteX2" fmla="*/ 992077 w 1295797"/>
                <a:gd name="connsiteY2" fmla="*/ 1186152 h 1563180"/>
                <a:gd name="connsiteX3" fmla="*/ 821876 w 1295797"/>
                <a:gd name="connsiteY3" fmla="*/ 1157900 h 1563180"/>
                <a:gd name="connsiteX4" fmla="*/ 820161 w 1295797"/>
                <a:gd name="connsiteY4" fmla="*/ 1155403 h 1563180"/>
                <a:gd name="connsiteX5" fmla="*/ 668447 w 1295797"/>
                <a:gd name="connsiteY5" fmla="*/ 940348 h 1563180"/>
                <a:gd name="connsiteX6" fmla="*/ 668447 w 1295797"/>
                <a:gd name="connsiteY6" fmla="*/ 935202 h 1563180"/>
                <a:gd name="connsiteX7" fmla="*/ 663300 w 1295797"/>
                <a:gd name="connsiteY7" fmla="*/ 932661 h 1563180"/>
                <a:gd name="connsiteX8" fmla="*/ 694114 w 1295797"/>
                <a:gd name="connsiteY8" fmla="*/ 761125 h 1563180"/>
                <a:gd name="connsiteX9" fmla="*/ 765968 w 1295797"/>
                <a:gd name="connsiteY9" fmla="*/ 364243 h 1563180"/>
                <a:gd name="connsiteX10" fmla="*/ 368196 w 1295797"/>
                <a:gd name="connsiteY10" fmla="*/ 297661 h 1563180"/>
                <a:gd name="connsiteX11" fmla="*/ 250154 w 1295797"/>
                <a:gd name="connsiteY11" fmla="*/ 551153 h 1563180"/>
                <a:gd name="connsiteX12" fmla="*/ 134780 w 1295797"/>
                <a:gd name="connsiteY12" fmla="*/ 686793 h 1563180"/>
                <a:gd name="connsiteX13" fmla="*/ 1364 w 1295797"/>
                <a:gd name="connsiteY13" fmla="*/ 574152 h 1563180"/>
                <a:gd name="connsiteX14" fmla="*/ 224614 w 1295797"/>
                <a:gd name="connsiteY14" fmla="*/ 95313 h 1563180"/>
                <a:gd name="connsiteX15" fmla="*/ 966156 w 1295797"/>
                <a:gd name="connsiteY15" fmla="*/ 223329 h 1563180"/>
                <a:gd name="connsiteX16" fmla="*/ 927657 w 1295797"/>
                <a:gd name="connsiteY16" fmla="*/ 878849 h 1563180"/>
                <a:gd name="connsiteX17" fmla="*/ 1245823 w 1295797"/>
                <a:gd name="connsiteY17" fmla="*/ 1332149 h 1563180"/>
                <a:gd name="connsiteX18" fmla="*/ 1271236 w 1295797"/>
                <a:gd name="connsiteY18" fmla="*/ 1367980 h 1563180"/>
                <a:gd name="connsiteX19" fmla="*/ 1242965 w 1295797"/>
                <a:gd name="connsiteY19" fmla="*/ 1542121 h 1563180"/>
                <a:gd name="connsiteX20" fmla="*/ 1068506 w 1295797"/>
                <a:gd name="connsiteY20" fmla="*/ 1511371 h 1563180"/>
                <a:gd name="connsiteX21" fmla="*/ 1043093 w 1295797"/>
                <a:gd name="connsiteY21" fmla="*/ 1473252 h 1563180"/>
                <a:gd name="connsiteX22" fmla="*/ 1073906 w 1295797"/>
                <a:gd name="connsiteY22" fmla="*/ 1301717 h 1563180"/>
                <a:gd name="connsiteX23" fmla="*/ 1242583 w 1295797"/>
                <a:gd name="connsiteY23" fmla="*/ 1327847 h 1563180"/>
                <a:gd name="connsiteX24" fmla="*/ 1245823 w 1295797"/>
                <a:gd name="connsiteY24" fmla="*/ 1332466 h 1563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95797" h="1563180">
                  <a:moveTo>
                    <a:pt x="927593" y="878849"/>
                  </a:moveTo>
                  <a:lnTo>
                    <a:pt x="1022891" y="1014617"/>
                  </a:lnTo>
                  <a:cubicBezTo>
                    <a:pt x="1063932" y="1070906"/>
                    <a:pt x="1051098" y="1145174"/>
                    <a:pt x="992077" y="1186152"/>
                  </a:cubicBezTo>
                  <a:cubicBezTo>
                    <a:pt x="937313" y="1225345"/>
                    <a:pt x="861075" y="1212696"/>
                    <a:pt x="821876" y="1157900"/>
                  </a:cubicBezTo>
                  <a:cubicBezTo>
                    <a:pt x="821305" y="1157074"/>
                    <a:pt x="820732" y="1156242"/>
                    <a:pt x="820161" y="1155403"/>
                  </a:cubicBezTo>
                  <a:lnTo>
                    <a:pt x="668447" y="940348"/>
                  </a:lnTo>
                  <a:lnTo>
                    <a:pt x="668447" y="935202"/>
                  </a:lnTo>
                  <a:cubicBezTo>
                    <a:pt x="663300" y="935202"/>
                    <a:pt x="663300" y="935202"/>
                    <a:pt x="663300" y="932661"/>
                  </a:cubicBezTo>
                  <a:cubicBezTo>
                    <a:pt x="624801" y="878849"/>
                    <a:pt x="640239" y="799244"/>
                    <a:pt x="694114" y="761125"/>
                  </a:cubicBezTo>
                  <a:cubicBezTo>
                    <a:pt x="822384" y="668941"/>
                    <a:pt x="855738" y="492259"/>
                    <a:pt x="765968" y="364243"/>
                  </a:cubicBezTo>
                  <a:cubicBezTo>
                    <a:pt x="673593" y="233621"/>
                    <a:pt x="499135" y="208018"/>
                    <a:pt x="368196" y="297661"/>
                  </a:cubicBezTo>
                  <a:cubicBezTo>
                    <a:pt x="283572" y="359096"/>
                    <a:pt x="239926" y="456491"/>
                    <a:pt x="250154" y="551153"/>
                  </a:cubicBezTo>
                  <a:cubicBezTo>
                    <a:pt x="255618" y="620421"/>
                    <a:pt x="204030" y="681056"/>
                    <a:pt x="134780" y="686793"/>
                  </a:cubicBezTo>
                  <a:cubicBezTo>
                    <a:pt x="65467" y="691939"/>
                    <a:pt x="9051" y="643274"/>
                    <a:pt x="1364" y="574152"/>
                  </a:cubicBezTo>
                  <a:cubicBezTo>
                    <a:pt x="-14456" y="386231"/>
                    <a:pt x="70486" y="204003"/>
                    <a:pt x="224614" y="95313"/>
                  </a:cubicBezTo>
                  <a:cubicBezTo>
                    <a:pt x="466035" y="-71140"/>
                    <a:pt x="799386" y="-14788"/>
                    <a:pt x="966156" y="223329"/>
                  </a:cubicBezTo>
                  <a:cubicBezTo>
                    <a:pt x="1107832" y="424058"/>
                    <a:pt x="1091822" y="696081"/>
                    <a:pt x="927657" y="878849"/>
                  </a:cubicBezTo>
                  <a:close/>
                  <a:moveTo>
                    <a:pt x="1245823" y="1332149"/>
                  </a:moveTo>
                  <a:lnTo>
                    <a:pt x="1271236" y="1367980"/>
                  </a:lnTo>
                  <a:cubicBezTo>
                    <a:pt x="1312277" y="1426874"/>
                    <a:pt x="1299444" y="1501397"/>
                    <a:pt x="1242965" y="1542121"/>
                  </a:cubicBezTo>
                  <a:cubicBezTo>
                    <a:pt x="1189089" y="1577953"/>
                    <a:pt x="1109548" y="1567533"/>
                    <a:pt x="1068506" y="1511371"/>
                  </a:cubicBezTo>
                  <a:lnTo>
                    <a:pt x="1043093" y="1473252"/>
                  </a:lnTo>
                  <a:cubicBezTo>
                    <a:pt x="1004593" y="1419505"/>
                    <a:pt x="1019968" y="1339836"/>
                    <a:pt x="1073906" y="1301717"/>
                  </a:cubicBezTo>
                  <a:cubicBezTo>
                    <a:pt x="1127718" y="1262346"/>
                    <a:pt x="1203257" y="1274049"/>
                    <a:pt x="1242583" y="1327847"/>
                  </a:cubicBezTo>
                  <a:cubicBezTo>
                    <a:pt x="1243727" y="1329359"/>
                    <a:pt x="1244806" y="1330903"/>
                    <a:pt x="1245823" y="1332466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 64"/>
            <p:cNvSpPr/>
            <p:nvPr/>
          </p:nvSpPr>
          <p:spPr>
            <a:xfrm>
              <a:off x="8074926" y="2908035"/>
              <a:ext cx="512041" cy="826857"/>
            </a:xfrm>
            <a:custGeom>
              <a:avLst/>
              <a:gdLst>
                <a:gd name="connsiteX0" fmla="*/ 274260 w 452244"/>
                <a:gd name="connsiteY0" fmla="*/ -210 h 730296"/>
                <a:gd name="connsiteX1" fmla="*/ 451387 w 452244"/>
                <a:gd name="connsiteY1" fmla="*/ 381616 h 730296"/>
                <a:gd name="connsiteX2" fmla="*/ 43132 w 452244"/>
                <a:gd name="connsiteY2" fmla="*/ 730087 h 730296"/>
                <a:gd name="connsiteX3" fmla="*/ -514 w 452244"/>
                <a:gd name="connsiteY3" fmla="*/ 558551 h 730296"/>
                <a:gd name="connsiteX4" fmla="*/ 315302 w 452244"/>
                <a:gd name="connsiteY4" fmla="*/ 366368 h 730296"/>
                <a:gd name="connsiteX5" fmla="*/ 248594 w 452244"/>
                <a:gd name="connsiteY5" fmla="*/ 207539 h 730296"/>
                <a:gd name="connsiteX6" fmla="*/ 274007 w 452244"/>
                <a:gd name="connsiteY6" fmla="*/ -19 h 730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2244" h="730296">
                  <a:moveTo>
                    <a:pt x="274260" y="-210"/>
                  </a:moveTo>
                  <a:cubicBezTo>
                    <a:pt x="274260" y="-210"/>
                    <a:pt x="438553" y="292036"/>
                    <a:pt x="451387" y="381616"/>
                  </a:cubicBezTo>
                  <a:cubicBezTo>
                    <a:pt x="464093" y="473864"/>
                    <a:pt x="120196" y="717317"/>
                    <a:pt x="43132" y="730087"/>
                  </a:cubicBezTo>
                  <a:lnTo>
                    <a:pt x="-514" y="558551"/>
                  </a:lnTo>
                  <a:cubicBezTo>
                    <a:pt x="-514" y="558551"/>
                    <a:pt x="284489" y="425135"/>
                    <a:pt x="315302" y="366368"/>
                  </a:cubicBezTo>
                  <a:lnTo>
                    <a:pt x="248594" y="207539"/>
                  </a:lnTo>
                  <a:lnTo>
                    <a:pt x="274007" y="-19"/>
                  </a:ln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 65"/>
            <p:cNvSpPr/>
            <p:nvPr/>
          </p:nvSpPr>
          <p:spPr>
            <a:xfrm>
              <a:off x="8008236" y="3573622"/>
              <a:ext cx="101648" cy="117572"/>
            </a:xfrm>
            <a:custGeom>
              <a:avLst/>
              <a:gdLst>
                <a:gd name="connsiteX0" fmla="*/ 66265 w 89777"/>
                <a:gd name="connsiteY0" fmla="*/ 362 h 103842"/>
                <a:gd name="connsiteX1" fmla="*/ 5147 w 89777"/>
                <a:gd name="connsiteY1" fmla="*/ 15800 h 103842"/>
                <a:gd name="connsiteX2" fmla="*/ 89263 w 89777"/>
                <a:gd name="connsiteY2" fmla="*/ 95596 h 103842"/>
                <a:gd name="connsiteX3" fmla="*/ 66265 w 89777"/>
                <a:gd name="connsiteY3" fmla="*/ 298 h 103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777" h="103842">
                  <a:moveTo>
                    <a:pt x="66265" y="362"/>
                  </a:moveTo>
                  <a:cubicBezTo>
                    <a:pt x="66265" y="362"/>
                    <a:pt x="15439" y="-4784"/>
                    <a:pt x="5147" y="15800"/>
                  </a:cubicBezTo>
                  <a:cubicBezTo>
                    <a:pt x="-5145" y="36384"/>
                    <a:pt x="-12705" y="131555"/>
                    <a:pt x="89263" y="95596"/>
                  </a:cubicBezTo>
                  <a:lnTo>
                    <a:pt x="66265" y="298"/>
                  </a:ln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 67"/>
            <p:cNvSpPr/>
            <p:nvPr/>
          </p:nvSpPr>
          <p:spPr>
            <a:xfrm rot="19901924">
              <a:off x="4001212" y="2597109"/>
              <a:ext cx="340051" cy="595716"/>
            </a:xfrm>
            <a:custGeom>
              <a:avLst/>
              <a:gdLst>
                <a:gd name="connsiteX0" fmla="*/ 596690 w 1007682"/>
                <a:gd name="connsiteY0" fmla="*/ 1042540 h 1765307"/>
                <a:gd name="connsiteX1" fmla="*/ 596690 w 1007682"/>
                <a:gd name="connsiteY1" fmla="*/ 1209120 h 1765307"/>
                <a:gd name="connsiteX2" fmla="*/ 479747 w 1007682"/>
                <a:gd name="connsiteY2" fmla="*/ 1332124 h 1765307"/>
                <a:gd name="connsiteX3" fmla="*/ 473502 w 1007682"/>
                <a:gd name="connsiteY3" fmla="*/ 1332118 h 1765307"/>
                <a:gd name="connsiteX4" fmla="*/ 350314 w 1007682"/>
                <a:gd name="connsiteY4" fmla="*/ 1209120 h 1765307"/>
                <a:gd name="connsiteX5" fmla="*/ 350314 w 1007682"/>
                <a:gd name="connsiteY5" fmla="*/ 945209 h 1765307"/>
                <a:gd name="connsiteX6" fmla="*/ 352855 w 1007682"/>
                <a:gd name="connsiteY6" fmla="*/ 940063 h 1765307"/>
                <a:gd name="connsiteX7" fmla="*/ 350314 w 1007682"/>
                <a:gd name="connsiteY7" fmla="*/ 934981 h 1765307"/>
                <a:gd name="connsiteX8" fmla="*/ 473502 w 1007682"/>
                <a:gd name="connsiteY8" fmla="*/ 811983 h 1765307"/>
                <a:gd name="connsiteX9" fmla="*/ 760983 w 1007682"/>
                <a:gd name="connsiteY9" fmla="*/ 530157 h 1765307"/>
                <a:gd name="connsiteX10" fmla="*/ 473502 w 1007682"/>
                <a:gd name="connsiteY10" fmla="*/ 245725 h 1765307"/>
                <a:gd name="connsiteX11" fmla="*/ 229667 w 1007682"/>
                <a:gd name="connsiteY11" fmla="*/ 384097 h 1765307"/>
                <a:gd name="connsiteX12" fmla="*/ 62134 w 1007682"/>
                <a:gd name="connsiteY12" fmla="*/ 430888 h 1765307"/>
                <a:gd name="connsiteX13" fmla="*/ 15343 w 1007682"/>
                <a:gd name="connsiteY13" fmla="*/ 263355 h 1765307"/>
                <a:gd name="connsiteX14" fmla="*/ 16645 w 1007682"/>
                <a:gd name="connsiteY14" fmla="*/ 261100 h 1765307"/>
                <a:gd name="connsiteX15" fmla="*/ 473502 w 1007682"/>
                <a:gd name="connsiteY15" fmla="*/ -206 h 1765307"/>
                <a:gd name="connsiteX16" fmla="*/ 1007168 w 1007682"/>
                <a:gd name="connsiteY16" fmla="*/ 530157 h 1765307"/>
                <a:gd name="connsiteX17" fmla="*/ 596499 w 1007682"/>
                <a:gd name="connsiteY17" fmla="*/ 1042540 h 1765307"/>
                <a:gd name="connsiteX18" fmla="*/ 596690 w 1007682"/>
                <a:gd name="connsiteY18" fmla="*/ 1595965 h 1765307"/>
                <a:gd name="connsiteX19" fmla="*/ 596690 w 1007682"/>
                <a:gd name="connsiteY19" fmla="*/ 1642089 h 1765307"/>
                <a:gd name="connsiteX20" fmla="*/ 473502 w 1007682"/>
                <a:gd name="connsiteY20" fmla="*/ 1765086 h 1765307"/>
                <a:gd name="connsiteX21" fmla="*/ 350314 w 1007682"/>
                <a:gd name="connsiteY21" fmla="*/ 1645221 h 1765307"/>
                <a:gd name="connsiteX22" fmla="*/ 350314 w 1007682"/>
                <a:gd name="connsiteY22" fmla="*/ 1642089 h 1765307"/>
                <a:gd name="connsiteX23" fmla="*/ 350314 w 1007682"/>
                <a:gd name="connsiteY23" fmla="*/ 1595965 h 1765307"/>
                <a:gd name="connsiteX24" fmla="*/ 473502 w 1007682"/>
                <a:gd name="connsiteY24" fmla="*/ 1473031 h 1765307"/>
                <a:gd name="connsiteX25" fmla="*/ 596690 w 1007682"/>
                <a:gd name="connsiteY25" fmla="*/ 1592769 h 1765307"/>
                <a:gd name="connsiteX26" fmla="*/ 596690 w 1007682"/>
                <a:gd name="connsiteY26" fmla="*/ 1595965 h 1765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07682" h="1765307">
                  <a:moveTo>
                    <a:pt x="596690" y="1042540"/>
                  </a:moveTo>
                  <a:lnTo>
                    <a:pt x="596690" y="1209120"/>
                  </a:lnTo>
                  <a:cubicBezTo>
                    <a:pt x="598361" y="1275377"/>
                    <a:pt x="546004" y="1330447"/>
                    <a:pt x="479747" y="1332124"/>
                  </a:cubicBezTo>
                  <a:cubicBezTo>
                    <a:pt x="477663" y="1332175"/>
                    <a:pt x="475579" y="1332175"/>
                    <a:pt x="473502" y="1332118"/>
                  </a:cubicBezTo>
                  <a:cubicBezTo>
                    <a:pt x="405529" y="1332156"/>
                    <a:pt x="350384" y="1277093"/>
                    <a:pt x="350314" y="1209120"/>
                  </a:cubicBezTo>
                  <a:lnTo>
                    <a:pt x="350314" y="945209"/>
                  </a:lnTo>
                  <a:cubicBezTo>
                    <a:pt x="350314" y="942668"/>
                    <a:pt x="352855" y="942668"/>
                    <a:pt x="352855" y="940063"/>
                  </a:cubicBezTo>
                  <a:cubicBezTo>
                    <a:pt x="350314" y="937522"/>
                    <a:pt x="350314" y="937522"/>
                    <a:pt x="350314" y="934981"/>
                  </a:cubicBezTo>
                  <a:cubicBezTo>
                    <a:pt x="350314" y="870941"/>
                    <a:pt x="406793" y="811983"/>
                    <a:pt x="473502" y="811983"/>
                  </a:cubicBezTo>
                  <a:cubicBezTo>
                    <a:pt x="632649" y="811983"/>
                    <a:pt x="760983" y="686445"/>
                    <a:pt x="760983" y="530157"/>
                  </a:cubicBezTo>
                  <a:cubicBezTo>
                    <a:pt x="760983" y="368723"/>
                    <a:pt x="632649" y="245725"/>
                    <a:pt x="473502" y="245725"/>
                  </a:cubicBezTo>
                  <a:cubicBezTo>
                    <a:pt x="373636" y="246094"/>
                    <a:pt x="281198" y="298552"/>
                    <a:pt x="229667" y="384097"/>
                  </a:cubicBezTo>
                  <a:cubicBezTo>
                    <a:pt x="196326" y="443283"/>
                    <a:pt x="121320" y="464230"/>
                    <a:pt x="62134" y="430888"/>
                  </a:cubicBezTo>
                  <a:cubicBezTo>
                    <a:pt x="2948" y="397547"/>
                    <a:pt x="-17999" y="322541"/>
                    <a:pt x="15343" y="263355"/>
                  </a:cubicBezTo>
                  <a:cubicBezTo>
                    <a:pt x="15769" y="262599"/>
                    <a:pt x="16201" y="261850"/>
                    <a:pt x="16645" y="261100"/>
                  </a:cubicBezTo>
                  <a:cubicBezTo>
                    <a:pt x="111346" y="98668"/>
                    <a:pt x="285480" y="-930"/>
                    <a:pt x="473502" y="-206"/>
                  </a:cubicBezTo>
                  <a:cubicBezTo>
                    <a:pt x="766129" y="-206"/>
                    <a:pt x="1007168" y="235497"/>
                    <a:pt x="1007168" y="530157"/>
                  </a:cubicBezTo>
                  <a:cubicBezTo>
                    <a:pt x="1007168" y="778693"/>
                    <a:pt x="832647" y="988792"/>
                    <a:pt x="596499" y="1042540"/>
                  </a:cubicBezTo>
                  <a:close/>
                  <a:moveTo>
                    <a:pt x="596690" y="1595965"/>
                  </a:moveTo>
                  <a:lnTo>
                    <a:pt x="596690" y="1642089"/>
                  </a:lnTo>
                  <a:cubicBezTo>
                    <a:pt x="596690" y="1713816"/>
                    <a:pt x="545356" y="1765086"/>
                    <a:pt x="473502" y="1765086"/>
                  </a:cubicBezTo>
                  <a:cubicBezTo>
                    <a:pt x="406387" y="1766001"/>
                    <a:pt x="351235" y="1712336"/>
                    <a:pt x="350314" y="1645221"/>
                  </a:cubicBezTo>
                  <a:cubicBezTo>
                    <a:pt x="350301" y="1644179"/>
                    <a:pt x="350301" y="1643131"/>
                    <a:pt x="350314" y="1642089"/>
                  </a:cubicBezTo>
                  <a:lnTo>
                    <a:pt x="350314" y="1595965"/>
                  </a:lnTo>
                  <a:cubicBezTo>
                    <a:pt x="351305" y="1528386"/>
                    <a:pt x="405923" y="1473882"/>
                    <a:pt x="473502" y="1473031"/>
                  </a:cubicBezTo>
                  <a:cubicBezTo>
                    <a:pt x="540585" y="1472078"/>
                    <a:pt x="595737" y="1525686"/>
                    <a:pt x="596690" y="1592769"/>
                  </a:cubicBezTo>
                  <a:cubicBezTo>
                    <a:pt x="596703" y="1593830"/>
                    <a:pt x="596703" y="1594897"/>
                    <a:pt x="596690" y="1595965"/>
                  </a:cubicBezTo>
                  <a:close/>
                </a:path>
              </a:pathLst>
            </a:custGeom>
            <a:solidFill>
              <a:srgbClr val="D0D4DA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pic>
        <p:nvPicPr>
          <p:cNvPr id="74" name="图片 7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3035" y="299594"/>
            <a:ext cx="1837445" cy="501494"/>
          </a:xfrm>
          <a:prstGeom prst="rect">
            <a:avLst/>
          </a:prstGeom>
        </p:spPr>
      </p:pic>
      <p:sp>
        <p:nvSpPr>
          <p:cNvPr id="2" name="文本框 1"/>
          <p:cNvSpPr txBox="1"/>
          <p:nvPr/>
        </p:nvSpPr>
        <p:spPr>
          <a:xfrm>
            <a:off x="556260" y="2854325"/>
            <a:ext cx="11079480" cy="53213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rmAutofit/>
          </a:bodyPr>
          <a:p>
            <a:pPr marL="106045" indent="0">
              <a:buFont typeface="Arial" panose="020B0604020202090204" pitchFamily="34" charset="0"/>
              <a:buNone/>
            </a:pPr>
            <a:r>
              <a:rPr lang="zh-CN" altLang="en-US" sz="18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大家在项目过程中是否遇到必须要模型可解释性的问题？</a:t>
            </a:r>
            <a:endParaRPr lang="zh-CN" altLang="en-US" sz="1800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pic>
        <p:nvPicPr>
          <p:cNvPr id="76" name="图片 7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93290" y="3395345"/>
            <a:ext cx="7854950" cy="32893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揭示机理：黑盒模型的局限</a:t>
            </a:r>
            <a:endParaRPr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938530" y="112522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sz="1800" dirty="0" smtClean="0"/>
              <a:t>什么是可解释性</a:t>
            </a:r>
            <a:endParaRPr lang="zh-CN" altLang="en-US" sz="1800" dirty="0" smtClean="0"/>
          </a:p>
        </p:txBody>
      </p:sp>
      <p:grpSp>
        <p:nvGrpSpPr>
          <p:cNvPr id="7" name="组合 6"/>
          <p:cNvGrpSpPr/>
          <p:nvPr/>
        </p:nvGrpSpPr>
        <p:grpSpPr>
          <a:xfrm>
            <a:off x="450215" y="1061720"/>
            <a:ext cx="389255" cy="427990"/>
            <a:chOff x="450391" y="1977754"/>
            <a:chExt cx="465233" cy="511985"/>
          </a:xfrm>
        </p:grpSpPr>
        <p:sp>
          <p:nvSpPr>
            <p:cNvPr id="11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4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6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9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0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1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9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13" name="文本框 12"/>
          <p:cNvSpPr txBox="1"/>
          <p:nvPr/>
        </p:nvSpPr>
        <p:spPr>
          <a:xfrm>
            <a:off x="967105" y="334137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rmAutofit/>
          </a:bodyPr>
          <a:p>
            <a:pPr marL="391795" indent="-285750">
              <a:buFont typeface="Arial" panose="020B0604020202090204" pitchFamily="34" charset="0"/>
              <a:buChar char="•"/>
            </a:pPr>
            <a:r>
              <a:rPr lang="zh-CN" sz="1400" b="1" dirty="0" smtClean="0"/>
              <a:t>业务需要</a:t>
            </a:r>
            <a:endParaRPr lang="zh-CN" sz="1400" b="1" dirty="0" smtClean="0"/>
          </a:p>
        </p:txBody>
      </p:sp>
      <p:sp>
        <p:nvSpPr>
          <p:cNvPr id="15" name="文本框 14"/>
          <p:cNvSpPr txBox="1"/>
          <p:nvPr/>
        </p:nvSpPr>
        <p:spPr>
          <a:xfrm>
            <a:off x="1264920" y="3705860"/>
            <a:ext cx="5424805" cy="36449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rmAutofit/>
          </a:bodyPr>
          <a:p>
            <a:pPr marL="106045" indent="0">
              <a:buFont typeface="Arial" panose="020B0604020202090204" pitchFamily="34" charset="0"/>
              <a:buNone/>
            </a:pPr>
            <a:r>
              <a:rPr lang="zh-CN" sz="1400" dirty="0" smtClean="0"/>
              <a:t>如新单投诉模型，客户在承保时被判定有风险而被拦截</a:t>
            </a:r>
            <a:endParaRPr lang="zh-CN" sz="1400" dirty="0" smtClean="0"/>
          </a:p>
        </p:txBody>
      </p:sp>
      <p:sp>
        <p:nvSpPr>
          <p:cNvPr id="17" name="文本框 16"/>
          <p:cNvSpPr txBox="1"/>
          <p:nvPr/>
        </p:nvSpPr>
        <p:spPr>
          <a:xfrm>
            <a:off x="1839595" y="4032250"/>
            <a:ext cx="5424805" cy="73787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rmAutofit/>
          </a:bodyPr>
          <a:p>
            <a:pPr marL="106045" indent="0" fontAlgn="auto">
              <a:lnSpc>
                <a:spcPts val="2300"/>
              </a:lnSpc>
              <a:buFont typeface="Arial" panose="020B0604020202090204" pitchFamily="34" charset="0"/>
              <a:buNone/>
            </a:pPr>
            <a:r>
              <a:rPr lang="zh-CN" sz="1400" dirty="0" smtClean="0"/>
              <a:t>①代理人、客户会质疑为什么被拦截</a:t>
            </a:r>
            <a:endParaRPr lang="zh-CN" sz="1400" dirty="0" smtClean="0"/>
          </a:p>
          <a:p>
            <a:pPr marL="106045" indent="0" fontAlgn="auto">
              <a:lnSpc>
                <a:spcPts val="2300"/>
              </a:lnSpc>
              <a:buFont typeface="Arial" panose="020B0604020202090204" pitchFamily="34" charset="0"/>
              <a:buNone/>
            </a:pPr>
            <a:r>
              <a:rPr lang="zh-CN" sz="1400" dirty="0" smtClean="0"/>
              <a:t>②拦截后的契调需要结合风险原因核实</a:t>
            </a:r>
            <a:endParaRPr lang="zh-CN" sz="1400" dirty="0" smtClean="0"/>
          </a:p>
        </p:txBody>
      </p:sp>
      <p:sp>
        <p:nvSpPr>
          <p:cNvPr id="18" name="文本框 17"/>
          <p:cNvSpPr txBox="1"/>
          <p:nvPr/>
        </p:nvSpPr>
        <p:spPr>
          <a:xfrm>
            <a:off x="967105" y="4834255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rmAutofit/>
          </a:bodyPr>
          <a:p>
            <a:pPr marL="391795" indent="-285750">
              <a:buFont typeface="Arial" panose="020B0604020202090204" pitchFamily="34" charset="0"/>
              <a:buChar char="•"/>
            </a:pPr>
            <a:r>
              <a:rPr lang="zh-CN" sz="1400" b="1" dirty="0" smtClean="0"/>
              <a:t>决策需要</a:t>
            </a:r>
            <a:endParaRPr lang="zh-CN" sz="1400" b="1" dirty="0" smtClean="0"/>
          </a:p>
        </p:txBody>
      </p:sp>
      <p:sp>
        <p:nvSpPr>
          <p:cNvPr id="22" name="文本框 21"/>
          <p:cNvSpPr txBox="1"/>
          <p:nvPr/>
        </p:nvSpPr>
        <p:spPr>
          <a:xfrm>
            <a:off x="1264920" y="5203190"/>
            <a:ext cx="5424805" cy="36449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rmAutofit/>
          </a:bodyPr>
          <a:p>
            <a:pPr marL="106045" indent="0">
              <a:buFont typeface="Arial" panose="020B0604020202090204" pitchFamily="34" charset="0"/>
              <a:buNone/>
            </a:pPr>
            <a:r>
              <a:rPr lang="zh-CN" sz="1400" dirty="0" smtClean="0"/>
              <a:t>有些场景，业务方领导（特别是机构）需要可解释性决策</a:t>
            </a:r>
            <a:endParaRPr lang="zh-CN" sz="1400" dirty="0" smtClean="0"/>
          </a:p>
        </p:txBody>
      </p:sp>
      <p:sp>
        <p:nvSpPr>
          <p:cNvPr id="2" name="文本框 1"/>
          <p:cNvSpPr txBox="1"/>
          <p:nvPr/>
        </p:nvSpPr>
        <p:spPr>
          <a:xfrm>
            <a:off x="967105" y="1489710"/>
            <a:ext cx="10044430" cy="81534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rmAutofit/>
          </a:bodyPr>
          <a:p>
            <a:pPr marL="391795" indent="-285750" fontAlgn="auto">
              <a:lnSpc>
                <a:spcPts val="2300"/>
              </a:lnSpc>
              <a:buFont typeface="Arial" panose="020B0604020202090204" pitchFamily="34" charset="0"/>
              <a:buChar char="•"/>
            </a:pPr>
            <a:r>
              <a:rPr lang="zh-CN" altLang="en-US" sz="1400" dirty="0" smtClean="0"/>
              <a:t>可解释性是指模型额输出结果可以被简单、直观、易于理解的方式解释</a:t>
            </a:r>
            <a:endParaRPr lang="zh-CN" altLang="en-US" sz="1400" dirty="0" smtClean="0"/>
          </a:p>
          <a:p>
            <a:pPr marL="391795" indent="-285750" fontAlgn="auto">
              <a:lnSpc>
                <a:spcPts val="2300"/>
              </a:lnSpc>
              <a:buFont typeface="Arial" panose="020B0604020202090204" pitchFamily="34" charset="0"/>
              <a:buChar char="•"/>
            </a:pPr>
            <a:r>
              <a:rPr lang="zh-CN" altLang="en-US" sz="1400" dirty="0" smtClean="0"/>
              <a:t>他可以帮忙用户更好地理解模型的结果，提高模型的可信度和可靠性</a:t>
            </a:r>
            <a:endParaRPr lang="zh-CN" altLang="en-US" sz="1400" dirty="0" smtClean="0"/>
          </a:p>
        </p:txBody>
      </p:sp>
      <p:sp>
        <p:nvSpPr>
          <p:cNvPr id="32" name="文本框 31"/>
          <p:cNvSpPr txBox="1"/>
          <p:nvPr/>
        </p:nvSpPr>
        <p:spPr>
          <a:xfrm>
            <a:off x="938530" y="2738755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sz="1800" dirty="0" smtClean="0"/>
              <a:t>为什么要可解释性</a:t>
            </a:r>
            <a:endParaRPr lang="zh-CN" altLang="en-US" sz="1800" dirty="0" smtClean="0"/>
          </a:p>
        </p:txBody>
      </p:sp>
      <p:grpSp>
        <p:nvGrpSpPr>
          <p:cNvPr id="33" name="组合 32"/>
          <p:cNvGrpSpPr/>
          <p:nvPr/>
        </p:nvGrpSpPr>
        <p:grpSpPr>
          <a:xfrm>
            <a:off x="450215" y="2675255"/>
            <a:ext cx="389255" cy="427990"/>
            <a:chOff x="450391" y="1977754"/>
            <a:chExt cx="465233" cy="511985"/>
          </a:xfrm>
        </p:grpSpPr>
        <p:sp>
          <p:nvSpPr>
            <p:cNvPr id="34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35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36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37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38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39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0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1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  <p:bldLst>
      <p:bldP spid="13" grpId="1"/>
      <p:bldP spid="15" grpId="1"/>
      <p:bldP spid="17" grpId="1"/>
      <p:bldP spid="18" grpId="1"/>
      <p:bldP spid="22" grpId="1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精确拆解</a:t>
            </a:r>
            <a:r>
              <a:rPr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：</a:t>
            </a:r>
            <a:r>
              <a:rPr 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可解释性的分类</a:t>
            </a:r>
            <a:endParaRPr lang="zh-CN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2645410" y="1164590"/>
            <a:ext cx="1939290" cy="412115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106045" indent="0" algn="r">
              <a:buFont typeface="Arial" panose="020B0604020202090204" pitchFamily="34" charset="0"/>
              <a:buNone/>
            </a:pPr>
            <a:r>
              <a:rPr lang="zh-CN" altLang="en-US" sz="1600" b="1" dirty="0" smtClean="0"/>
              <a:t>特征可解释性</a:t>
            </a:r>
            <a:endParaRPr lang="zh-CN" altLang="en-US" sz="1600" b="1" dirty="0" smtClean="0"/>
          </a:p>
        </p:txBody>
      </p:sp>
      <p:sp>
        <p:nvSpPr>
          <p:cNvPr id="23" name="文本框 22"/>
          <p:cNvSpPr txBox="1"/>
          <p:nvPr/>
        </p:nvSpPr>
        <p:spPr>
          <a:xfrm>
            <a:off x="1809115" y="1651000"/>
            <a:ext cx="3889375" cy="412115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106045" indent="0">
              <a:buFont typeface="Arial" panose="020B0604020202090204" pitchFamily="34" charset="0"/>
              <a:buNone/>
            </a:pPr>
            <a:r>
              <a:rPr lang="zh-CN" altLang="en-US" sz="1400" dirty="0" smtClean="0"/>
              <a:t>模型中哪些特征对输出结果有较大影响</a:t>
            </a:r>
            <a:endParaRPr lang="zh-CN" altLang="en-US" sz="1400" dirty="0" smtClean="0"/>
          </a:p>
        </p:txBody>
      </p:sp>
      <p:sp>
        <p:nvSpPr>
          <p:cNvPr id="25" name="文本框 24"/>
          <p:cNvSpPr txBox="1"/>
          <p:nvPr/>
        </p:nvSpPr>
        <p:spPr>
          <a:xfrm>
            <a:off x="7648575" y="3077210"/>
            <a:ext cx="1686560" cy="412115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106045" indent="0">
              <a:buFont typeface="Arial" panose="020B0604020202090204" pitchFamily="34" charset="0"/>
              <a:buNone/>
            </a:pPr>
            <a:r>
              <a:rPr lang="zh-CN" altLang="en-US" sz="1600" b="1" dirty="0" smtClean="0"/>
              <a:t>模型解释性</a:t>
            </a:r>
            <a:endParaRPr lang="zh-CN" altLang="en-US" sz="1600" b="1" dirty="0" smtClean="0"/>
          </a:p>
        </p:txBody>
      </p:sp>
      <p:sp>
        <p:nvSpPr>
          <p:cNvPr id="26" name="文本框 25"/>
          <p:cNvSpPr txBox="1"/>
          <p:nvPr/>
        </p:nvSpPr>
        <p:spPr>
          <a:xfrm>
            <a:off x="7228205" y="3546475"/>
            <a:ext cx="4416425" cy="412115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106045" indent="0">
              <a:buFont typeface="Arial" panose="020B0604020202090204" pitchFamily="34" charset="0"/>
              <a:buNone/>
            </a:pPr>
            <a:r>
              <a:rPr lang="zh-CN" altLang="en-US" sz="1400" dirty="0" smtClean="0"/>
              <a:t>模型的决策过程，如决策树，用树状图形式展示</a:t>
            </a:r>
            <a:endParaRPr lang="zh-CN" altLang="en-US" sz="1400" dirty="0" smtClean="0"/>
          </a:p>
        </p:txBody>
      </p:sp>
      <p:sp>
        <p:nvSpPr>
          <p:cNvPr id="27" name="文本框 26"/>
          <p:cNvSpPr txBox="1"/>
          <p:nvPr/>
        </p:nvSpPr>
        <p:spPr>
          <a:xfrm>
            <a:off x="2898140" y="4051300"/>
            <a:ext cx="1686560" cy="412115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106045" indent="0" algn="r">
              <a:buFont typeface="Arial" panose="020B0604020202090204" pitchFamily="34" charset="0"/>
              <a:buNone/>
            </a:pPr>
            <a:r>
              <a:rPr lang="zh-CN" altLang="en-US" sz="1600" b="1" dirty="0" smtClean="0"/>
              <a:t>预测解释性</a:t>
            </a:r>
            <a:endParaRPr lang="zh-CN" altLang="en-US" sz="1600" b="1" dirty="0" smtClean="0"/>
          </a:p>
        </p:txBody>
      </p:sp>
      <p:sp>
        <p:nvSpPr>
          <p:cNvPr id="28" name="文本框 27"/>
          <p:cNvSpPr txBox="1"/>
          <p:nvPr/>
        </p:nvSpPr>
        <p:spPr>
          <a:xfrm>
            <a:off x="564515" y="4594225"/>
            <a:ext cx="4416425" cy="490855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106045" indent="0" fontAlgn="auto">
              <a:lnSpc>
                <a:spcPts val="2300"/>
              </a:lnSpc>
              <a:buFont typeface="Arial" panose="020B0604020202090204" pitchFamily="34" charset="0"/>
              <a:buNone/>
            </a:pPr>
            <a:r>
              <a:rPr lang="zh-CN" altLang="en-US" sz="1400" dirty="0" smtClean="0"/>
              <a:t>解释模型对特定输入数据的预测结果。如线性模型，可以看到输入特征和输出结果的关系</a:t>
            </a:r>
            <a:endParaRPr lang="zh-CN" altLang="en-US" sz="1400" dirty="0" smtClean="0"/>
          </a:p>
        </p:txBody>
      </p:sp>
      <p:sp>
        <p:nvSpPr>
          <p:cNvPr id="30" name="任意多边形: 形状 8"/>
          <p:cNvSpPr/>
          <p:nvPr/>
        </p:nvSpPr>
        <p:spPr bwMode="auto">
          <a:xfrm>
            <a:off x="4664393" y="1113790"/>
            <a:ext cx="511175" cy="512763"/>
          </a:xfrm>
          <a:custGeom>
            <a:avLst/>
            <a:gdLst>
              <a:gd name="T0" fmla="*/ 507 w 515"/>
              <a:gd name="T1" fmla="*/ 273 h 515"/>
              <a:gd name="T2" fmla="*/ 243 w 515"/>
              <a:gd name="T3" fmla="*/ 507 h 515"/>
              <a:gd name="T4" fmla="*/ 8 w 515"/>
              <a:gd name="T5" fmla="*/ 243 h 515"/>
              <a:gd name="T6" fmla="*/ 273 w 515"/>
              <a:gd name="T7" fmla="*/ 8 h 515"/>
              <a:gd name="T8" fmla="*/ 507 w 515"/>
              <a:gd name="T9" fmla="*/ 273 h 5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15" h="515">
                <a:moveTo>
                  <a:pt x="507" y="273"/>
                </a:moveTo>
                <a:cubicBezTo>
                  <a:pt x="499" y="410"/>
                  <a:pt x="380" y="515"/>
                  <a:pt x="243" y="507"/>
                </a:cubicBezTo>
                <a:cubicBezTo>
                  <a:pt x="105" y="499"/>
                  <a:pt x="0" y="380"/>
                  <a:pt x="8" y="243"/>
                </a:cubicBezTo>
                <a:cubicBezTo>
                  <a:pt x="17" y="105"/>
                  <a:pt x="135" y="0"/>
                  <a:pt x="273" y="8"/>
                </a:cubicBezTo>
                <a:cubicBezTo>
                  <a:pt x="410" y="17"/>
                  <a:pt x="515" y="135"/>
                  <a:pt x="507" y="273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2000" b="1" dirty="0">
                <a:solidFill>
                  <a:schemeClr val="bg2">
                    <a:lumMod val="10000"/>
                  </a:schemeClr>
                </a:solidFill>
                <a:latin typeface="Arial" panose="020B0604020202090204" pitchFamily="34" charset="0"/>
                <a:ea typeface="华文楷体" panose="02010600040101010101" pitchFamily="2" charset="-122"/>
              </a:rPr>
              <a:t>01</a:t>
            </a:r>
            <a:endParaRPr lang="zh-CN" altLang="en-US" sz="2000" b="1" dirty="0">
              <a:solidFill>
                <a:schemeClr val="bg2">
                  <a:lumMod val="10000"/>
                </a:schemeClr>
              </a:solidFill>
              <a:latin typeface="Arial" panose="020B0604020202090204" pitchFamily="34" charset="0"/>
              <a:ea typeface="华文楷体" panose="02010600040101010101" pitchFamily="2" charset="-122"/>
            </a:endParaRPr>
          </a:p>
        </p:txBody>
      </p:sp>
      <p:sp>
        <p:nvSpPr>
          <p:cNvPr id="31" name="任意多边形: 形状 8"/>
          <p:cNvSpPr/>
          <p:nvPr/>
        </p:nvSpPr>
        <p:spPr bwMode="auto">
          <a:xfrm>
            <a:off x="7326313" y="3035935"/>
            <a:ext cx="511175" cy="512763"/>
          </a:xfrm>
          <a:custGeom>
            <a:avLst/>
            <a:gdLst>
              <a:gd name="T0" fmla="*/ 507 w 515"/>
              <a:gd name="T1" fmla="*/ 273 h 515"/>
              <a:gd name="T2" fmla="*/ 243 w 515"/>
              <a:gd name="T3" fmla="*/ 507 h 515"/>
              <a:gd name="T4" fmla="*/ 8 w 515"/>
              <a:gd name="T5" fmla="*/ 243 h 515"/>
              <a:gd name="T6" fmla="*/ 273 w 515"/>
              <a:gd name="T7" fmla="*/ 8 h 515"/>
              <a:gd name="T8" fmla="*/ 507 w 515"/>
              <a:gd name="T9" fmla="*/ 273 h 5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15" h="515">
                <a:moveTo>
                  <a:pt x="507" y="273"/>
                </a:moveTo>
                <a:cubicBezTo>
                  <a:pt x="499" y="410"/>
                  <a:pt x="380" y="515"/>
                  <a:pt x="243" y="507"/>
                </a:cubicBezTo>
                <a:cubicBezTo>
                  <a:pt x="105" y="499"/>
                  <a:pt x="0" y="380"/>
                  <a:pt x="8" y="243"/>
                </a:cubicBezTo>
                <a:cubicBezTo>
                  <a:pt x="17" y="105"/>
                  <a:pt x="135" y="0"/>
                  <a:pt x="273" y="8"/>
                </a:cubicBezTo>
                <a:cubicBezTo>
                  <a:pt x="410" y="17"/>
                  <a:pt x="515" y="135"/>
                  <a:pt x="507" y="273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2000" b="1" dirty="0">
                <a:solidFill>
                  <a:schemeClr val="bg2">
                    <a:lumMod val="10000"/>
                  </a:schemeClr>
                </a:solidFill>
                <a:latin typeface="Arial" panose="020B0604020202090204" pitchFamily="34" charset="0"/>
                <a:ea typeface="华文楷体" panose="02010600040101010101" pitchFamily="2" charset="-122"/>
              </a:rPr>
              <a:t>02</a:t>
            </a:r>
            <a:endParaRPr lang="zh-CN" altLang="en-US" sz="2000" b="1" dirty="0">
              <a:solidFill>
                <a:schemeClr val="bg2">
                  <a:lumMod val="10000"/>
                </a:schemeClr>
              </a:solidFill>
              <a:latin typeface="Arial" panose="020B0604020202090204" pitchFamily="34" charset="0"/>
              <a:ea typeface="华文楷体" panose="02010600040101010101" pitchFamily="2" charset="-122"/>
            </a:endParaRPr>
          </a:p>
        </p:txBody>
      </p:sp>
      <p:sp>
        <p:nvSpPr>
          <p:cNvPr id="42" name="任意多边形: 形状 8"/>
          <p:cNvSpPr/>
          <p:nvPr/>
        </p:nvSpPr>
        <p:spPr bwMode="auto">
          <a:xfrm>
            <a:off x="4664393" y="4001135"/>
            <a:ext cx="511175" cy="512763"/>
          </a:xfrm>
          <a:custGeom>
            <a:avLst/>
            <a:gdLst>
              <a:gd name="T0" fmla="*/ 507 w 515"/>
              <a:gd name="T1" fmla="*/ 273 h 515"/>
              <a:gd name="T2" fmla="*/ 243 w 515"/>
              <a:gd name="T3" fmla="*/ 507 h 515"/>
              <a:gd name="T4" fmla="*/ 8 w 515"/>
              <a:gd name="T5" fmla="*/ 243 h 515"/>
              <a:gd name="T6" fmla="*/ 273 w 515"/>
              <a:gd name="T7" fmla="*/ 8 h 515"/>
              <a:gd name="T8" fmla="*/ 507 w 515"/>
              <a:gd name="T9" fmla="*/ 273 h 5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15" h="515">
                <a:moveTo>
                  <a:pt x="507" y="273"/>
                </a:moveTo>
                <a:cubicBezTo>
                  <a:pt x="499" y="410"/>
                  <a:pt x="380" y="515"/>
                  <a:pt x="243" y="507"/>
                </a:cubicBezTo>
                <a:cubicBezTo>
                  <a:pt x="105" y="499"/>
                  <a:pt x="0" y="380"/>
                  <a:pt x="8" y="243"/>
                </a:cubicBezTo>
                <a:cubicBezTo>
                  <a:pt x="17" y="105"/>
                  <a:pt x="135" y="0"/>
                  <a:pt x="273" y="8"/>
                </a:cubicBezTo>
                <a:cubicBezTo>
                  <a:pt x="410" y="17"/>
                  <a:pt x="515" y="135"/>
                  <a:pt x="507" y="273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2000" b="1" dirty="0">
                <a:solidFill>
                  <a:schemeClr val="bg2">
                    <a:lumMod val="10000"/>
                  </a:schemeClr>
                </a:solidFill>
                <a:latin typeface="Arial" panose="020B0604020202090204" pitchFamily="34" charset="0"/>
                <a:ea typeface="华文楷体" panose="02010600040101010101" pitchFamily="2" charset="-122"/>
              </a:rPr>
              <a:t>03</a:t>
            </a:r>
            <a:endParaRPr lang="zh-CN" altLang="en-US" sz="2000" b="1" dirty="0">
              <a:solidFill>
                <a:schemeClr val="bg2">
                  <a:lumMod val="10000"/>
                </a:schemeClr>
              </a:solidFill>
              <a:latin typeface="Arial" panose="020B0604020202090204" pitchFamily="34" charset="0"/>
              <a:ea typeface="华文楷体" panose="02010600040101010101" pitchFamily="2" charset="-122"/>
            </a:endParaRPr>
          </a:p>
        </p:txBody>
      </p:sp>
      <p:sp>
        <p:nvSpPr>
          <p:cNvPr id="2" name="MH_Other_1"/>
          <p:cNvSpPr/>
          <p:nvPr>
            <p:custDataLst>
              <p:tags r:id="rId1"/>
            </p:custDataLst>
          </p:nvPr>
        </p:nvSpPr>
        <p:spPr>
          <a:xfrm>
            <a:off x="5645150" y="2780836"/>
            <a:ext cx="1003300" cy="1003300"/>
          </a:xfrm>
          <a:prstGeom prst="ellipse">
            <a:avLst/>
          </a:prstGeom>
          <a:solidFill>
            <a:srgbClr val="FFFFFF"/>
          </a:solidFill>
          <a:ln w="3175">
            <a:solidFill>
              <a:srgbClr val="DDDDDD"/>
            </a:solidFill>
          </a:ln>
          <a:effectLst>
            <a:outerShdw dist="635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p>
            <a:pPr algn="ctr">
              <a:defRPr/>
            </a:pPr>
            <a:endParaRPr lang="zh-CN" altLang="en-US">
              <a:latin typeface="Arial" panose="020B0604020202090204" pitchFamily="34" charset="0"/>
              <a:ea typeface="黑体" panose="02010609060101010101" pitchFamily="49" charset="-122"/>
            </a:endParaRPr>
          </a:p>
        </p:txBody>
      </p:sp>
      <p:sp>
        <p:nvSpPr>
          <p:cNvPr id="6" name="MH_Other_2"/>
          <p:cNvSpPr/>
          <p:nvPr>
            <p:custDataLst>
              <p:tags r:id="rId2"/>
            </p:custDataLst>
          </p:nvPr>
        </p:nvSpPr>
        <p:spPr>
          <a:xfrm>
            <a:off x="5734627" y="2870345"/>
            <a:ext cx="825557" cy="825557"/>
          </a:xfrm>
          <a:prstGeom prst="ellipse">
            <a:avLst/>
          </a:prstGeom>
          <a:solidFill>
            <a:srgbClr val="FE7A06"/>
          </a:solidFill>
          <a:ln>
            <a:noFill/>
          </a:ln>
          <a:effectLst>
            <a:innerShdw dist="76200" dir="13500000">
              <a:prstClr val="black">
                <a:alpha val="1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p>
            <a:pPr algn="ctr">
              <a:defRPr/>
            </a:pPr>
            <a:endParaRPr lang="zh-CN" altLang="en-US">
              <a:latin typeface="Arial" panose="020B0604020202090204" pitchFamily="34" charset="0"/>
              <a:ea typeface="黑体" panose="02010609060101010101" pitchFamily="49" charset="-122"/>
            </a:endParaRPr>
          </a:p>
        </p:txBody>
      </p:sp>
      <p:sp>
        <p:nvSpPr>
          <p:cNvPr id="7" name="MH_Other_3"/>
          <p:cNvSpPr/>
          <p:nvPr>
            <p:custDataLst>
              <p:tags r:id="rId3"/>
            </p:custDataLst>
          </p:nvPr>
        </p:nvSpPr>
        <p:spPr>
          <a:xfrm>
            <a:off x="6704013" y="2855449"/>
            <a:ext cx="190500" cy="855663"/>
          </a:xfrm>
          <a:custGeom>
            <a:avLst/>
            <a:gdLst>
              <a:gd name="connsiteX0" fmla="*/ 0 w 200069"/>
              <a:gd name="connsiteY0" fmla="*/ 0 h 904875"/>
              <a:gd name="connsiteX1" fmla="*/ 200025 w 200069"/>
              <a:gd name="connsiteY1" fmla="*/ 490538 h 904875"/>
              <a:gd name="connsiteX2" fmla="*/ 14288 w 200069"/>
              <a:gd name="connsiteY2" fmla="*/ 904875 h 904875"/>
              <a:gd name="connsiteX0-1" fmla="*/ 0 w 202450"/>
              <a:gd name="connsiteY0-2" fmla="*/ 0 h 904875"/>
              <a:gd name="connsiteX1-3" fmla="*/ 202407 w 202450"/>
              <a:gd name="connsiteY1-4" fmla="*/ 471488 h 904875"/>
              <a:gd name="connsiteX2-5" fmla="*/ 14288 w 202450"/>
              <a:gd name="connsiteY2-6" fmla="*/ 904875 h 904875"/>
              <a:gd name="connsiteX0-7" fmla="*/ 0 w 202558"/>
              <a:gd name="connsiteY0-8" fmla="*/ 0 h 904875"/>
              <a:gd name="connsiteX1-9" fmla="*/ 202407 w 202558"/>
              <a:gd name="connsiteY1-10" fmla="*/ 471488 h 904875"/>
              <a:gd name="connsiteX2-11" fmla="*/ 14288 w 202558"/>
              <a:gd name="connsiteY2-12" fmla="*/ 904875 h 904875"/>
              <a:gd name="connsiteX0-13" fmla="*/ 0 w 204846"/>
              <a:gd name="connsiteY0-14" fmla="*/ 0 h 897731"/>
              <a:gd name="connsiteX1-15" fmla="*/ 204788 w 204846"/>
              <a:gd name="connsiteY1-16" fmla="*/ 464344 h 897731"/>
              <a:gd name="connsiteX2-17" fmla="*/ 16669 w 204846"/>
              <a:gd name="connsiteY2-18" fmla="*/ 897731 h 897731"/>
              <a:gd name="connsiteX0-19" fmla="*/ 0 w 204846"/>
              <a:gd name="connsiteY0-20" fmla="*/ 0 h 897731"/>
              <a:gd name="connsiteX1-21" fmla="*/ 204788 w 204846"/>
              <a:gd name="connsiteY1-22" fmla="*/ 464344 h 897731"/>
              <a:gd name="connsiteX2-23" fmla="*/ 16669 w 204846"/>
              <a:gd name="connsiteY2-24" fmla="*/ 897731 h 897731"/>
              <a:gd name="connsiteX0-25" fmla="*/ 0 w 204798"/>
              <a:gd name="connsiteY0-26" fmla="*/ 0 h 916781"/>
              <a:gd name="connsiteX1-27" fmla="*/ 204788 w 204798"/>
              <a:gd name="connsiteY1-28" fmla="*/ 464344 h 916781"/>
              <a:gd name="connsiteX2-29" fmla="*/ 7144 w 204798"/>
              <a:gd name="connsiteY2-30" fmla="*/ 916781 h 916781"/>
              <a:gd name="connsiteX0-31" fmla="*/ 0 w 204800"/>
              <a:gd name="connsiteY0-32" fmla="*/ 0 h 916781"/>
              <a:gd name="connsiteX1-33" fmla="*/ 204788 w 204800"/>
              <a:gd name="connsiteY1-34" fmla="*/ 464344 h 916781"/>
              <a:gd name="connsiteX2-35" fmla="*/ 7144 w 204800"/>
              <a:gd name="connsiteY2-36" fmla="*/ 916781 h 916781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</a:cxnLst>
            <a:rect l="l" t="t" r="r" b="b"/>
            <a:pathLst>
              <a:path w="204800" h="916781">
                <a:moveTo>
                  <a:pt x="0" y="0"/>
                </a:moveTo>
                <a:cubicBezTo>
                  <a:pt x="158353" y="148432"/>
                  <a:pt x="203597" y="311547"/>
                  <a:pt x="204788" y="464344"/>
                </a:cubicBezTo>
                <a:cubicBezTo>
                  <a:pt x="205979" y="617141"/>
                  <a:pt x="120253" y="789782"/>
                  <a:pt x="7144" y="916781"/>
                </a:cubicBezTo>
              </a:path>
            </a:pathLst>
          </a:custGeom>
          <a:noFill/>
          <a:ln w="25400">
            <a:solidFill>
              <a:srgbClr val="FE7A06"/>
            </a:solidFill>
            <a:headEnd type="oval" w="sm" len="sm"/>
            <a:tail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p>
            <a:pPr algn="ctr">
              <a:defRPr/>
            </a:pPr>
            <a:endParaRPr lang="zh-CN" altLang="en-US">
              <a:latin typeface="Arial" panose="020B0604020202090204" pitchFamily="34" charset="0"/>
              <a:ea typeface="黑体" panose="02010609060101010101" pitchFamily="49" charset="-122"/>
            </a:endParaRPr>
          </a:p>
        </p:txBody>
      </p:sp>
      <p:cxnSp>
        <p:nvCxnSpPr>
          <p:cNvPr id="11" name="MH_Other_4"/>
          <p:cNvCxnSpPr/>
          <p:nvPr>
            <p:custDataLst>
              <p:tags r:id="rId4"/>
            </p:custDataLst>
          </p:nvPr>
        </p:nvCxnSpPr>
        <p:spPr>
          <a:xfrm>
            <a:off x="6892925" y="3280898"/>
            <a:ext cx="215900" cy="0"/>
          </a:xfrm>
          <a:prstGeom prst="line">
            <a:avLst/>
          </a:prstGeom>
          <a:ln w="25400">
            <a:solidFill>
              <a:srgbClr val="FE7A06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MH_Other_5"/>
          <p:cNvSpPr/>
          <p:nvPr>
            <p:custDataLst>
              <p:tags r:id="rId5"/>
            </p:custDataLst>
          </p:nvPr>
        </p:nvSpPr>
        <p:spPr>
          <a:xfrm>
            <a:off x="6834189" y="3222162"/>
            <a:ext cx="117475" cy="117475"/>
          </a:xfrm>
          <a:prstGeom prst="ellipse">
            <a:avLst/>
          </a:prstGeom>
          <a:solidFill>
            <a:srgbClr val="FE7A06"/>
          </a:solidFill>
          <a:ln>
            <a:solidFill>
              <a:srgbClr val="FE7A0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p>
            <a:pPr algn="ctr">
              <a:defRPr/>
            </a:pPr>
            <a:endParaRPr lang="zh-CN" altLang="en-US">
              <a:latin typeface="Arial" panose="020B0604020202090204" pitchFamily="34" charset="0"/>
              <a:ea typeface="黑体" panose="02010609060101010101" pitchFamily="49" charset="-122"/>
            </a:endParaRPr>
          </a:p>
        </p:txBody>
      </p:sp>
      <p:sp>
        <p:nvSpPr>
          <p:cNvPr id="14" name="MH_Other_6"/>
          <p:cNvSpPr/>
          <p:nvPr>
            <p:custDataLst>
              <p:tags r:id="rId6"/>
            </p:custDataLst>
          </p:nvPr>
        </p:nvSpPr>
        <p:spPr>
          <a:xfrm>
            <a:off x="5940425" y="3139612"/>
            <a:ext cx="412750" cy="282575"/>
          </a:xfrm>
          <a:custGeom>
            <a:avLst/>
            <a:gdLst>
              <a:gd name="connsiteX0" fmla="*/ 1720704 w 1721074"/>
              <a:gd name="connsiteY0" fmla="*/ 0 h 1180530"/>
              <a:gd name="connsiteX1" fmla="*/ 1721074 w 1721074"/>
              <a:gd name="connsiteY1" fmla="*/ 328961 h 1180530"/>
              <a:gd name="connsiteX2" fmla="*/ 1609393 w 1721074"/>
              <a:gd name="connsiteY2" fmla="*/ 253106 h 1180530"/>
              <a:gd name="connsiteX3" fmla="*/ 1153934 w 1721074"/>
              <a:gd name="connsiteY3" fmla="*/ 933995 h 1180530"/>
              <a:gd name="connsiteX4" fmla="*/ 899597 w 1721074"/>
              <a:gd name="connsiteY4" fmla="*/ 519521 h 1180530"/>
              <a:gd name="connsiteX5" fmla="*/ 532223 w 1721074"/>
              <a:gd name="connsiteY5" fmla="*/ 1009354 h 1180530"/>
              <a:gd name="connsiteX6" fmla="*/ 292016 w 1721074"/>
              <a:gd name="connsiteY6" fmla="*/ 792697 h 1180530"/>
              <a:gd name="connsiteX7" fmla="*/ 0 w 1721074"/>
              <a:gd name="connsiteY7" fmla="*/ 1180530 h 1180530"/>
              <a:gd name="connsiteX8" fmla="*/ 0 w 1721074"/>
              <a:gd name="connsiteY8" fmla="*/ 996382 h 1180530"/>
              <a:gd name="connsiteX9" fmla="*/ 277886 w 1721074"/>
              <a:gd name="connsiteY9" fmla="*/ 613720 h 1180530"/>
              <a:gd name="connsiteX10" fmla="*/ 503963 w 1721074"/>
              <a:gd name="connsiteY10" fmla="*/ 839796 h 1180530"/>
              <a:gd name="connsiteX11" fmla="*/ 923147 w 1721074"/>
              <a:gd name="connsiteY11" fmla="*/ 316994 h 1180530"/>
              <a:gd name="connsiteX12" fmla="*/ 1158644 w 1721074"/>
              <a:gd name="connsiteY12" fmla="*/ 731468 h 1180530"/>
              <a:gd name="connsiteX13" fmla="*/ 1529274 w 1721074"/>
              <a:gd name="connsiteY13" fmla="*/ 198688 h 1180530"/>
              <a:gd name="connsiteX14" fmla="*/ 1414772 w 1721074"/>
              <a:gd name="connsiteY14" fmla="*/ 120917 h 11805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721074" h="1180530">
                <a:moveTo>
                  <a:pt x="1720704" y="0"/>
                </a:moveTo>
                <a:lnTo>
                  <a:pt x="1721074" y="328961"/>
                </a:lnTo>
                <a:lnTo>
                  <a:pt x="1609393" y="253106"/>
                </a:lnTo>
                <a:lnTo>
                  <a:pt x="1153934" y="933995"/>
                </a:lnTo>
                <a:lnTo>
                  <a:pt x="899597" y="519521"/>
                </a:lnTo>
                <a:lnTo>
                  <a:pt x="532223" y="1009354"/>
                </a:lnTo>
                <a:lnTo>
                  <a:pt x="292016" y="792697"/>
                </a:lnTo>
                <a:lnTo>
                  <a:pt x="0" y="1180530"/>
                </a:lnTo>
                <a:lnTo>
                  <a:pt x="0" y="996382"/>
                </a:lnTo>
                <a:lnTo>
                  <a:pt x="277886" y="613720"/>
                </a:lnTo>
                <a:lnTo>
                  <a:pt x="503963" y="839796"/>
                </a:lnTo>
                <a:lnTo>
                  <a:pt x="923147" y="316994"/>
                </a:lnTo>
                <a:lnTo>
                  <a:pt x="1158644" y="731468"/>
                </a:lnTo>
                <a:lnTo>
                  <a:pt x="1529274" y="198688"/>
                </a:lnTo>
                <a:lnTo>
                  <a:pt x="1414772" y="12091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35" tIns="25718" rIns="51435" bIns="25718" anchor="ctr">
            <a:scene3d>
              <a:camera prst="orthographicFront"/>
              <a:lightRig rig="threePt" dir="t"/>
            </a:scene3d>
            <a:sp3d>
              <a:contourClr>
                <a:srgbClr val="FFFFFF"/>
              </a:contourClr>
            </a:sp3d>
          </a:bodyPr>
          <a:p>
            <a:pPr algn="ctr">
              <a:defRPr/>
            </a:pPr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15" name="MH_Other_7"/>
          <p:cNvSpPr/>
          <p:nvPr>
            <p:custDataLst>
              <p:tags r:id="rId7"/>
            </p:custDataLst>
          </p:nvPr>
        </p:nvSpPr>
        <p:spPr>
          <a:xfrm flipH="1">
            <a:off x="5557838" y="1369549"/>
            <a:ext cx="1001712" cy="1001713"/>
          </a:xfrm>
          <a:prstGeom prst="ellipse">
            <a:avLst/>
          </a:prstGeom>
          <a:solidFill>
            <a:srgbClr val="FFFFFF"/>
          </a:solidFill>
          <a:ln w="3175">
            <a:solidFill>
              <a:srgbClr val="DDDDDD"/>
            </a:solidFill>
          </a:ln>
          <a:effectLst>
            <a:outerShdw dist="635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p>
            <a:pPr algn="ctr">
              <a:defRPr/>
            </a:pPr>
            <a:endParaRPr lang="zh-CN" altLang="en-US">
              <a:latin typeface="Arial" panose="020B0604020202090204" pitchFamily="34" charset="0"/>
              <a:ea typeface="黑体" panose="02010609060101010101" pitchFamily="49" charset="-122"/>
            </a:endParaRPr>
          </a:p>
        </p:txBody>
      </p:sp>
      <p:sp>
        <p:nvSpPr>
          <p:cNvPr id="16" name="MH_Other_8"/>
          <p:cNvSpPr/>
          <p:nvPr>
            <p:custDataLst>
              <p:tags r:id="rId8"/>
            </p:custDataLst>
          </p:nvPr>
        </p:nvSpPr>
        <p:spPr>
          <a:xfrm flipH="1">
            <a:off x="5645856" y="1457556"/>
            <a:ext cx="825557" cy="825557"/>
          </a:xfrm>
          <a:prstGeom prst="ellipse">
            <a:avLst/>
          </a:prstGeom>
          <a:solidFill>
            <a:srgbClr val="00A8E7"/>
          </a:solidFill>
          <a:ln>
            <a:noFill/>
          </a:ln>
          <a:effectLst>
            <a:innerShdw dist="76200" dir="13500000">
              <a:prstClr val="black">
                <a:alpha val="1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p>
            <a:pPr algn="ctr">
              <a:defRPr/>
            </a:pPr>
            <a:endParaRPr lang="zh-CN" altLang="en-US">
              <a:latin typeface="Arial" panose="020B0604020202090204" pitchFamily="34" charset="0"/>
              <a:ea typeface="黑体" panose="02010609060101010101" pitchFamily="49" charset="-122"/>
            </a:endParaRPr>
          </a:p>
        </p:txBody>
      </p:sp>
      <p:sp>
        <p:nvSpPr>
          <p:cNvPr id="17" name="MH_Other_9"/>
          <p:cNvSpPr/>
          <p:nvPr>
            <p:custDataLst>
              <p:tags r:id="rId9"/>
            </p:custDataLst>
          </p:nvPr>
        </p:nvSpPr>
        <p:spPr>
          <a:xfrm flipH="1">
            <a:off x="5310189" y="1442574"/>
            <a:ext cx="192087" cy="855663"/>
          </a:xfrm>
          <a:custGeom>
            <a:avLst/>
            <a:gdLst>
              <a:gd name="connsiteX0" fmla="*/ 0 w 200069"/>
              <a:gd name="connsiteY0" fmla="*/ 0 h 904875"/>
              <a:gd name="connsiteX1" fmla="*/ 200025 w 200069"/>
              <a:gd name="connsiteY1" fmla="*/ 490538 h 904875"/>
              <a:gd name="connsiteX2" fmla="*/ 14288 w 200069"/>
              <a:gd name="connsiteY2" fmla="*/ 904875 h 904875"/>
              <a:gd name="connsiteX0-1" fmla="*/ 0 w 202450"/>
              <a:gd name="connsiteY0-2" fmla="*/ 0 h 904875"/>
              <a:gd name="connsiteX1-3" fmla="*/ 202407 w 202450"/>
              <a:gd name="connsiteY1-4" fmla="*/ 471488 h 904875"/>
              <a:gd name="connsiteX2-5" fmla="*/ 14288 w 202450"/>
              <a:gd name="connsiteY2-6" fmla="*/ 904875 h 904875"/>
              <a:gd name="connsiteX0-7" fmla="*/ 0 w 202558"/>
              <a:gd name="connsiteY0-8" fmla="*/ 0 h 904875"/>
              <a:gd name="connsiteX1-9" fmla="*/ 202407 w 202558"/>
              <a:gd name="connsiteY1-10" fmla="*/ 471488 h 904875"/>
              <a:gd name="connsiteX2-11" fmla="*/ 14288 w 202558"/>
              <a:gd name="connsiteY2-12" fmla="*/ 904875 h 904875"/>
              <a:gd name="connsiteX0-13" fmla="*/ 0 w 204846"/>
              <a:gd name="connsiteY0-14" fmla="*/ 0 h 897731"/>
              <a:gd name="connsiteX1-15" fmla="*/ 204788 w 204846"/>
              <a:gd name="connsiteY1-16" fmla="*/ 464344 h 897731"/>
              <a:gd name="connsiteX2-17" fmla="*/ 16669 w 204846"/>
              <a:gd name="connsiteY2-18" fmla="*/ 897731 h 897731"/>
              <a:gd name="connsiteX0-19" fmla="*/ 0 w 204846"/>
              <a:gd name="connsiteY0-20" fmla="*/ 0 h 897731"/>
              <a:gd name="connsiteX1-21" fmla="*/ 204788 w 204846"/>
              <a:gd name="connsiteY1-22" fmla="*/ 464344 h 897731"/>
              <a:gd name="connsiteX2-23" fmla="*/ 16669 w 204846"/>
              <a:gd name="connsiteY2-24" fmla="*/ 897731 h 897731"/>
              <a:gd name="connsiteX0-25" fmla="*/ 0 w 204798"/>
              <a:gd name="connsiteY0-26" fmla="*/ 0 h 916781"/>
              <a:gd name="connsiteX1-27" fmla="*/ 204788 w 204798"/>
              <a:gd name="connsiteY1-28" fmla="*/ 464344 h 916781"/>
              <a:gd name="connsiteX2-29" fmla="*/ 7144 w 204798"/>
              <a:gd name="connsiteY2-30" fmla="*/ 916781 h 916781"/>
              <a:gd name="connsiteX0-31" fmla="*/ 0 w 204800"/>
              <a:gd name="connsiteY0-32" fmla="*/ 0 h 916781"/>
              <a:gd name="connsiteX1-33" fmla="*/ 204788 w 204800"/>
              <a:gd name="connsiteY1-34" fmla="*/ 464344 h 916781"/>
              <a:gd name="connsiteX2-35" fmla="*/ 7144 w 204800"/>
              <a:gd name="connsiteY2-36" fmla="*/ 916781 h 916781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</a:cxnLst>
            <a:rect l="l" t="t" r="r" b="b"/>
            <a:pathLst>
              <a:path w="204800" h="916781">
                <a:moveTo>
                  <a:pt x="0" y="0"/>
                </a:moveTo>
                <a:cubicBezTo>
                  <a:pt x="158353" y="148432"/>
                  <a:pt x="203597" y="311547"/>
                  <a:pt x="204788" y="464344"/>
                </a:cubicBezTo>
                <a:cubicBezTo>
                  <a:pt x="205979" y="617141"/>
                  <a:pt x="120253" y="789782"/>
                  <a:pt x="7144" y="916781"/>
                </a:cubicBezTo>
              </a:path>
            </a:pathLst>
          </a:custGeom>
          <a:noFill/>
          <a:ln w="25400">
            <a:solidFill>
              <a:srgbClr val="00A8E7"/>
            </a:solidFill>
            <a:headEnd type="oval" w="sm" len="sm"/>
            <a:tail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p>
            <a:pPr algn="ctr">
              <a:defRPr/>
            </a:pPr>
            <a:endParaRPr lang="zh-CN" altLang="en-US">
              <a:latin typeface="Arial" panose="020B0604020202090204" pitchFamily="34" charset="0"/>
              <a:ea typeface="黑体" panose="02010609060101010101" pitchFamily="49" charset="-122"/>
            </a:endParaRPr>
          </a:p>
        </p:txBody>
      </p:sp>
      <p:cxnSp>
        <p:nvCxnSpPr>
          <p:cNvPr id="18" name="MH_Other_10"/>
          <p:cNvCxnSpPr/>
          <p:nvPr>
            <p:custDataLst>
              <p:tags r:id="rId10"/>
            </p:custDataLst>
          </p:nvPr>
        </p:nvCxnSpPr>
        <p:spPr>
          <a:xfrm flipH="1">
            <a:off x="5097463" y="1868023"/>
            <a:ext cx="215900" cy="0"/>
          </a:xfrm>
          <a:prstGeom prst="line">
            <a:avLst/>
          </a:prstGeom>
          <a:ln w="25400">
            <a:solidFill>
              <a:srgbClr val="00A8E7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MH_Other_11"/>
          <p:cNvSpPr/>
          <p:nvPr>
            <p:custDataLst>
              <p:tags r:id="rId11"/>
            </p:custDataLst>
          </p:nvPr>
        </p:nvSpPr>
        <p:spPr>
          <a:xfrm flipH="1">
            <a:off x="5254626" y="1809287"/>
            <a:ext cx="117475" cy="117475"/>
          </a:xfrm>
          <a:prstGeom prst="ellipse">
            <a:avLst/>
          </a:prstGeom>
          <a:solidFill>
            <a:srgbClr val="00A8E7"/>
          </a:solidFill>
          <a:ln>
            <a:solidFill>
              <a:srgbClr val="00A8E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p>
            <a:pPr algn="ctr">
              <a:defRPr/>
            </a:pPr>
            <a:endParaRPr lang="zh-CN" altLang="en-US">
              <a:latin typeface="Arial" panose="020B0604020202090204" pitchFamily="34" charset="0"/>
              <a:ea typeface="黑体" panose="02010609060101010101" pitchFamily="49" charset="-122"/>
            </a:endParaRPr>
          </a:p>
        </p:txBody>
      </p:sp>
      <p:sp>
        <p:nvSpPr>
          <p:cNvPr id="20" name="MH_Other_13"/>
          <p:cNvSpPr/>
          <p:nvPr>
            <p:custDataLst>
              <p:tags r:id="rId12"/>
            </p:custDataLst>
          </p:nvPr>
        </p:nvSpPr>
        <p:spPr>
          <a:xfrm flipH="1">
            <a:off x="5557838" y="4174661"/>
            <a:ext cx="1001712" cy="1003300"/>
          </a:xfrm>
          <a:prstGeom prst="ellipse">
            <a:avLst/>
          </a:prstGeom>
          <a:solidFill>
            <a:srgbClr val="FFFFFF"/>
          </a:solidFill>
          <a:ln w="3175">
            <a:solidFill>
              <a:srgbClr val="DDDDDD"/>
            </a:solidFill>
          </a:ln>
          <a:effectLst>
            <a:outerShdw dist="635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p>
            <a:pPr algn="ctr">
              <a:defRPr/>
            </a:pPr>
            <a:endParaRPr lang="zh-CN" altLang="en-US">
              <a:latin typeface="Arial" panose="020B0604020202090204" pitchFamily="34" charset="0"/>
              <a:ea typeface="黑体" panose="02010609060101010101" pitchFamily="49" charset="-122"/>
            </a:endParaRPr>
          </a:p>
        </p:txBody>
      </p:sp>
      <p:sp>
        <p:nvSpPr>
          <p:cNvPr id="21" name="MH_Other_14"/>
          <p:cNvSpPr/>
          <p:nvPr>
            <p:custDataLst>
              <p:tags r:id="rId13"/>
            </p:custDataLst>
          </p:nvPr>
        </p:nvSpPr>
        <p:spPr>
          <a:xfrm flipH="1">
            <a:off x="5645856" y="4263160"/>
            <a:ext cx="825557" cy="825557"/>
          </a:xfrm>
          <a:prstGeom prst="ellipse">
            <a:avLst/>
          </a:prstGeom>
          <a:solidFill>
            <a:srgbClr val="58B933"/>
          </a:solidFill>
          <a:ln>
            <a:noFill/>
          </a:ln>
          <a:effectLst>
            <a:innerShdw dist="76200" dir="13500000">
              <a:prstClr val="black">
                <a:alpha val="1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p>
            <a:pPr algn="ctr">
              <a:defRPr/>
            </a:pPr>
            <a:endParaRPr lang="zh-CN" altLang="en-US">
              <a:latin typeface="Arial" panose="020B0604020202090204" pitchFamily="34" charset="0"/>
              <a:ea typeface="黑体" panose="02010609060101010101" pitchFamily="49" charset="-122"/>
            </a:endParaRPr>
          </a:p>
        </p:txBody>
      </p:sp>
      <p:sp>
        <p:nvSpPr>
          <p:cNvPr id="22" name="MH_Other_15"/>
          <p:cNvSpPr/>
          <p:nvPr>
            <p:custDataLst>
              <p:tags r:id="rId14"/>
            </p:custDataLst>
          </p:nvPr>
        </p:nvSpPr>
        <p:spPr>
          <a:xfrm flipH="1">
            <a:off x="5310189" y="4249274"/>
            <a:ext cx="192087" cy="854075"/>
          </a:xfrm>
          <a:custGeom>
            <a:avLst/>
            <a:gdLst>
              <a:gd name="connsiteX0" fmla="*/ 0 w 200069"/>
              <a:gd name="connsiteY0" fmla="*/ 0 h 904875"/>
              <a:gd name="connsiteX1" fmla="*/ 200025 w 200069"/>
              <a:gd name="connsiteY1" fmla="*/ 490538 h 904875"/>
              <a:gd name="connsiteX2" fmla="*/ 14288 w 200069"/>
              <a:gd name="connsiteY2" fmla="*/ 904875 h 904875"/>
              <a:gd name="connsiteX0-1" fmla="*/ 0 w 202450"/>
              <a:gd name="connsiteY0-2" fmla="*/ 0 h 904875"/>
              <a:gd name="connsiteX1-3" fmla="*/ 202407 w 202450"/>
              <a:gd name="connsiteY1-4" fmla="*/ 471488 h 904875"/>
              <a:gd name="connsiteX2-5" fmla="*/ 14288 w 202450"/>
              <a:gd name="connsiteY2-6" fmla="*/ 904875 h 904875"/>
              <a:gd name="connsiteX0-7" fmla="*/ 0 w 202558"/>
              <a:gd name="connsiteY0-8" fmla="*/ 0 h 904875"/>
              <a:gd name="connsiteX1-9" fmla="*/ 202407 w 202558"/>
              <a:gd name="connsiteY1-10" fmla="*/ 471488 h 904875"/>
              <a:gd name="connsiteX2-11" fmla="*/ 14288 w 202558"/>
              <a:gd name="connsiteY2-12" fmla="*/ 904875 h 904875"/>
              <a:gd name="connsiteX0-13" fmla="*/ 0 w 204846"/>
              <a:gd name="connsiteY0-14" fmla="*/ 0 h 897731"/>
              <a:gd name="connsiteX1-15" fmla="*/ 204788 w 204846"/>
              <a:gd name="connsiteY1-16" fmla="*/ 464344 h 897731"/>
              <a:gd name="connsiteX2-17" fmla="*/ 16669 w 204846"/>
              <a:gd name="connsiteY2-18" fmla="*/ 897731 h 897731"/>
              <a:gd name="connsiteX0-19" fmla="*/ 0 w 204846"/>
              <a:gd name="connsiteY0-20" fmla="*/ 0 h 897731"/>
              <a:gd name="connsiteX1-21" fmla="*/ 204788 w 204846"/>
              <a:gd name="connsiteY1-22" fmla="*/ 464344 h 897731"/>
              <a:gd name="connsiteX2-23" fmla="*/ 16669 w 204846"/>
              <a:gd name="connsiteY2-24" fmla="*/ 897731 h 897731"/>
              <a:gd name="connsiteX0-25" fmla="*/ 0 w 204798"/>
              <a:gd name="connsiteY0-26" fmla="*/ 0 h 916781"/>
              <a:gd name="connsiteX1-27" fmla="*/ 204788 w 204798"/>
              <a:gd name="connsiteY1-28" fmla="*/ 464344 h 916781"/>
              <a:gd name="connsiteX2-29" fmla="*/ 7144 w 204798"/>
              <a:gd name="connsiteY2-30" fmla="*/ 916781 h 916781"/>
              <a:gd name="connsiteX0-31" fmla="*/ 0 w 204800"/>
              <a:gd name="connsiteY0-32" fmla="*/ 0 h 916781"/>
              <a:gd name="connsiteX1-33" fmla="*/ 204788 w 204800"/>
              <a:gd name="connsiteY1-34" fmla="*/ 464344 h 916781"/>
              <a:gd name="connsiteX2-35" fmla="*/ 7144 w 204800"/>
              <a:gd name="connsiteY2-36" fmla="*/ 916781 h 916781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</a:cxnLst>
            <a:rect l="l" t="t" r="r" b="b"/>
            <a:pathLst>
              <a:path w="204800" h="916781">
                <a:moveTo>
                  <a:pt x="0" y="0"/>
                </a:moveTo>
                <a:cubicBezTo>
                  <a:pt x="158353" y="148432"/>
                  <a:pt x="203597" y="311547"/>
                  <a:pt x="204788" y="464344"/>
                </a:cubicBezTo>
                <a:cubicBezTo>
                  <a:pt x="205979" y="617141"/>
                  <a:pt x="120253" y="789782"/>
                  <a:pt x="7144" y="916781"/>
                </a:cubicBezTo>
              </a:path>
            </a:pathLst>
          </a:custGeom>
          <a:noFill/>
          <a:ln w="25400">
            <a:solidFill>
              <a:srgbClr val="58B933"/>
            </a:solidFill>
            <a:headEnd type="oval" w="sm" len="sm"/>
            <a:tail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p>
            <a:pPr algn="ctr">
              <a:defRPr/>
            </a:pPr>
            <a:endParaRPr lang="zh-CN" altLang="en-US">
              <a:latin typeface="Arial" panose="020B0604020202090204" pitchFamily="34" charset="0"/>
              <a:ea typeface="黑体" panose="02010609060101010101" pitchFamily="49" charset="-122"/>
            </a:endParaRPr>
          </a:p>
        </p:txBody>
      </p:sp>
      <p:cxnSp>
        <p:nvCxnSpPr>
          <p:cNvPr id="24" name="MH_Other_16"/>
          <p:cNvCxnSpPr/>
          <p:nvPr>
            <p:custDataLst>
              <p:tags r:id="rId15"/>
            </p:custDataLst>
          </p:nvPr>
        </p:nvCxnSpPr>
        <p:spPr>
          <a:xfrm flipH="1">
            <a:off x="5097463" y="4673136"/>
            <a:ext cx="215900" cy="0"/>
          </a:xfrm>
          <a:prstGeom prst="line">
            <a:avLst/>
          </a:prstGeom>
          <a:ln w="25400">
            <a:solidFill>
              <a:srgbClr val="58B933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MH_Other_17"/>
          <p:cNvSpPr/>
          <p:nvPr>
            <p:custDataLst>
              <p:tags r:id="rId16"/>
            </p:custDataLst>
          </p:nvPr>
        </p:nvSpPr>
        <p:spPr>
          <a:xfrm flipH="1">
            <a:off x="5254626" y="4614399"/>
            <a:ext cx="117475" cy="117475"/>
          </a:xfrm>
          <a:prstGeom prst="ellipse">
            <a:avLst/>
          </a:prstGeom>
          <a:solidFill>
            <a:srgbClr val="58B933"/>
          </a:solidFill>
          <a:ln>
            <a:solidFill>
              <a:srgbClr val="58B9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p>
            <a:pPr algn="ctr">
              <a:defRPr/>
            </a:pPr>
            <a:endParaRPr lang="zh-CN" altLang="en-US">
              <a:latin typeface="Arial" panose="020B0604020202090204" pitchFamily="34" charset="0"/>
              <a:ea typeface="黑体" panose="02010609060101010101" pitchFamily="49" charset="-122"/>
            </a:endParaRPr>
          </a:p>
        </p:txBody>
      </p:sp>
      <p:sp>
        <p:nvSpPr>
          <p:cNvPr id="32" name="MH_Other_18"/>
          <p:cNvSpPr/>
          <p:nvPr>
            <p:custDataLst>
              <p:tags r:id="rId17"/>
            </p:custDataLst>
          </p:nvPr>
        </p:nvSpPr>
        <p:spPr bwMode="auto">
          <a:xfrm>
            <a:off x="5872163" y="4514386"/>
            <a:ext cx="373062" cy="374650"/>
          </a:xfrm>
          <a:custGeom>
            <a:avLst/>
            <a:gdLst>
              <a:gd name="T0" fmla="*/ 984018 w 1589088"/>
              <a:gd name="T1" fmla="*/ 589506 h 1589088"/>
              <a:gd name="T2" fmla="*/ 955171 w 1589088"/>
              <a:gd name="T3" fmla="*/ 645802 h 1589088"/>
              <a:gd name="T4" fmla="*/ 898294 w 1589088"/>
              <a:gd name="T5" fmla="*/ 673272 h 1589088"/>
              <a:gd name="T6" fmla="*/ 881422 w 1589088"/>
              <a:gd name="T7" fmla="*/ 964824 h 1589088"/>
              <a:gd name="T8" fmla="*/ 873530 w 1589088"/>
              <a:gd name="T9" fmla="*/ 1040159 h 1589088"/>
              <a:gd name="T10" fmla="*/ 824817 w 1589088"/>
              <a:gd name="T11" fmla="*/ 1084490 h 1589088"/>
              <a:gd name="T12" fmla="*/ 756238 w 1589088"/>
              <a:gd name="T13" fmla="*/ 1088026 h 1589088"/>
              <a:gd name="T14" fmla="*/ 703444 w 1589088"/>
              <a:gd name="T15" fmla="*/ 1048590 h 1589088"/>
              <a:gd name="T16" fmla="*/ 686571 w 1589088"/>
              <a:gd name="T17" fmla="*/ 985493 h 1589088"/>
              <a:gd name="T18" fmla="*/ 486007 w 1589088"/>
              <a:gd name="T19" fmla="*/ 893024 h 1589088"/>
              <a:gd name="T20" fmla="*/ 398106 w 1589088"/>
              <a:gd name="T21" fmla="*/ 820680 h 1589088"/>
              <a:gd name="T22" fmla="*/ 402189 w 1589088"/>
              <a:gd name="T23" fmla="*/ 755134 h 1589088"/>
              <a:gd name="T24" fmla="*/ 446547 w 1589088"/>
              <a:gd name="T25" fmla="*/ 706452 h 1589088"/>
              <a:gd name="T26" fmla="*/ 514037 w 1589088"/>
              <a:gd name="T27" fmla="*/ 696389 h 1589088"/>
              <a:gd name="T28" fmla="*/ 570641 w 1589088"/>
              <a:gd name="T29" fmla="*/ 730385 h 1589088"/>
              <a:gd name="T30" fmla="*/ 593501 w 1589088"/>
              <a:gd name="T31" fmla="*/ 794027 h 1589088"/>
              <a:gd name="T32" fmla="*/ 818558 w 1589088"/>
              <a:gd name="T33" fmla="*/ 648522 h 1589088"/>
              <a:gd name="T34" fmla="*/ 785901 w 1589088"/>
              <a:gd name="T35" fmla="*/ 575091 h 1589088"/>
              <a:gd name="T36" fmla="*/ 808761 w 1589088"/>
              <a:gd name="T37" fmla="*/ 511721 h 1589088"/>
              <a:gd name="T38" fmla="*/ 865365 w 1589088"/>
              <a:gd name="T39" fmla="*/ 477726 h 1589088"/>
              <a:gd name="T40" fmla="*/ 728574 w 1589088"/>
              <a:gd name="T41" fmla="*/ 144010 h 1589088"/>
              <a:gd name="T42" fmla="*/ 531280 w 1589088"/>
              <a:gd name="T43" fmla="*/ 182593 h 1589088"/>
              <a:gd name="T44" fmla="*/ 353281 w 1589088"/>
              <a:gd name="T45" fmla="*/ 288291 h 1589088"/>
              <a:gd name="T46" fmla="*/ 219577 w 1589088"/>
              <a:gd name="T47" fmla="*/ 451592 h 1589088"/>
              <a:gd name="T48" fmla="*/ 152454 w 1589088"/>
              <a:gd name="T49" fmla="*/ 642880 h 1589088"/>
              <a:gd name="T50" fmla="*/ 152454 w 1589088"/>
              <a:gd name="T51" fmla="*/ 843135 h 1589088"/>
              <a:gd name="T52" fmla="*/ 219577 w 1589088"/>
              <a:gd name="T53" fmla="*/ 1034422 h 1589088"/>
              <a:gd name="T54" fmla="*/ 353281 w 1589088"/>
              <a:gd name="T55" fmla="*/ 1197724 h 1589088"/>
              <a:gd name="T56" fmla="*/ 531280 w 1589088"/>
              <a:gd name="T57" fmla="*/ 1303421 h 1589088"/>
              <a:gd name="T58" fmla="*/ 728574 w 1589088"/>
              <a:gd name="T59" fmla="*/ 1341734 h 1589088"/>
              <a:gd name="T60" fmla="*/ 927227 w 1589088"/>
              <a:gd name="T61" fmla="*/ 1312931 h 1589088"/>
              <a:gd name="T62" fmla="*/ 1109302 w 1589088"/>
              <a:gd name="T63" fmla="*/ 1217015 h 1589088"/>
              <a:gd name="T64" fmla="*/ 1251431 w 1589088"/>
              <a:gd name="T65" fmla="*/ 1059964 h 1589088"/>
              <a:gd name="T66" fmla="*/ 1328065 w 1589088"/>
              <a:gd name="T67" fmla="*/ 871393 h 1589088"/>
              <a:gd name="T68" fmla="*/ 1337576 w 1589088"/>
              <a:gd name="T69" fmla="*/ 671410 h 1589088"/>
              <a:gd name="T70" fmla="*/ 1280237 w 1589088"/>
              <a:gd name="T71" fmla="*/ 477677 h 1589088"/>
              <a:gd name="T72" fmla="*/ 1155500 w 1589088"/>
              <a:gd name="T73" fmla="*/ 308670 h 1589088"/>
              <a:gd name="T74" fmla="*/ 981849 w 1589088"/>
              <a:gd name="T75" fmla="*/ 193462 h 1589088"/>
              <a:gd name="T76" fmla="*/ 785915 w 1589088"/>
              <a:gd name="T77" fmla="*/ 145640 h 1589088"/>
              <a:gd name="T78" fmla="*/ 902226 w 1589088"/>
              <a:gd name="T79" fmla="*/ 17390 h 1589088"/>
              <a:gd name="T80" fmla="*/ 1136207 w 1589088"/>
              <a:gd name="T81" fmla="*/ 112491 h 1589088"/>
              <a:gd name="T82" fmla="*/ 1320999 w 1589088"/>
              <a:gd name="T83" fmla="*/ 276063 h 1589088"/>
              <a:gd name="T84" fmla="*/ 1429702 w 1589088"/>
              <a:gd name="T85" fmla="*/ 459201 h 1589088"/>
              <a:gd name="T86" fmla="*/ 1481334 w 1589088"/>
              <a:gd name="T87" fmla="*/ 660270 h 1589088"/>
              <a:gd name="T88" fmla="*/ 1475356 w 1589088"/>
              <a:gd name="T89" fmla="*/ 866502 h 1589088"/>
              <a:gd name="T90" fmla="*/ 1412581 w 1589088"/>
              <a:gd name="T91" fmla="*/ 1064855 h 1589088"/>
              <a:gd name="T92" fmla="*/ 1892771 w 1589088"/>
              <a:gd name="T93" fmla="*/ 1636001 h 1589088"/>
              <a:gd name="T94" fmla="*/ 1896304 w 1589088"/>
              <a:gd name="T95" fmla="*/ 1759632 h 1589088"/>
              <a:gd name="T96" fmla="*/ 1783798 w 1589088"/>
              <a:gd name="T97" fmla="*/ 1885980 h 1589088"/>
              <a:gd name="T98" fmla="*/ 1662866 w 1589088"/>
              <a:gd name="T99" fmla="*/ 1900381 h 1589088"/>
              <a:gd name="T100" fmla="*/ 1104954 w 1589088"/>
              <a:gd name="T101" fmla="*/ 1391458 h 1589088"/>
              <a:gd name="T102" fmla="*/ 909835 w 1589088"/>
              <a:gd name="T103" fmla="*/ 1466451 h 1589088"/>
              <a:gd name="T104" fmla="*/ 704388 w 1589088"/>
              <a:gd name="T105" fmla="*/ 1484656 h 1589088"/>
              <a:gd name="T106" fmla="*/ 501116 w 1589088"/>
              <a:gd name="T107" fmla="*/ 1445528 h 1589088"/>
              <a:gd name="T108" fmla="*/ 313061 w 1589088"/>
              <a:gd name="T109" fmla="*/ 1349069 h 1589088"/>
              <a:gd name="T110" fmla="*/ 143758 w 1589088"/>
              <a:gd name="T111" fmla="*/ 1181965 h 1589088"/>
              <a:gd name="T112" fmla="*/ 30708 w 1589088"/>
              <a:gd name="T113" fmla="*/ 954538 h 1589088"/>
              <a:gd name="T114" fmla="*/ 815 w 1589088"/>
              <a:gd name="T115" fmla="*/ 707277 h 1589088"/>
              <a:gd name="T116" fmla="*/ 54351 w 1589088"/>
              <a:gd name="T117" fmla="*/ 463275 h 1589088"/>
              <a:gd name="T118" fmla="*/ 191315 w 1589088"/>
              <a:gd name="T119" fmla="*/ 245360 h 1589088"/>
              <a:gd name="T120" fmla="*/ 397577 w 1589088"/>
              <a:gd name="T121" fmla="*/ 85319 h 1589088"/>
              <a:gd name="T122" fmla="*/ 636177 w 1589088"/>
              <a:gd name="T123" fmla="*/ 7880 h 158908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1589088" h="1589088">
                <a:moveTo>
                  <a:pt x="916859" y="288925"/>
                </a:moveTo>
                <a:lnTo>
                  <a:pt x="954088" y="332030"/>
                </a:lnTo>
                <a:lnTo>
                  <a:pt x="816067" y="450682"/>
                </a:lnTo>
                <a:lnTo>
                  <a:pt x="817430" y="454085"/>
                </a:lnTo>
                <a:lnTo>
                  <a:pt x="818338" y="457488"/>
                </a:lnTo>
                <a:lnTo>
                  <a:pt x="819246" y="461118"/>
                </a:lnTo>
                <a:lnTo>
                  <a:pt x="820381" y="464748"/>
                </a:lnTo>
                <a:lnTo>
                  <a:pt x="820835" y="468378"/>
                </a:lnTo>
                <a:lnTo>
                  <a:pt x="821289" y="472008"/>
                </a:lnTo>
                <a:lnTo>
                  <a:pt x="821743" y="475865"/>
                </a:lnTo>
                <a:lnTo>
                  <a:pt x="821743" y="479722"/>
                </a:lnTo>
                <a:lnTo>
                  <a:pt x="821743" y="483805"/>
                </a:lnTo>
                <a:lnTo>
                  <a:pt x="821289" y="487662"/>
                </a:lnTo>
                <a:lnTo>
                  <a:pt x="820835" y="491746"/>
                </a:lnTo>
                <a:lnTo>
                  <a:pt x="820154" y="495602"/>
                </a:lnTo>
                <a:lnTo>
                  <a:pt x="819246" y="499459"/>
                </a:lnTo>
                <a:lnTo>
                  <a:pt x="818338" y="503089"/>
                </a:lnTo>
                <a:lnTo>
                  <a:pt x="816976" y="506946"/>
                </a:lnTo>
                <a:lnTo>
                  <a:pt x="815840" y="510349"/>
                </a:lnTo>
                <a:lnTo>
                  <a:pt x="814251" y="513979"/>
                </a:lnTo>
                <a:lnTo>
                  <a:pt x="812662" y="517382"/>
                </a:lnTo>
                <a:lnTo>
                  <a:pt x="810619" y="520785"/>
                </a:lnTo>
                <a:lnTo>
                  <a:pt x="808803" y="523961"/>
                </a:lnTo>
                <a:lnTo>
                  <a:pt x="806760" y="527137"/>
                </a:lnTo>
                <a:lnTo>
                  <a:pt x="804263" y="530313"/>
                </a:lnTo>
                <a:lnTo>
                  <a:pt x="801993" y="533036"/>
                </a:lnTo>
                <a:lnTo>
                  <a:pt x="799496" y="535985"/>
                </a:lnTo>
                <a:lnTo>
                  <a:pt x="796772" y="538707"/>
                </a:lnTo>
                <a:lnTo>
                  <a:pt x="794048" y="541203"/>
                </a:lnTo>
                <a:lnTo>
                  <a:pt x="791324" y="543698"/>
                </a:lnTo>
                <a:lnTo>
                  <a:pt x="788146" y="545967"/>
                </a:lnTo>
                <a:lnTo>
                  <a:pt x="785194" y="548009"/>
                </a:lnTo>
                <a:lnTo>
                  <a:pt x="781789" y="550051"/>
                </a:lnTo>
                <a:lnTo>
                  <a:pt x="778611" y="552093"/>
                </a:lnTo>
                <a:lnTo>
                  <a:pt x="775433" y="553908"/>
                </a:lnTo>
                <a:lnTo>
                  <a:pt x="771801" y="555496"/>
                </a:lnTo>
                <a:lnTo>
                  <a:pt x="768396" y="556857"/>
                </a:lnTo>
                <a:lnTo>
                  <a:pt x="764537" y="558218"/>
                </a:lnTo>
                <a:lnTo>
                  <a:pt x="760905" y="559352"/>
                </a:lnTo>
                <a:lnTo>
                  <a:pt x="757046" y="560260"/>
                </a:lnTo>
                <a:lnTo>
                  <a:pt x="753413" y="560940"/>
                </a:lnTo>
                <a:lnTo>
                  <a:pt x="749327" y="561621"/>
                </a:lnTo>
                <a:lnTo>
                  <a:pt x="745241" y="562075"/>
                </a:lnTo>
                <a:lnTo>
                  <a:pt x="692121" y="754005"/>
                </a:lnTo>
                <a:lnTo>
                  <a:pt x="697343" y="756728"/>
                </a:lnTo>
                <a:lnTo>
                  <a:pt x="702110" y="759904"/>
                </a:lnTo>
                <a:lnTo>
                  <a:pt x="706650" y="763080"/>
                </a:lnTo>
                <a:lnTo>
                  <a:pt x="710963" y="766937"/>
                </a:lnTo>
                <a:lnTo>
                  <a:pt x="715049" y="770794"/>
                </a:lnTo>
                <a:lnTo>
                  <a:pt x="718908" y="774877"/>
                </a:lnTo>
                <a:lnTo>
                  <a:pt x="722313" y="779188"/>
                </a:lnTo>
                <a:lnTo>
                  <a:pt x="725718" y="783952"/>
                </a:lnTo>
                <a:lnTo>
                  <a:pt x="728670" y="788943"/>
                </a:lnTo>
                <a:lnTo>
                  <a:pt x="731167" y="793934"/>
                </a:lnTo>
                <a:lnTo>
                  <a:pt x="733437" y="799379"/>
                </a:lnTo>
                <a:lnTo>
                  <a:pt x="735253" y="804824"/>
                </a:lnTo>
                <a:lnTo>
                  <a:pt x="736615" y="810496"/>
                </a:lnTo>
                <a:lnTo>
                  <a:pt x="737750" y="816167"/>
                </a:lnTo>
                <a:lnTo>
                  <a:pt x="738431" y="822066"/>
                </a:lnTo>
                <a:lnTo>
                  <a:pt x="738658" y="828191"/>
                </a:lnTo>
                <a:lnTo>
                  <a:pt x="738658" y="832729"/>
                </a:lnTo>
                <a:lnTo>
                  <a:pt x="738431" y="836812"/>
                </a:lnTo>
                <a:lnTo>
                  <a:pt x="737523" y="840896"/>
                </a:lnTo>
                <a:lnTo>
                  <a:pt x="736842" y="844980"/>
                </a:lnTo>
                <a:lnTo>
                  <a:pt x="735934" y="849063"/>
                </a:lnTo>
                <a:lnTo>
                  <a:pt x="734799" y="852920"/>
                </a:lnTo>
                <a:lnTo>
                  <a:pt x="733664" y="856777"/>
                </a:lnTo>
                <a:lnTo>
                  <a:pt x="732075" y="860407"/>
                </a:lnTo>
                <a:lnTo>
                  <a:pt x="730259" y="864263"/>
                </a:lnTo>
                <a:lnTo>
                  <a:pt x="728670" y="867666"/>
                </a:lnTo>
                <a:lnTo>
                  <a:pt x="726626" y="871296"/>
                </a:lnTo>
                <a:lnTo>
                  <a:pt x="724583" y="874699"/>
                </a:lnTo>
                <a:lnTo>
                  <a:pt x="722086" y="877876"/>
                </a:lnTo>
                <a:lnTo>
                  <a:pt x="719589" y="881052"/>
                </a:lnTo>
                <a:lnTo>
                  <a:pt x="717092" y="884228"/>
                </a:lnTo>
                <a:lnTo>
                  <a:pt x="714141" y="886950"/>
                </a:lnTo>
                <a:lnTo>
                  <a:pt x="711417" y="889673"/>
                </a:lnTo>
                <a:lnTo>
                  <a:pt x="708239" y="892395"/>
                </a:lnTo>
                <a:lnTo>
                  <a:pt x="705288" y="894891"/>
                </a:lnTo>
                <a:lnTo>
                  <a:pt x="702110" y="896933"/>
                </a:lnTo>
                <a:lnTo>
                  <a:pt x="698705" y="899428"/>
                </a:lnTo>
                <a:lnTo>
                  <a:pt x="695299" y="901243"/>
                </a:lnTo>
                <a:lnTo>
                  <a:pt x="691440" y="903058"/>
                </a:lnTo>
                <a:lnTo>
                  <a:pt x="688035" y="904646"/>
                </a:lnTo>
                <a:lnTo>
                  <a:pt x="684176" y="906234"/>
                </a:lnTo>
                <a:lnTo>
                  <a:pt x="680317" y="907595"/>
                </a:lnTo>
                <a:lnTo>
                  <a:pt x="676231" y="908730"/>
                </a:lnTo>
                <a:lnTo>
                  <a:pt x="672372" y="909637"/>
                </a:lnTo>
                <a:lnTo>
                  <a:pt x="668286" y="910318"/>
                </a:lnTo>
                <a:lnTo>
                  <a:pt x="664199" y="910771"/>
                </a:lnTo>
                <a:lnTo>
                  <a:pt x="659886" y="911225"/>
                </a:lnTo>
                <a:lnTo>
                  <a:pt x="655573" y="911225"/>
                </a:lnTo>
                <a:lnTo>
                  <a:pt x="651260" y="911225"/>
                </a:lnTo>
                <a:lnTo>
                  <a:pt x="646947" y="910771"/>
                </a:lnTo>
                <a:lnTo>
                  <a:pt x="643088" y="910318"/>
                </a:lnTo>
                <a:lnTo>
                  <a:pt x="638775" y="909637"/>
                </a:lnTo>
                <a:lnTo>
                  <a:pt x="634915" y="908730"/>
                </a:lnTo>
                <a:lnTo>
                  <a:pt x="630829" y="907595"/>
                </a:lnTo>
                <a:lnTo>
                  <a:pt x="627197" y="906234"/>
                </a:lnTo>
                <a:lnTo>
                  <a:pt x="623338" y="904646"/>
                </a:lnTo>
                <a:lnTo>
                  <a:pt x="619706" y="903058"/>
                </a:lnTo>
                <a:lnTo>
                  <a:pt x="616074" y="901243"/>
                </a:lnTo>
                <a:lnTo>
                  <a:pt x="612669" y="899428"/>
                </a:lnTo>
                <a:lnTo>
                  <a:pt x="609037" y="896933"/>
                </a:lnTo>
                <a:lnTo>
                  <a:pt x="605858" y="894891"/>
                </a:lnTo>
                <a:lnTo>
                  <a:pt x="602680" y="892395"/>
                </a:lnTo>
                <a:lnTo>
                  <a:pt x="599729" y="889673"/>
                </a:lnTo>
                <a:lnTo>
                  <a:pt x="596778" y="886950"/>
                </a:lnTo>
                <a:lnTo>
                  <a:pt x="594054" y="884228"/>
                </a:lnTo>
                <a:lnTo>
                  <a:pt x="591557" y="881052"/>
                </a:lnTo>
                <a:lnTo>
                  <a:pt x="588833" y="877876"/>
                </a:lnTo>
                <a:lnTo>
                  <a:pt x="586790" y="874699"/>
                </a:lnTo>
                <a:lnTo>
                  <a:pt x="584520" y="871296"/>
                </a:lnTo>
                <a:lnTo>
                  <a:pt x="582704" y="867666"/>
                </a:lnTo>
                <a:lnTo>
                  <a:pt x="580661" y="864263"/>
                </a:lnTo>
                <a:lnTo>
                  <a:pt x="579072" y="860407"/>
                </a:lnTo>
                <a:lnTo>
                  <a:pt x="577710" y="856777"/>
                </a:lnTo>
                <a:lnTo>
                  <a:pt x="576348" y="852920"/>
                </a:lnTo>
                <a:lnTo>
                  <a:pt x="575212" y="849063"/>
                </a:lnTo>
                <a:lnTo>
                  <a:pt x="574077" y="844980"/>
                </a:lnTo>
                <a:lnTo>
                  <a:pt x="573396" y="840896"/>
                </a:lnTo>
                <a:lnTo>
                  <a:pt x="572942" y="836812"/>
                </a:lnTo>
                <a:lnTo>
                  <a:pt x="572488" y="832729"/>
                </a:lnTo>
                <a:lnTo>
                  <a:pt x="572488" y="828191"/>
                </a:lnTo>
                <a:lnTo>
                  <a:pt x="572488" y="825242"/>
                </a:lnTo>
                <a:lnTo>
                  <a:pt x="572715" y="822066"/>
                </a:lnTo>
                <a:lnTo>
                  <a:pt x="573623" y="815940"/>
                </a:lnTo>
                <a:lnTo>
                  <a:pt x="574986" y="810042"/>
                </a:lnTo>
                <a:lnTo>
                  <a:pt x="576575" y="804370"/>
                </a:lnTo>
                <a:lnTo>
                  <a:pt x="454445" y="733134"/>
                </a:lnTo>
                <a:lnTo>
                  <a:pt x="449904" y="736083"/>
                </a:lnTo>
                <a:lnTo>
                  <a:pt x="444910" y="738352"/>
                </a:lnTo>
                <a:lnTo>
                  <a:pt x="439689" y="740166"/>
                </a:lnTo>
                <a:lnTo>
                  <a:pt x="434468" y="741981"/>
                </a:lnTo>
                <a:lnTo>
                  <a:pt x="429020" y="743569"/>
                </a:lnTo>
                <a:lnTo>
                  <a:pt x="423571" y="744477"/>
                </a:lnTo>
                <a:lnTo>
                  <a:pt x="417669" y="745158"/>
                </a:lnTo>
                <a:lnTo>
                  <a:pt x="412221" y="745384"/>
                </a:lnTo>
                <a:lnTo>
                  <a:pt x="408589" y="745158"/>
                </a:lnTo>
                <a:lnTo>
                  <a:pt x="405411" y="744931"/>
                </a:lnTo>
                <a:lnTo>
                  <a:pt x="398828" y="744023"/>
                </a:lnTo>
                <a:lnTo>
                  <a:pt x="305755" y="898294"/>
                </a:lnTo>
                <a:lnTo>
                  <a:pt x="257175" y="869255"/>
                </a:lnTo>
                <a:lnTo>
                  <a:pt x="349113" y="716118"/>
                </a:lnTo>
                <a:lnTo>
                  <a:pt x="347070" y="713396"/>
                </a:lnTo>
                <a:lnTo>
                  <a:pt x="344573" y="710220"/>
                </a:lnTo>
                <a:lnTo>
                  <a:pt x="342757" y="707497"/>
                </a:lnTo>
                <a:lnTo>
                  <a:pt x="340714" y="704321"/>
                </a:lnTo>
                <a:lnTo>
                  <a:pt x="339125" y="701145"/>
                </a:lnTo>
                <a:lnTo>
                  <a:pt x="337536" y="697969"/>
                </a:lnTo>
                <a:lnTo>
                  <a:pt x="335720" y="694793"/>
                </a:lnTo>
                <a:lnTo>
                  <a:pt x="334358" y="691390"/>
                </a:lnTo>
                <a:lnTo>
                  <a:pt x="333223" y="687987"/>
                </a:lnTo>
                <a:lnTo>
                  <a:pt x="332087" y="684584"/>
                </a:lnTo>
                <a:lnTo>
                  <a:pt x="331179" y="680954"/>
                </a:lnTo>
                <a:lnTo>
                  <a:pt x="330498" y="677324"/>
                </a:lnTo>
                <a:lnTo>
                  <a:pt x="329590" y="673467"/>
                </a:lnTo>
                <a:lnTo>
                  <a:pt x="329136" y="670064"/>
                </a:lnTo>
                <a:lnTo>
                  <a:pt x="328909" y="665981"/>
                </a:lnTo>
                <a:lnTo>
                  <a:pt x="328909" y="662351"/>
                </a:lnTo>
                <a:lnTo>
                  <a:pt x="328909" y="658040"/>
                </a:lnTo>
                <a:lnTo>
                  <a:pt x="329363" y="653730"/>
                </a:lnTo>
                <a:lnTo>
                  <a:pt x="330044" y="649646"/>
                </a:lnTo>
                <a:lnTo>
                  <a:pt x="330725" y="645335"/>
                </a:lnTo>
                <a:lnTo>
                  <a:pt x="331633" y="641479"/>
                </a:lnTo>
                <a:lnTo>
                  <a:pt x="332768" y="637395"/>
                </a:lnTo>
                <a:lnTo>
                  <a:pt x="333904" y="633765"/>
                </a:lnTo>
                <a:lnTo>
                  <a:pt x="335493" y="629908"/>
                </a:lnTo>
                <a:lnTo>
                  <a:pt x="337082" y="626279"/>
                </a:lnTo>
                <a:lnTo>
                  <a:pt x="339125" y="622649"/>
                </a:lnTo>
                <a:lnTo>
                  <a:pt x="340941" y="619246"/>
                </a:lnTo>
                <a:lnTo>
                  <a:pt x="342984" y="615843"/>
                </a:lnTo>
                <a:lnTo>
                  <a:pt x="345481" y="612666"/>
                </a:lnTo>
                <a:lnTo>
                  <a:pt x="347978" y="609263"/>
                </a:lnTo>
                <a:lnTo>
                  <a:pt x="350475" y="606314"/>
                </a:lnTo>
                <a:lnTo>
                  <a:pt x="353426" y="603592"/>
                </a:lnTo>
                <a:lnTo>
                  <a:pt x="356150" y="600642"/>
                </a:lnTo>
                <a:lnTo>
                  <a:pt x="359101" y="598147"/>
                </a:lnTo>
                <a:lnTo>
                  <a:pt x="362279" y="595878"/>
                </a:lnTo>
                <a:lnTo>
                  <a:pt x="365458" y="593383"/>
                </a:lnTo>
                <a:lnTo>
                  <a:pt x="369090" y="591341"/>
                </a:lnTo>
                <a:lnTo>
                  <a:pt x="372495" y="589299"/>
                </a:lnTo>
                <a:lnTo>
                  <a:pt x="376127" y="587484"/>
                </a:lnTo>
                <a:lnTo>
                  <a:pt x="379759" y="585669"/>
                </a:lnTo>
                <a:lnTo>
                  <a:pt x="383618" y="584308"/>
                </a:lnTo>
                <a:lnTo>
                  <a:pt x="387250" y="582947"/>
                </a:lnTo>
                <a:lnTo>
                  <a:pt x="391336" y="581812"/>
                </a:lnTo>
                <a:lnTo>
                  <a:pt x="395196" y="580905"/>
                </a:lnTo>
                <a:lnTo>
                  <a:pt x="399509" y="580224"/>
                </a:lnTo>
                <a:lnTo>
                  <a:pt x="403368" y="579544"/>
                </a:lnTo>
                <a:lnTo>
                  <a:pt x="407681" y="579317"/>
                </a:lnTo>
                <a:lnTo>
                  <a:pt x="412221" y="579090"/>
                </a:lnTo>
                <a:lnTo>
                  <a:pt x="416307" y="579317"/>
                </a:lnTo>
                <a:lnTo>
                  <a:pt x="420620" y="579544"/>
                </a:lnTo>
                <a:lnTo>
                  <a:pt x="424707" y="580224"/>
                </a:lnTo>
                <a:lnTo>
                  <a:pt x="428793" y="580905"/>
                </a:lnTo>
                <a:lnTo>
                  <a:pt x="432652" y="581812"/>
                </a:lnTo>
                <a:lnTo>
                  <a:pt x="436738" y="582947"/>
                </a:lnTo>
                <a:lnTo>
                  <a:pt x="440597" y="584308"/>
                </a:lnTo>
                <a:lnTo>
                  <a:pt x="444456" y="585669"/>
                </a:lnTo>
                <a:lnTo>
                  <a:pt x="447861" y="587484"/>
                </a:lnTo>
                <a:lnTo>
                  <a:pt x="451720" y="589299"/>
                </a:lnTo>
                <a:lnTo>
                  <a:pt x="454899" y="591341"/>
                </a:lnTo>
                <a:lnTo>
                  <a:pt x="458531" y="593383"/>
                </a:lnTo>
                <a:lnTo>
                  <a:pt x="461709" y="595878"/>
                </a:lnTo>
                <a:lnTo>
                  <a:pt x="464887" y="598147"/>
                </a:lnTo>
                <a:lnTo>
                  <a:pt x="467838" y="600642"/>
                </a:lnTo>
                <a:lnTo>
                  <a:pt x="470562" y="603592"/>
                </a:lnTo>
                <a:lnTo>
                  <a:pt x="473513" y="606314"/>
                </a:lnTo>
                <a:lnTo>
                  <a:pt x="476010" y="609263"/>
                </a:lnTo>
                <a:lnTo>
                  <a:pt x="478734" y="612666"/>
                </a:lnTo>
                <a:lnTo>
                  <a:pt x="481004" y="615843"/>
                </a:lnTo>
                <a:lnTo>
                  <a:pt x="483047" y="619246"/>
                </a:lnTo>
                <a:lnTo>
                  <a:pt x="484864" y="622649"/>
                </a:lnTo>
                <a:lnTo>
                  <a:pt x="486907" y="626279"/>
                </a:lnTo>
                <a:lnTo>
                  <a:pt x="488496" y="629908"/>
                </a:lnTo>
                <a:lnTo>
                  <a:pt x="490085" y="633765"/>
                </a:lnTo>
                <a:lnTo>
                  <a:pt x="491220" y="637395"/>
                </a:lnTo>
                <a:lnTo>
                  <a:pt x="492355" y="641479"/>
                </a:lnTo>
                <a:lnTo>
                  <a:pt x="493490" y="645335"/>
                </a:lnTo>
                <a:lnTo>
                  <a:pt x="494171" y="649646"/>
                </a:lnTo>
                <a:lnTo>
                  <a:pt x="494625" y="653730"/>
                </a:lnTo>
                <a:lnTo>
                  <a:pt x="495079" y="658040"/>
                </a:lnTo>
                <a:lnTo>
                  <a:pt x="495079" y="662351"/>
                </a:lnTo>
                <a:lnTo>
                  <a:pt x="495079" y="665527"/>
                </a:lnTo>
                <a:lnTo>
                  <a:pt x="494852" y="669157"/>
                </a:lnTo>
                <a:lnTo>
                  <a:pt x="494398" y="672333"/>
                </a:lnTo>
                <a:lnTo>
                  <a:pt x="493944" y="675509"/>
                </a:lnTo>
                <a:lnTo>
                  <a:pt x="492355" y="682088"/>
                </a:lnTo>
                <a:lnTo>
                  <a:pt x="490539" y="688214"/>
                </a:lnTo>
                <a:lnTo>
                  <a:pt x="610853" y="758543"/>
                </a:lnTo>
                <a:lnTo>
                  <a:pt x="616528" y="755140"/>
                </a:lnTo>
                <a:lnTo>
                  <a:pt x="622430" y="752417"/>
                </a:lnTo>
                <a:lnTo>
                  <a:pt x="628559" y="749922"/>
                </a:lnTo>
                <a:lnTo>
                  <a:pt x="634915" y="748107"/>
                </a:lnTo>
                <a:lnTo>
                  <a:pt x="690305" y="547101"/>
                </a:lnTo>
                <a:lnTo>
                  <a:pt x="686673" y="544152"/>
                </a:lnTo>
                <a:lnTo>
                  <a:pt x="682814" y="540976"/>
                </a:lnTo>
                <a:lnTo>
                  <a:pt x="679409" y="537800"/>
                </a:lnTo>
                <a:lnTo>
                  <a:pt x="676004" y="533943"/>
                </a:lnTo>
                <a:lnTo>
                  <a:pt x="673053" y="530540"/>
                </a:lnTo>
                <a:lnTo>
                  <a:pt x="670102" y="526456"/>
                </a:lnTo>
                <a:lnTo>
                  <a:pt x="667605" y="522373"/>
                </a:lnTo>
                <a:lnTo>
                  <a:pt x="665107" y="518062"/>
                </a:lnTo>
                <a:lnTo>
                  <a:pt x="662837" y="513979"/>
                </a:lnTo>
                <a:lnTo>
                  <a:pt x="661021" y="509214"/>
                </a:lnTo>
                <a:lnTo>
                  <a:pt x="659432" y="504450"/>
                </a:lnTo>
                <a:lnTo>
                  <a:pt x="658070" y="499913"/>
                </a:lnTo>
                <a:lnTo>
                  <a:pt x="657162" y="494922"/>
                </a:lnTo>
                <a:lnTo>
                  <a:pt x="656027" y="489931"/>
                </a:lnTo>
                <a:lnTo>
                  <a:pt x="655573" y="484940"/>
                </a:lnTo>
                <a:lnTo>
                  <a:pt x="655573" y="479722"/>
                </a:lnTo>
                <a:lnTo>
                  <a:pt x="655573" y="475411"/>
                </a:lnTo>
                <a:lnTo>
                  <a:pt x="655800" y="471327"/>
                </a:lnTo>
                <a:lnTo>
                  <a:pt x="656708" y="467017"/>
                </a:lnTo>
                <a:lnTo>
                  <a:pt x="657389" y="463160"/>
                </a:lnTo>
                <a:lnTo>
                  <a:pt x="658297" y="458850"/>
                </a:lnTo>
                <a:lnTo>
                  <a:pt x="659432" y="455220"/>
                </a:lnTo>
                <a:lnTo>
                  <a:pt x="660567" y="451136"/>
                </a:lnTo>
                <a:lnTo>
                  <a:pt x="661929" y="447506"/>
                </a:lnTo>
                <a:lnTo>
                  <a:pt x="663745" y="443649"/>
                </a:lnTo>
                <a:lnTo>
                  <a:pt x="665561" y="440246"/>
                </a:lnTo>
                <a:lnTo>
                  <a:pt x="667605" y="436617"/>
                </a:lnTo>
                <a:lnTo>
                  <a:pt x="669648" y="433440"/>
                </a:lnTo>
                <a:lnTo>
                  <a:pt x="672145" y="430037"/>
                </a:lnTo>
                <a:lnTo>
                  <a:pt x="674642" y="426861"/>
                </a:lnTo>
                <a:lnTo>
                  <a:pt x="677139" y="423912"/>
                </a:lnTo>
                <a:lnTo>
                  <a:pt x="679863" y="420963"/>
                </a:lnTo>
                <a:lnTo>
                  <a:pt x="682814" y="418240"/>
                </a:lnTo>
                <a:lnTo>
                  <a:pt x="685765" y="415518"/>
                </a:lnTo>
                <a:lnTo>
                  <a:pt x="688943" y="413249"/>
                </a:lnTo>
                <a:lnTo>
                  <a:pt x="692121" y="410980"/>
                </a:lnTo>
                <a:lnTo>
                  <a:pt x="695526" y="408712"/>
                </a:lnTo>
                <a:lnTo>
                  <a:pt x="698932" y="406670"/>
                </a:lnTo>
                <a:lnTo>
                  <a:pt x="702791" y="404855"/>
                </a:lnTo>
                <a:lnTo>
                  <a:pt x="706196" y="403267"/>
                </a:lnTo>
                <a:lnTo>
                  <a:pt x="710055" y="401679"/>
                </a:lnTo>
                <a:lnTo>
                  <a:pt x="713914" y="400318"/>
                </a:lnTo>
                <a:lnTo>
                  <a:pt x="718000" y="399410"/>
                </a:lnTo>
                <a:lnTo>
                  <a:pt x="721859" y="398503"/>
                </a:lnTo>
                <a:lnTo>
                  <a:pt x="725945" y="397595"/>
                </a:lnTo>
                <a:lnTo>
                  <a:pt x="730032" y="397141"/>
                </a:lnTo>
                <a:lnTo>
                  <a:pt x="734345" y="396915"/>
                </a:lnTo>
                <a:lnTo>
                  <a:pt x="738658" y="396688"/>
                </a:lnTo>
                <a:lnTo>
                  <a:pt x="744106" y="396915"/>
                </a:lnTo>
                <a:lnTo>
                  <a:pt x="749554" y="397595"/>
                </a:lnTo>
                <a:lnTo>
                  <a:pt x="754775" y="398276"/>
                </a:lnTo>
                <a:lnTo>
                  <a:pt x="759770" y="399637"/>
                </a:lnTo>
                <a:lnTo>
                  <a:pt x="764764" y="400998"/>
                </a:lnTo>
                <a:lnTo>
                  <a:pt x="769758" y="403040"/>
                </a:lnTo>
                <a:lnTo>
                  <a:pt x="774298" y="405082"/>
                </a:lnTo>
                <a:lnTo>
                  <a:pt x="778838" y="407577"/>
                </a:lnTo>
                <a:lnTo>
                  <a:pt x="916859" y="288925"/>
                </a:lnTo>
                <a:close/>
                <a:moveTo>
                  <a:pt x="607752" y="120128"/>
                </a:moveTo>
                <a:lnTo>
                  <a:pt x="595738" y="120581"/>
                </a:lnTo>
                <a:lnTo>
                  <a:pt x="583950" y="121488"/>
                </a:lnTo>
                <a:lnTo>
                  <a:pt x="571936" y="122621"/>
                </a:lnTo>
                <a:lnTo>
                  <a:pt x="559921" y="123755"/>
                </a:lnTo>
                <a:lnTo>
                  <a:pt x="548133" y="125341"/>
                </a:lnTo>
                <a:lnTo>
                  <a:pt x="536119" y="127154"/>
                </a:lnTo>
                <a:lnTo>
                  <a:pt x="524331" y="129421"/>
                </a:lnTo>
                <a:lnTo>
                  <a:pt x="512543" y="131688"/>
                </a:lnTo>
                <a:lnTo>
                  <a:pt x="500755" y="134407"/>
                </a:lnTo>
                <a:lnTo>
                  <a:pt x="489194" y="137581"/>
                </a:lnTo>
                <a:lnTo>
                  <a:pt x="477406" y="140754"/>
                </a:lnTo>
                <a:lnTo>
                  <a:pt x="466072" y="144380"/>
                </a:lnTo>
                <a:lnTo>
                  <a:pt x="454511" y="148234"/>
                </a:lnTo>
                <a:lnTo>
                  <a:pt x="443176" y="152313"/>
                </a:lnTo>
                <a:lnTo>
                  <a:pt x="431615" y="156620"/>
                </a:lnTo>
                <a:lnTo>
                  <a:pt x="420508" y="161380"/>
                </a:lnTo>
                <a:lnTo>
                  <a:pt x="409400" y="166593"/>
                </a:lnTo>
                <a:lnTo>
                  <a:pt x="398519" y="171579"/>
                </a:lnTo>
                <a:lnTo>
                  <a:pt x="387411" y="177246"/>
                </a:lnTo>
                <a:lnTo>
                  <a:pt x="376530" y="183139"/>
                </a:lnTo>
                <a:lnTo>
                  <a:pt x="365876" y="189485"/>
                </a:lnTo>
                <a:lnTo>
                  <a:pt x="355221" y="195831"/>
                </a:lnTo>
                <a:lnTo>
                  <a:pt x="344794" y="202631"/>
                </a:lnTo>
                <a:lnTo>
                  <a:pt x="334593" y="209431"/>
                </a:lnTo>
                <a:lnTo>
                  <a:pt x="324392" y="216684"/>
                </a:lnTo>
                <a:lnTo>
                  <a:pt x="314191" y="224163"/>
                </a:lnTo>
                <a:lnTo>
                  <a:pt x="304443" y="232323"/>
                </a:lnTo>
                <a:lnTo>
                  <a:pt x="294695" y="240483"/>
                </a:lnTo>
                <a:lnTo>
                  <a:pt x="284948" y="248869"/>
                </a:lnTo>
                <a:lnTo>
                  <a:pt x="275654" y="257482"/>
                </a:lnTo>
                <a:lnTo>
                  <a:pt x="266359" y="266548"/>
                </a:lnTo>
                <a:lnTo>
                  <a:pt x="257518" y="275614"/>
                </a:lnTo>
                <a:lnTo>
                  <a:pt x="248678" y="285134"/>
                </a:lnTo>
                <a:lnTo>
                  <a:pt x="240290" y="294654"/>
                </a:lnTo>
                <a:lnTo>
                  <a:pt x="232129" y="304400"/>
                </a:lnTo>
                <a:lnTo>
                  <a:pt x="224195" y="314373"/>
                </a:lnTo>
                <a:lnTo>
                  <a:pt x="216714" y="324346"/>
                </a:lnTo>
                <a:lnTo>
                  <a:pt x="209460" y="334545"/>
                </a:lnTo>
                <a:lnTo>
                  <a:pt x="202433" y="344971"/>
                </a:lnTo>
                <a:lnTo>
                  <a:pt x="195632" y="355397"/>
                </a:lnTo>
                <a:lnTo>
                  <a:pt x="189058" y="366050"/>
                </a:lnTo>
                <a:lnTo>
                  <a:pt x="183164" y="376703"/>
                </a:lnTo>
                <a:lnTo>
                  <a:pt x="177271" y="387583"/>
                </a:lnTo>
                <a:lnTo>
                  <a:pt x="171603" y="398462"/>
                </a:lnTo>
                <a:lnTo>
                  <a:pt x="166390" y="409342"/>
                </a:lnTo>
                <a:lnTo>
                  <a:pt x="161402" y="420448"/>
                </a:lnTo>
                <a:lnTo>
                  <a:pt x="156642" y="431554"/>
                </a:lnTo>
                <a:lnTo>
                  <a:pt x="152108" y="443114"/>
                </a:lnTo>
                <a:lnTo>
                  <a:pt x="148028" y="454673"/>
                </a:lnTo>
                <a:lnTo>
                  <a:pt x="144174" y="466006"/>
                </a:lnTo>
                <a:lnTo>
                  <a:pt x="140774" y="477565"/>
                </a:lnTo>
                <a:lnTo>
                  <a:pt x="137373" y="489125"/>
                </a:lnTo>
                <a:lnTo>
                  <a:pt x="134426" y="500911"/>
                </a:lnTo>
                <a:lnTo>
                  <a:pt x="131706" y="512470"/>
                </a:lnTo>
                <a:lnTo>
                  <a:pt x="129213" y="524256"/>
                </a:lnTo>
                <a:lnTo>
                  <a:pt x="127172" y="536269"/>
                </a:lnTo>
                <a:lnTo>
                  <a:pt x="125359" y="548055"/>
                </a:lnTo>
                <a:lnTo>
                  <a:pt x="123772" y="560068"/>
                </a:lnTo>
                <a:lnTo>
                  <a:pt x="122185" y="571854"/>
                </a:lnTo>
                <a:lnTo>
                  <a:pt x="121278" y="583867"/>
                </a:lnTo>
                <a:lnTo>
                  <a:pt x="120598" y="595880"/>
                </a:lnTo>
                <a:lnTo>
                  <a:pt x="120145" y="607666"/>
                </a:lnTo>
                <a:lnTo>
                  <a:pt x="120145" y="619905"/>
                </a:lnTo>
                <a:lnTo>
                  <a:pt x="120145" y="631918"/>
                </a:lnTo>
                <a:lnTo>
                  <a:pt x="120598" y="643704"/>
                </a:lnTo>
                <a:lnTo>
                  <a:pt x="121278" y="655717"/>
                </a:lnTo>
                <a:lnTo>
                  <a:pt x="122185" y="667503"/>
                </a:lnTo>
                <a:lnTo>
                  <a:pt x="123772" y="679516"/>
                </a:lnTo>
                <a:lnTo>
                  <a:pt x="125359" y="691529"/>
                </a:lnTo>
                <a:lnTo>
                  <a:pt x="127172" y="703315"/>
                </a:lnTo>
                <a:lnTo>
                  <a:pt x="129213" y="715328"/>
                </a:lnTo>
                <a:lnTo>
                  <a:pt x="131706" y="726887"/>
                </a:lnTo>
                <a:lnTo>
                  <a:pt x="134426" y="738673"/>
                </a:lnTo>
                <a:lnTo>
                  <a:pt x="137373" y="750460"/>
                </a:lnTo>
                <a:lnTo>
                  <a:pt x="140774" y="762019"/>
                </a:lnTo>
                <a:lnTo>
                  <a:pt x="144174" y="773579"/>
                </a:lnTo>
                <a:lnTo>
                  <a:pt x="148028" y="784911"/>
                </a:lnTo>
                <a:lnTo>
                  <a:pt x="152108" y="796471"/>
                </a:lnTo>
                <a:lnTo>
                  <a:pt x="156642" y="807804"/>
                </a:lnTo>
                <a:lnTo>
                  <a:pt x="161402" y="819136"/>
                </a:lnTo>
                <a:lnTo>
                  <a:pt x="166390" y="830016"/>
                </a:lnTo>
                <a:lnTo>
                  <a:pt x="171603" y="841122"/>
                </a:lnTo>
                <a:lnTo>
                  <a:pt x="177271" y="852002"/>
                </a:lnTo>
                <a:lnTo>
                  <a:pt x="183164" y="862881"/>
                </a:lnTo>
                <a:lnTo>
                  <a:pt x="189058" y="873534"/>
                </a:lnTo>
                <a:lnTo>
                  <a:pt x="195632" y="884187"/>
                </a:lnTo>
                <a:lnTo>
                  <a:pt x="202433" y="894613"/>
                </a:lnTo>
                <a:lnTo>
                  <a:pt x="209460" y="904813"/>
                </a:lnTo>
                <a:lnTo>
                  <a:pt x="216714" y="915239"/>
                </a:lnTo>
                <a:lnTo>
                  <a:pt x="224195" y="925212"/>
                </a:lnTo>
                <a:lnTo>
                  <a:pt x="232129" y="934958"/>
                </a:lnTo>
                <a:lnTo>
                  <a:pt x="240290" y="944931"/>
                </a:lnTo>
                <a:lnTo>
                  <a:pt x="248678" y="954450"/>
                </a:lnTo>
                <a:lnTo>
                  <a:pt x="257518" y="963743"/>
                </a:lnTo>
                <a:lnTo>
                  <a:pt x="266359" y="973036"/>
                </a:lnTo>
                <a:lnTo>
                  <a:pt x="275654" y="982102"/>
                </a:lnTo>
                <a:lnTo>
                  <a:pt x="284948" y="990715"/>
                </a:lnTo>
                <a:lnTo>
                  <a:pt x="294695" y="999102"/>
                </a:lnTo>
                <a:lnTo>
                  <a:pt x="304443" y="1007261"/>
                </a:lnTo>
                <a:lnTo>
                  <a:pt x="314191" y="1015194"/>
                </a:lnTo>
                <a:lnTo>
                  <a:pt x="324392" y="1022674"/>
                </a:lnTo>
                <a:lnTo>
                  <a:pt x="334593" y="1029927"/>
                </a:lnTo>
                <a:lnTo>
                  <a:pt x="344794" y="1036953"/>
                </a:lnTo>
                <a:lnTo>
                  <a:pt x="355221" y="1043753"/>
                </a:lnTo>
                <a:lnTo>
                  <a:pt x="365876" y="1050099"/>
                </a:lnTo>
                <a:lnTo>
                  <a:pt x="376530" y="1056446"/>
                </a:lnTo>
                <a:lnTo>
                  <a:pt x="387411" y="1062339"/>
                </a:lnTo>
                <a:lnTo>
                  <a:pt x="398292" y="1067779"/>
                </a:lnTo>
                <a:lnTo>
                  <a:pt x="409400" y="1072992"/>
                </a:lnTo>
                <a:lnTo>
                  <a:pt x="420508" y="1078205"/>
                </a:lnTo>
                <a:lnTo>
                  <a:pt x="431615" y="1082738"/>
                </a:lnTo>
                <a:lnTo>
                  <a:pt x="443176" y="1087271"/>
                </a:lnTo>
                <a:lnTo>
                  <a:pt x="454511" y="1091351"/>
                </a:lnTo>
                <a:lnTo>
                  <a:pt x="466072" y="1095204"/>
                </a:lnTo>
                <a:lnTo>
                  <a:pt x="477406" y="1098830"/>
                </a:lnTo>
                <a:lnTo>
                  <a:pt x="489194" y="1102004"/>
                </a:lnTo>
                <a:lnTo>
                  <a:pt x="500755" y="1104950"/>
                </a:lnTo>
                <a:lnTo>
                  <a:pt x="512543" y="1107897"/>
                </a:lnTo>
                <a:lnTo>
                  <a:pt x="524331" y="1110163"/>
                </a:lnTo>
                <a:lnTo>
                  <a:pt x="536119" y="1112203"/>
                </a:lnTo>
                <a:lnTo>
                  <a:pt x="548133" y="1114243"/>
                </a:lnTo>
                <a:lnTo>
                  <a:pt x="559921" y="1115830"/>
                </a:lnTo>
                <a:lnTo>
                  <a:pt x="571936" y="1116963"/>
                </a:lnTo>
                <a:lnTo>
                  <a:pt x="583950" y="1118096"/>
                </a:lnTo>
                <a:lnTo>
                  <a:pt x="595738" y="1118776"/>
                </a:lnTo>
                <a:lnTo>
                  <a:pt x="607752" y="1119230"/>
                </a:lnTo>
                <a:lnTo>
                  <a:pt x="619540" y="1119230"/>
                </a:lnTo>
                <a:lnTo>
                  <a:pt x="631782" y="1119230"/>
                </a:lnTo>
                <a:lnTo>
                  <a:pt x="643796" y="1118776"/>
                </a:lnTo>
                <a:lnTo>
                  <a:pt x="655584" y="1118096"/>
                </a:lnTo>
                <a:lnTo>
                  <a:pt x="667598" y="1116963"/>
                </a:lnTo>
                <a:lnTo>
                  <a:pt x="679613" y="1115830"/>
                </a:lnTo>
                <a:lnTo>
                  <a:pt x="691401" y="1114243"/>
                </a:lnTo>
                <a:lnTo>
                  <a:pt x="703415" y="1112203"/>
                </a:lnTo>
                <a:lnTo>
                  <a:pt x="715203" y="1110163"/>
                </a:lnTo>
                <a:lnTo>
                  <a:pt x="726991" y="1107897"/>
                </a:lnTo>
                <a:lnTo>
                  <a:pt x="738779" y="1104950"/>
                </a:lnTo>
                <a:lnTo>
                  <a:pt x="750340" y="1102004"/>
                </a:lnTo>
                <a:lnTo>
                  <a:pt x="762128" y="1098830"/>
                </a:lnTo>
                <a:lnTo>
                  <a:pt x="773462" y="1095204"/>
                </a:lnTo>
                <a:lnTo>
                  <a:pt x="785023" y="1091351"/>
                </a:lnTo>
                <a:lnTo>
                  <a:pt x="796358" y="1087271"/>
                </a:lnTo>
                <a:lnTo>
                  <a:pt x="807692" y="1082738"/>
                </a:lnTo>
                <a:lnTo>
                  <a:pt x="819026" y="1078205"/>
                </a:lnTo>
                <a:lnTo>
                  <a:pt x="830134" y="1072992"/>
                </a:lnTo>
                <a:lnTo>
                  <a:pt x="841015" y="1067779"/>
                </a:lnTo>
                <a:lnTo>
                  <a:pt x="852123" y="1062339"/>
                </a:lnTo>
                <a:lnTo>
                  <a:pt x="862777" y="1056446"/>
                </a:lnTo>
                <a:lnTo>
                  <a:pt x="873658" y="1050099"/>
                </a:lnTo>
                <a:lnTo>
                  <a:pt x="884086" y="1043753"/>
                </a:lnTo>
                <a:lnTo>
                  <a:pt x="894740" y="1036953"/>
                </a:lnTo>
                <a:lnTo>
                  <a:pt x="904941" y="1029927"/>
                </a:lnTo>
                <a:lnTo>
                  <a:pt x="915142" y="1022674"/>
                </a:lnTo>
                <a:lnTo>
                  <a:pt x="925343" y="1015194"/>
                </a:lnTo>
                <a:lnTo>
                  <a:pt x="935091" y="1007261"/>
                </a:lnTo>
                <a:lnTo>
                  <a:pt x="944839" y="999102"/>
                </a:lnTo>
                <a:lnTo>
                  <a:pt x="954586" y="990715"/>
                </a:lnTo>
                <a:lnTo>
                  <a:pt x="963880" y="982102"/>
                </a:lnTo>
                <a:lnTo>
                  <a:pt x="972948" y="973036"/>
                </a:lnTo>
                <a:lnTo>
                  <a:pt x="982016" y="963743"/>
                </a:lnTo>
                <a:lnTo>
                  <a:pt x="990856" y="954450"/>
                </a:lnTo>
                <a:lnTo>
                  <a:pt x="999244" y="944931"/>
                </a:lnTo>
                <a:lnTo>
                  <a:pt x="1007405" y="934958"/>
                </a:lnTo>
                <a:lnTo>
                  <a:pt x="1015339" y="925212"/>
                </a:lnTo>
                <a:lnTo>
                  <a:pt x="1022820" y="915239"/>
                </a:lnTo>
                <a:lnTo>
                  <a:pt x="1030074" y="904813"/>
                </a:lnTo>
                <a:lnTo>
                  <a:pt x="1037101" y="894613"/>
                </a:lnTo>
                <a:lnTo>
                  <a:pt x="1043902" y="884187"/>
                </a:lnTo>
                <a:lnTo>
                  <a:pt x="1050249" y="873534"/>
                </a:lnTo>
                <a:lnTo>
                  <a:pt x="1056370" y="862881"/>
                </a:lnTo>
                <a:lnTo>
                  <a:pt x="1062263" y="852002"/>
                </a:lnTo>
                <a:lnTo>
                  <a:pt x="1067931" y="841122"/>
                </a:lnTo>
                <a:lnTo>
                  <a:pt x="1073144" y="830016"/>
                </a:lnTo>
                <a:lnTo>
                  <a:pt x="1078132" y="819136"/>
                </a:lnTo>
                <a:lnTo>
                  <a:pt x="1082892" y="807804"/>
                </a:lnTo>
                <a:lnTo>
                  <a:pt x="1087426" y="796471"/>
                </a:lnTo>
                <a:lnTo>
                  <a:pt x="1091280" y="784911"/>
                </a:lnTo>
                <a:lnTo>
                  <a:pt x="1095360" y="773579"/>
                </a:lnTo>
                <a:lnTo>
                  <a:pt x="1098760" y="762019"/>
                </a:lnTo>
                <a:lnTo>
                  <a:pt x="1102161" y="750460"/>
                </a:lnTo>
                <a:lnTo>
                  <a:pt x="1105108" y="738673"/>
                </a:lnTo>
                <a:lnTo>
                  <a:pt x="1107828" y="726887"/>
                </a:lnTo>
                <a:lnTo>
                  <a:pt x="1110321" y="715328"/>
                </a:lnTo>
                <a:lnTo>
                  <a:pt x="1112362" y="703315"/>
                </a:lnTo>
                <a:lnTo>
                  <a:pt x="1114175" y="691529"/>
                </a:lnTo>
                <a:lnTo>
                  <a:pt x="1115762" y="679516"/>
                </a:lnTo>
                <a:lnTo>
                  <a:pt x="1117122" y="667503"/>
                </a:lnTo>
                <a:lnTo>
                  <a:pt x="1118256" y="655717"/>
                </a:lnTo>
                <a:lnTo>
                  <a:pt x="1118936" y="643704"/>
                </a:lnTo>
                <a:lnTo>
                  <a:pt x="1119389" y="631918"/>
                </a:lnTo>
                <a:lnTo>
                  <a:pt x="1119389" y="619905"/>
                </a:lnTo>
                <a:lnTo>
                  <a:pt x="1119389" y="607666"/>
                </a:lnTo>
                <a:lnTo>
                  <a:pt x="1118936" y="595880"/>
                </a:lnTo>
                <a:lnTo>
                  <a:pt x="1118256" y="583867"/>
                </a:lnTo>
                <a:lnTo>
                  <a:pt x="1117122" y="571854"/>
                </a:lnTo>
                <a:lnTo>
                  <a:pt x="1115762" y="560068"/>
                </a:lnTo>
                <a:lnTo>
                  <a:pt x="1114175" y="548055"/>
                </a:lnTo>
                <a:lnTo>
                  <a:pt x="1112362" y="536269"/>
                </a:lnTo>
                <a:lnTo>
                  <a:pt x="1110321" y="524256"/>
                </a:lnTo>
                <a:lnTo>
                  <a:pt x="1107828" y="512470"/>
                </a:lnTo>
                <a:lnTo>
                  <a:pt x="1105108" y="500911"/>
                </a:lnTo>
                <a:lnTo>
                  <a:pt x="1102161" y="489125"/>
                </a:lnTo>
                <a:lnTo>
                  <a:pt x="1098760" y="477565"/>
                </a:lnTo>
                <a:lnTo>
                  <a:pt x="1095360" y="466006"/>
                </a:lnTo>
                <a:lnTo>
                  <a:pt x="1091280" y="454673"/>
                </a:lnTo>
                <a:lnTo>
                  <a:pt x="1087426" y="443114"/>
                </a:lnTo>
                <a:lnTo>
                  <a:pt x="1082892" y="431554"/>
                </a:lnTo>
                <a:lnTo>
                  <a:pt x="1078132" y="420448"/>
                </a:lnTo>
                <a:lnTo>
                  <a:pt x="1073144" y="409342"/>
                </a:lnTo>
                <a:lnTo>
                  <a:pt x="1067931" y="398462"/>
                </a:lnTo>
                <a:lnTo>
                  <a:pt x="1062263" y="387583"/>
                </a:lnTo>
                <a:lnTo>
                  <a:pt x="1056370" y="376703"/>
                </a:lnTo>
                <a:lnTo>
                  <a:pt x="1050249" y="366050"/>
                </a:lnTo>
                <a:lnTo>
                  <a:pt x="1043902" y="355397"/>
                </a:lnTo>
                <a:lnTo>
                  <a:pt x="1037101" y="344971"/>
                </a:lnTo>
                <a:lnTo>
                  <a:pt x="1030074" y="334545"/>
                </a:lnTo>
                <a:lnTo>
                  <a:pt x="1022820" y="324346"/>
                </a:lnTo>
                <a:lnTo>
                  <a:pt x="1015339" y="314373"/>
                </a:lnTo>
                <a:lnTo>
                  <a:pt x="1007405" y="304400"/>
                </a:lnTo>
                <a:lnTo>
                  <a:pt x="999244" y="294654"/>
                </a:lnTo>
                <a:lnTo>
                  <a:pt x="990856" y="285134"/>
                </a:lnTo>
                <a:lnTo>
                  <a:pt x="982016" y="275614"/>
                </a:lnTo>
                <a:lnTo>
                  <a:pt x="972948" y="266548"/>
                </a:lnTo>
                <a:lnTo>
                  <a:pt x="963880" y="257482"/>
                </a:lnTo>
                <a:lnTo>
                  <a:pt x="954586" y="248869"/>
                </a:lnTo>
                <a:lnTo>
                  <a:pt x="944839" y="240483"/>
                </a:lnTo>
                <a:lnTo>
                  <a:pt x="935091" y="232323"/>
                </a:lnTo>
                <a:lnTo>
                  <a:pt x="925343" y="224163"/>
                </a:lnTo>
                <a:lnTo>
                  <a:pt x="915142" y="216684"/>
                </a:lnTo>
                <a:lnTo>
                  <a:pt x="904941" y="209431"/>
                </a:lnTo>
                <a:lnTo>
                  <a:pt x="894740" y="202631"/>
                </a:lnTo>
                <a:lnTo>
                  <a:pt x="884086" y="195831"/>
                </a:lnTo>
                <a:lnTo>
                  <a:pt x="873658" y="189485"/>
                </a:lnTo>
                <a:lnTo>
                  <a:pt x="862777" y="183139"/>
                </a:lnTo>
                <a:lnTo>
                  <a:pt x="852123" y="177246"/>
                </a:lnTo>
                <a:lnTo>
                  <a:pt x="841015" y="171579"/>
                </a:lnTo>
                <a:lnTo>
                  <a:pt x="830134" y="166593"/>
                </a:lnTo>
                <a:lnTo>
                  <a:pt x="819026" y="161380"/>
                </a:lnTo>
                <a:lnTo>
                  <a:pt x="807692" y="156620"/>
                </a:lnTo>
                <a:lnTo>
                  <a:pt x="796358" y="152313"/>
                </a:lnTo>
                <a:lnTo>
                  <a:pt x="785023" y="148234"/>
                </a:lnTo>
                <a:lnTo>
                  <a:pt x="773462" y="144380"/>
                </a:lnTo>
                <a:lnTo>
                  <a:pt x="762128" y="140754"/>
                </a:lnTo>
                <a:lnTo>
                  <a:pt x="750340" y="137581"/>
                </a:lnTo>
                <a:lnTo>
                  <a:pt x="738779" y="134407"/>
                </a:lnTo>
                <a:lnTo>
                  <a:pt x="726991" y="131688"/>
                </a:lnTo>
                <a:lnTo>
                  <a:pt x="715203" y="129421"/>
                </a:lnTo>
                <a:lnTo>
                  <a:pt x="703415" y="127154"/>
                </a:lnTo>
                <a:lnTo>
                  <a:pt x="691401" y="125341"/>
                </a:lnTo>
                <a:lnTo>
                  <a:pt x="679613" y="123755"/>
                </a:lnTo>
                <a:lnTo>
                  <a:pt x="667598" y="122621"/>
                </a:lnTo>
                <a:lnTo>
                  <a:pt x="655584" y="121488"/>
                </a:lnTo>
                <a:lnTo>
                  <a:pt x="643796" y="120581"/>
                </a:lnTo>
                <a:lnTo>
                  <a:pt x="631782" y="120128"/>
                </a:lnTo>
                <a:lnTo>
                  <a:pt x="619540" y="120128"/>
                </a:lnTo>
                <a:lnTo>
                  <a:pt x="607752" y="120128"/>
                </a:lnTo>
                <a:close/>
                <a:moveTo>
                  <a:pt x="619540" y="0"/>
                </a:moveTo>
                <a:lnTo>
                  <a:pt x="634502" y="227"/>
                </a:lnTo>
                <a:lnTo>
                  <a:pt x="649690" y="907"/>
                </a:lnTo>
                <a:lnTo>
                  <a:pt x="664198" y="1587"/>
                </a:lnTo>
                <a:lnTo>
                  <a:pt x="678933" y="3173"/>
                </a:lnTo>
                <a:lnTo>
                  <a:pt x="694121" y="4533"/>
                </a:lnTo>
                <a:lnTo>
                  <a:pt x="708629" y="6573"/>
                </a:lnTo>
                <a:lnTo>
                  <a:pt x="723364" y="8840"/>
                </a:lnTo>
                <a:lnTo>
                  <a:pt x="738098" y="11560"/>
                </a:lnTo>
                <a:lnTo>
                  <a:pt x="752607" y="14506"/>
                </a:lnTo>
                <a:lnTo>
                  <a:pt x="767115" y="17906"/>
                </a:lnTo>
                <a:lnTo>
                  <a:pt x="781623" y="21533"/>
                </a:lnTo>
                <a:lnTo>
                  <a:pt x="796131" y="25839"/>
                </a:lnTo>
                <a:lnTo>
                  <a:pt x="810412" y="30146"/>
                </a:lnTo>
                <a:lnTo>
                  <a:pt x="824694" y="34905"/>
                </a:lnTo>
                <a:lnTo>
                  <a:pt x="838975" y="40118"/>
                </a:lnTo>
                <a:lnTo>
                  <a:pt x="853030" y="45558"/>
                </a:lnTo>
                <a:lnTo>
                  <a:pt x="866858" y="51451"/>
                </a:lnTo>
                <a:lnTo>
                  <a:pt x="880686" y="57571"/>
                </a:lnTo>
                <a:lnTo>
                  <a:pt x="894514" y="64144"/>
                </a:lnTo>
                <a:lnTo>
                  <a:pt x="907888" y="71170"/>
                </a:lnTo>
                <a:lnTo>
                  <a:pt x="921263" y="78423"/>
                </a:lnTo>
                <a:lnTo>
                  <a:pt x="934638" y="85903"/>
                </a:lnTo>
                <a:lnTo>
                  <a:pt x="947786" y="93836"/>
                </a:lnTo>
                <a:lnTo>
                  <a:pt x="960934" y="102222"/>
                </a:lnTo>
                <a:lnTo>
                  <a:pt x="973401" y="110835"/>
                </a:lnTo>
                <a:lnTo>
                  <a:pt x="986096" y="119901"/>
                </a:lnTo>
                <a:lnTo>
                  <a:pt x="998791" y="129421"/>
                </a:lnTo>
                <a:lnTo>
                  <a:pt x="1010805" y="139167"/>
                </a:lnTo>
                <a:lnTo>
                  <a:pt x="1023046" y="149140"/>
                </a:lnTo>
                <a:lnTo>
                  <a:pt x="1034607" y="159793"/>
                </a:lnTo>
                <a:lnTo>
                  <a:pt x="1046395" y="170446"/>
                </a:lnTo>
                <a:lnTo>
                  <a:pt x="1057956" y="181779"/>
                </a:lnTo>
                <a:lnTo>
                  <a:pt x="1067251" y="191072"/>
                </a:lnTo>
                <a:lnTo>
                  <a:pt x="1076318" y="200591"/>
                </a:lnTo>
                <a:lnTo>
                  <a:pt x="1084932" y="210564"/>
                </a:lnTo>
                <a:lnTo>
                  <a:pt x="1093546" y="220310"/>
                </a:lnTo>
                <a:lnTo>
                  <a:pt x="1101934" y="230283"/>
                </a:lnTo>
                <a:lnTo>
                  <a:pt x="1110095" y="240709"/>
                </a:lnTo>
                <a:lnTo>
                  <a:pt x="1117802" y="250909"/>
                </a:lnTo>
                <a:lnTo>
                  <a:pt x="1125510" y="261108"/>
                </a:lnTo>
                <a:lnTo>
                  <a:pt x="1132764" y="271988"/>
                </a:lnTo>
                <a:lnTo>
                  <a:pt x="1139791" y="282414"/>
                </a:lnTo>
                <a:lnTo>
                  <a:pt x="1146592" y="293294"/>
                </a:lnTo>
                <a:lnTo>
                  <a:pt x="1153166" y="304173"/>
                </a:lnTo>
                <a:lnTo>
                  <a:pt x="1159513" y="315279"/>
                </a:lnTo>
                <a:lnTo>
                  <a:pt x="1165634" y="326159"/>
                </a:lnTo>
                <a:lnTo>
                  <a:pt x="1171527" y="337492"/>
                </a:lnTo>
                <a:lnTo>
                  <a:pt x="1177195" y="348598"/>
                </a:lnTo>
                <a:lnTo>
                  <a:pt x="1182408" y="360157"/>
                </a:lnTo>
                <a:lnTo>
                  <a:pt x="1187622" y="371490"/>
                </a:lnTo>
                <a:lnTo>
                  <a:pt x="1192610" y="383050"/>
                </a:lnTo>
                <a:lnTo>
                  <a:pt x="1197143" y="394609"/>
                </a:lnTo>
                <a:lnTo>
                  <a:pt x="1201677" y="406395"/>
                </a:lnTo>
                <a:lnTo>
                  <a:pt x="1205984" y="418181"/>
                </a:lnTo>
                <a:lnTo>
                  <a:pt x="1209611" y="429741"/>
                </a:lnTo>
                <a:lnTo>
                  <a:pt x="1213465" y="441754"/>
                </a:lnTo>
                <a:lnTo>
                  <a:pt x="1216865" y="453540"/>
                </a:lnTo>
                <a:lnTo>
                  <a:pt x="1219812" y="465552"/>
                </a:lnTo>
                <a:lnTo>
                  <a:pt x="1222986" y="477792"/>
                </a:lnTo>
                <a:lnTo>
                  <a:pt x="1225706" y="489578"/>
                </a:lnTo>
                <a:lnTo>
                  <a:pt x="1228200" y="501818"/>
                </a:lnTo>
                <a:lnTo>
                  <a:pt x="1230240" y="514057"/>
                </a:lnTo>
                <a:lnTo>
                  <a:pt x="1232280" y="526070"/>
                </a:lnTo>
                <a:lnTo>
                  <a:pt x="1233867" y="538536"/>
                </a:lnTo>
                <a:lnTo>
                  <a:pt x="1235680" y="550775"/>
                </a:lnTo>
                <a:lnTo>
                  <a:pt x="1236814" y="563015"/>
                </a:lnTo>
                <a:lnTo>
                  <a:pt x="1237720" y="575254"/>
                </a:lnTo>
                <a:lnTo>
                  <a:pt x="1238401" y="587720"/>
                </a:lnTo>
                <a:lnTo>
                  <a:pt x="1239081" y="599733"/>
                </a:lnTo>
                <a:lnTo>
                  <a:pt x="1239307" y="612199"/>
                </a:lnTo>
                <a:lnTo>
                  <a:pt x="1239307" y="624665"/>
                </a:lnTo>
                <a:lnTo>
                  <a:pt x="1239081" y="636678"/>
                </a:lnTo>
                <a:lnTo>
                  <a:pt x="1238627" y="649144"/>
                </a:lnTo>
                <a:lnTo>
                  <a:pt x="1237947" y="661610"/>
                </a:lnTo>
                <a:lnTo>
                  <a:pt x="1237040" y="673623"/>
                </a:lnTo>
                <a:lnTo>
                  <a:pt x="1235907" y="686089"/>
                </a:lnTo>
                <a:lnTo>
                  <a:pt x="1234320" y="698102"/>
                </a:lnTo>
                <a:lnTo>
                  <a:pt x="1232507" y="710341"/>
                </a:lnTo>
                <a:lnTo>
                  <a:pt x="1230693" y="722807"/>
                </a:lnTo>
                <a:lnTo>
                  <a:pt x="1228653" y="734820"/>
                </a:lnTo>
                <a:lnTo>
                  <a:pt x="1226159" y="746833"/>
                </a:lnTo>
                <a:lnTo>
                  <a:pt x="1223439" y="759073"/>
                </a:lnTo>
                <a:lnTo>
                  <a:pt x="1220719" y="771085"/>
                </a:lnTo>
                <a:lnTo>
                  <a:pt x="1217545" y="783098"/>
                </a:lnTo>
                <a:lnTo>
                  <a:pt x="1214145" y="795111"/>
                </a:lnTo>
                <a:lnTo>
                  <a:pt x="1210518" y="806897"/>
                </a:lnTo>
                <a:lnTo>
                  <a:pt x="1206664" y="818683"/>
                </a:lnTo>
                <a:lnTo>
                  <a:pt x="1202357" y="830469"/>
                </a:lnTo>
                <a:lnTo>
                  <a:pt x="1198277" y="842255"/>
                </a:lnTo>
                <a:lnTo>
                  <a:pt x="1193516" y="853588"/>
                </a:lnTo>
                <a:lnTo>
                  <a:pt x="1188529" y="865374"/>
                </a:lnTo>
                <a:lnTo>
                  <a:pt x="1183769" y="876934"/>
                </a:lnTo>
                <a:lnTo>
                  <a:pt x="1178328" y="888267"/>
                </a:lnTo>
                <a:lnTo>
                  <a:pt x="1172661" y="899599"/>
                </a:lnTo>
                <a:lnTo>
                  <a:pt x="1166767" y="910706"/>
                </a:lnTo>
                <a:lnTo>
                  <a:pt x="1160646" y="921812"/>
                </a:lnTo>
                <a:lnTo>
                  <a:pt x="1534229" y="1295115"/>
                </a:lnTo>
                <a:lnTo>
                  <a:pt x="1540350" y="1301461"/>
                </a:lnTo>
                <a:lnTo>
                  <a:pt x="1545790" y="1308034"/>
                </a:lnTo>
                <a:lnTo>
                  <a:pt x="1551231" y="1314607"/>
                </a:lnTo>
                <a:lnTo>
                  <a:pt x="1556445" y="1321407"/>
                </a:lnTo>
                <a:lnTo>
                  <a:pt x="1560752" y="1328433"/>
                </a:lnTo>
                <a:lnTo>
                  <a:pt x="1565286" y="1335460"/>
                </a:lnTo>
                <a:lnTo>
                  <a:pt x="1569366" y="1342713"/>
                </a:lnTo>
                <a:lnTo>
                  <a:pt x="1572766" y="1349966"/>
                </a:lnTo>
                <a:lnTo>
                  <a:pt x="1576167" y="1357219"/>
                </a:lnTo>
                <a:lnTo>
                  <a:pt x="1578887" y="1364698"/>
                </a:lnTo>
                <a:lnTo>
                  <a:pt x="1581381" y="1372178"/>
                </a:lnTo>
                <a:lnTo>
                  <a:pt x="1583648" y="1379658"/>
                </a:lnTo>
                <a:lnTo>
                  <a:pt x="1585461" y="1387137"/>
                </a:lnTo>
                <a:lnTo>
                  <a:pt x="1586821" y="1394617"/>
                </a:lnTo>
                <a:lnTo>
                  <a:pt x="1587955" y="1402323"/>
                </a:lnTo>
                <a:lnTo>
                  <a:pt x="1588635" y="1409803"/>
                </a:lnTo>
                <a:lnTo>
                  <a:pt x="1589088" y="1417283"/>
                </a:lnTo>
                <a:lnTo>
                  <a:pt x="1589088" y="1424762"/>
                </a:lnTo>
                <a:lnTo>
                  <a:pt x="1588861" y="1432242"/>
                </a:lnTo>
                <a:lnTo>
                  <a:pt x="1588181" y="1439495"/>
                </a:lnTo>
                <a:lnTo>
                  <a:pt x="1587274" y="1446748"/>
                </a:lnTo>
                <a:lnTo>
                  <a:pt x="1585914" y="1454001"/>
                </a:lnTo>
                <a:lnTo>
                  <a:pt x="1584101" y="1461027"/>
                </a:lnTo>
                <a:lnTo>
                  <a:pt x="1581834" y="1467827"/>
                </a:lnTo>
                <a:lnTo>
                  <a:pt x="1579340" y="1474627"/>
                </a:lnTo>
                <a:lnTo>
                  <a:pt x="1576620" y="1481200"/>
                </a:lnTo>
                <a:lnTo>
                  <a:pt x="1573220" y="1487773"/>
                </a:lnTo>
                <a:lnTo>
                  <a:pt x="1569593" y="1494119"/>
                </a:lnTo>
                <a:lnTo>
                  <a:pt x="1565512" y="1500239"/>
                </a:lnTo>
                <a:lnTo>
                  <a:pt x="1561432" y="1506132"/>
                </a:lnTo>
                <a:lnTo>
                  <a:pt x="1556445" y="1511572"/>
                </a:lnTo>
                <a:lnTo>
                  <a:pt x="1551231" y="1517011"/>
                </a:lnTo>
                <a:lnTo>
                  <a:pt x="1517228" y="1551237"/>
                </a:lnTo>
                <a:lnTo>
                  <a:pt x="1511787" y="1556223"/>
                </a:lnTo>
                <a:lnTo>
                  <a:pt x="1506120" y="1561209"/>
                </a:lnTo>
                <a:lnTo>
                  <a:pt x="1500226" y="1565516"/>
                </a:lnTo>
                <a:lnTo>
                  <a:pt x="1494106" y="1569369"/>
                </a:lnTo>
                <a:lnTo>
                  <a:pt x="1487985" y="1573222"/>
                </a:lnTo>
                <a:lnTo>
                  <a:pt x="1481411" y="1576395"/>
                </a:lnTo>
                <a:lnTo>
                  <a:pt x="1474837" y="1579342"/>
                </a:lnTo>
                <a:lnTo>
                  <a:pt x="1468036" y="1581835"/>
                </a:lnTo>
                <a:lnTo>
                  <a:pt x="1461009" y="1583875"/>
                </a:lnTo>
                <a:lnTo>
                  <a:pt x="1453982" y="1585688"/>
                </a:lnTo>
                <a:lnTo>
                  <a:pt x="1446728" y="1587275"/>
                </a:lnTo>
                <a:lnTo>
                  <a:pt x="1439474" y="1588182"/>
                </a:lnTo>
                <a:lnTo>
                  <a:pt x="1432219" y="1588862"/>
                </a:lnTo>
                <a:lnTo>
                  <a:pt x="1424739" y="1589088"/>
                </a:lnTo>
                <a:lnTo>
                  <a:pt x="1417258" y="1589088"/>
                </a:lnTo>
                <a:lnTo>
                  <a:pt x="1409777" y="1588862"/>
                </a:lnTo>
                <a:lnTo>
                  <a:pt x="1402296" y="1587955"/>
                </a:lnTo>
                <a:lnTo>
                  <a:pt x="1394589" y="1587048"/>
                </a:lnTo>
                <a:lnTo>
                  <a:pt x="1387108" y="1585235"/>
                </a:lnTo>
                <a:lnTo>
                  <a:pt x="1379628" y="1583422"/>
                </a:lnTo>
                <a:lnTo>
                  <a:pt x="1372147" y="1581382"/>
                </a:lnTo>
                <a:lnTo>
                  <a:pt x="1364666" y="1578662"/>
                </a:lnTo>
                <a:lnTo>
                  <a:pt x="1357186" y="1575942"/>
                </a:lnTo>
                <a:lnTo>
                  <a:pt x="1349931" y="1572769"/>
                </a:lnTo>
                <a:lnTo>
                  <a:pt x="1342677" y="1569142"/>
                </a:lnTo>
                <a:lnTo>
                  <a:pt x="1335423" y="1565289"/>
                </a:lnTo>
                <a:lnTo>
                  <a:pt x="1328396" y="1560756"/>
                </a:lnTo>
                <a:lnTo>
                  <a:pt x="1321369" y="1556223"/>
                </a:lnTo>
                <a:lnTo>
                  <a:pt x="1314568" y="1551237"/>
                </a:lnTo>
                <a:lnTo>
                  <a:pt x="1307994" y="1545797"/>
                </a:lnTo>
                <a:lnTo>
                  <a:pt x="1301420" y="1540130"/>
                </a:lnTo>
                <a:lnTo>
                  <a:pt x="1295299" y="1534011"/>
                </a:lnTo>
                <a:lnTo>
                  <a:pt x="921716" y="1160708"/>
                </a:lnTo>
                <a:lnTo>
                  <a:pt x="910835" y="1166827"/>
                </a:lnTo>
                <a:lnTo>
                  <a:pt x="899501" y="1172720"/>
                </a:lnTo>
                <a:lnTo>
                  <a:pt x="888166" y="1178160"/>
                </a:lnTo>
                <a:lnTo>
                  <a:pt x="876832" y="1183600"/>
                </a:lnTo>
                <a:lnTo>
                  <a:pt x="865498" y="1188586"/>
                </a:lnTo>
                <a:lnTo>
                  <a:pt x="853710" y="1193346"/>
                </a:lnTo>
                <a:lnTo>
                  <a:pt x="842375" y="1198106"/>
                </a:lnTo>
                <a:lnTo>
                  <a:pt x="830588" y="1202412"/>
                </a:lnTo>
                <a:lnTo>
                  <a:pt x="818573" y="1206492"/>
                </a:lnTo>
                <a:lnTo>
                  <a:pt x="807012" y="1210572"/>
                </a:lnTo>
                <a:lnTo>
                  <a:pt x="794997" y="1213972"/>
                </a:lnTo>
                <a:lnTo>
                  <a:pt x="783210" y="1217598"/>
                </a:lnTo>
                <a:lnTo>
                  <a:pt x="771195" y="1220545"/>
                </a:lnTo>
                <a:lnTo>
                  <a:pt x="758954" y="1223265"/>
                </a:lnTo>
                <a:lnTo>
                  <a:pt x="746939" y="1226211"/>
                </a:lnTo>
                <a:lnTo>
                  <a:pt x="734698" y="1228478"/>
                </a:lnTo>
                <a:lnTo>
                  <a:pt x="722457" y="1230518"/>
                </a:lnTo>
                <a:lnTo>
                  <a:pt x="710442" y="1232784"/>
                </a:lnTo>
                <a:lnTo>
                  <a:pt x="698201" y="1234371"/>
                </a:lnTo>
                <a:lnTo>
                  <a:pt x="685960" y="1235731"/>
                </a:lnTo>
                <a:lnTo>
                  <a:pt x="673719" y="1236864"/>
                </a:lnTo>
                <a:lnTo>
                  <a:pt x="661478" y="1237771"/>
                </a:lnTo>
                <a:lnTo>
                  <a:pt x="649010" y="1238451"/>
                </a:lnTo>
                <a:lnTo>
                  <a:pt x="636769" y="1239131"/>
                </a:lnTo>
                <a:lnTo>
                  <a:pt x="624527" y="1239357"/>
                </a:lnTo>
                <a:lnTo>
                  <a:pt x="612060" y="1239357"/>
                </a:lnTo>
                <a:lnTo>
                  <a:pt x="599818" y="1239131"/>
                </a:lnTo>
                <a:lnTo>
                  <a:pt x="587577" y="1238451"/>
                </a:lnTo>
                <a:lnTo>
                  <a:pt x="575109" y="1237544"/>
                </a:lnTo>
                <a:lnTo>
                  <a:pt x="562868" y="1236638"/>
                </a:lnTo>
                <a:lnTo>
                  <a:pt x="550627" y="1235504"/>
                </a:lnTo>
                <a:lnTo>
                  <a:pt x="538612" y="1233918"/>
                </a:lnTo>
                <a:lnTo>
                  <a:pt x="526145" y="1232331"/>
                </a:lnTo>
                <a:lnTo>
                  <a:pt x="513903" y="1230291"/>
                </a:lnTo>
                <a:lnTo>
                  <a:pt x="501889" y="1228025"/>
                </a:lnTo>
                <a:lnTo>
                  <a:pt x="489648" y="1225758"/>
                </a:lnTo>
                <a:lnTo>
                  <a:pt x="477633" y="1222811"/>
                </a:lnTo>
                <a:lnTo>
                  <a:pt x="465619" y="1219865"/>
                </a:lnTo>
                <a:lnTo>
                  <a:pt x="453604" y="1216918"/>
                </a:lnTo>
                <a:lnTo>
                  <a:pt x="441590" y="1213292"/>
                </a:lnTo>
                <a:lnTo>
                  <a:pt x="429802" y="1209665"/>
                </a:lnTo>
                <a:lnTo>
                  <a:pt x="418014" y="1205812"/>
                </a:lnTo>
                <a:lnTo>
                  <a:pt x="406453" y="1201506"/>
                </a:lnTo>
                <a:lnTo>
                  <a:pt x="394665" y="1197199"/>
                </a:lnTo>
                <a:lnTo>
                  <a:pt x="383104" y="1192440"/>
                </a:lnTo>
                <a:lnTo>
                  <a:pt x="371543" y="1187680"/>
                </a:lnTo>
                <a:lnTo>
                  <a:pt x="359982" y="1182467"/>
                </a:lnTo>
                <a:lnTo>
                  <a:pt x="348647" y="1177027"/>
                </a:lnTo>
                <a:lnTo>
                  <a:pt x="337313" y="1171360"/>
                </a:lnTo>
                <a:lnTo>
                  <a:pt x="326205" y="1165694"/>
                </a:lnTo>
                <a:lnTo>
                  <a:pt x="315097" y="1159574"/>
                </a:lnTo>
                <a:lnTo>
                  <a:pt x="304216" y="1153228"/>
                </a:lnTo>
                <a:lnTo>
                  <a:pt x="293109" y="1146655"/>
                </a:lnTo>
                <a:lnTo>
                  <a:pt x="282454" y="1139629"/>
                </a:lnTo>
                <a:lnTo>
                  <a:pt x="272026" y="1132602"/>
                </a:lnTo>
                <a:lnTo>
                  <a:pt x="261145" y="1125349"/>
                </a:lnTo>
                <a:lnTo>
                  <a:pt x="250944" y="1117643"/>
                </a:lnTo>
                <a:lnTo>
                  <a:pt x="240517" y="1109937"/>
                </a:lnTo>
                <a:lnTo>
                  <a:pt x="230316" y="1101777"/>
                </a:lnTo>
                <a:lnTo>
                  <a:pt x="220341" y="1093617"/>
                </a:lnTo>
                <a:lnTo>
                  <a:pt x="210367" y="1085004"/>
                </a:lnTo>
                <a:lnTo>
                  <a:pt x="200620" y="1076391"/>
                </a:lnTo>
                <a:lnTo>
                  <a:pt x="191099" y="1067099"/>
                </a:lnTo>
                <a:lnTo>
                  <a:pt x="181578" y="1057806"/>
                </a:lnTo>
                <a:lnTo>
                  <a:pt x="170470" y="1046473"/>
                </a:lnTo>
                <a:lnTo>
                  <a:pt x="159589" y="1034913"/>
                </a:lnTo>
                <a:lnTo>
                  <a:pt x="149161" y="1022901"/>
                </a:lnTo>
                <a:lnTo>
                  <a:pt x="139187" y="1010888"/>
                </a:lnTo>
                <a:lnTo>
                  <a:pt x="129213" y="998648"/>
                </a:lnTo>
                <a:lnTo>
                  <a:pt x="119918" y="985956"/>
                </a:lnTo>
                <a:lnTo>
                  <a:pt x="110851" y="973489"/>
                </a:lnTo>
                <a:lnTo>
                  <a:pt x="102237" y="960797"/>
                </a:lnTo>
                <a:lnTo>
                  <a:pt x="93849" y="947651"/>
                </a:lnTo>
                <a:lnTo>
                  <a:pt x="85688" y="934505"/>
                </a:lnTo>
                <a:lnTo>
                  <a:pt x="78208" y="921358"/>
                </a:lnTo>
                <a:lnTo>
                  <a:pt x="70954" y="907986"/>
                </a:lnTo>
                <a:lnTo>
                  <a:pt x="64153" y="894386"/>
                </a:lnTo>
                <a:lnTo>
                  <a:pt x="57579" y="880560"/>
                </a:lnTo>
                <a:lnTo>
                  <a:pt x="51232" y="866734"/>
                </a:lnTo>
                <a:lnTo>
                  <a:pt x="45338" y="852908"/>
                </a:lnTo>
                <a:lnTo>
                  <a:pt x="39897" y="838856"/>
                </a:lnTo>
                <a:lnTo>
                  <a:pt x="34910" y="824803"/>
                </a:lnTo>
                <a:lnTo>
                  <a:pt x="30150" y="810524"/>
                </a:lnTo>
                <a:lnTo>
                  <a:pt x="25616" y="796244"/>
                </a:lnTo>
                <a:lnTo>
                  <a:pt x="21535" y="781738"/>
                </a:lnTo>
                <a:lnTo>
                  <a:pt x="17682" y="767232"/>
                </a:lnTo>
                <a:lnTo>
                  <a:pt x="14508" y="752726"/>
                </a:lnTo>
                <a:lnTo>
                  <a:pt x="11334" y="738220"/>
                </a:lnTo>
                <a:lnTo>
                  <a:pt x="8841" y="723487"/>
                </a:lnTo>
                <a:lnTo>
                  <a:pt x="6574" y="708755"/>
                </a:lnTo>
                <a:lnTo>
                  <a:pt x="4307" y="694022"/>
                </a:lnTo>
                <a:lnTo>
                  <a:pt x="2947" y="679289"/>
                </a:lnTo>
                <a:lnTo>
                  <a:pt x="1587" y="664330"/>
                </a:lnTo>
                <a:lnTo>
                  <a:pt x="680" y="649597"/>
                </a:lnTo>
                <a:lnTo>
                  <a:pt x="227" y="634638"/>
                </a:lnTo>
                <a:lnTo>
                  <a:pt x="0" y="619905"/>
                </a:lnTo>
                <a:lnTo>
                  <a:pt x="227" y="604946"/>
                </a:lnTo>
                <a:lnTo>
                  <a:pt x="680" y="589987"/>
                </a:lnTo>
                <a:lnTo>
                  <a:pt x="1587" y="575254"/>
                </a:lnTo>
                <a:lnTo>
                  <a:pt x="2947" y="560295"/>
                </a:lnTo>
                <a:lnTo>
                  <a:pt x="4307" y="545562"/>
                </a:lnTo>
                <a:lnTo>
                  <a:pt x="6574" y="530830"/>
                </a:lnTo>
                <a:lnTo>
                  <a:pt x="8841" y="516097"/>
                </a:lnTo>
                <a:lnTo>
                  <a:pt x="11334" y="501364"/>
                </a:lnTo>
                <a:lnTo>
                  <a:pt x="14508" y="486858"/>
                </a:lnTo>
                <a:lnTo>
                  <a:pt x="17682" y="472352"/>
                </a:lnTo>
                <a:lnTo>
                  <a:pt x="21535" y="457846"/>
                </a:lnTo>
                <a:lnTo>
                  <a:pt x="25616" y="443340"/>
                </a:lnTo>
                <a:lnTo>
                  <a:pt x="30150" y="429061"/>
                </a:lnTo>
                <a:lnTo>
                  <a:pt x="34910" y="414781"/>
                </a:lnTo>
                <a:lnTo>
                  <a:pt x="39897" y="400502"/>
                </a:lnTo>
                <a:lnTo>
                  <a:pt x="45338" y="386449"/>
                </a:lnTo>
                <a:lnTo>
                  <a:pt x="51232" y="372850"/>
                </a:lnTo>
                <a:lnTo>
                  <a:pt x="57579" y="359024"/>
                </a:lnTo>
                <a:lnTo>
                  <a:pt x="64153" y="345198"/>
                </a:lnTo>
                <a:lnTo>
                  <a:pt x="70954" y="331599"/>
                </a:lnTo>
                <a:lnTo>
                  <a:pt x="78208" y="318226"/>
                </a:lnTo>
                <a:lnTo>
                  <a:pt x="85688" y="304853"/>
                </a:lnTo>
                <a:lnTo>
                  <a:pt x="93849" y="291934"/>
                </a:lnTo>
                <a:lnTo>
                  <a:pt x="102237" y="278788"/>
                </a:lnTo>
                <a:lnTo>
                  <a:pt x="110851" y="266095"/>
                </a:lnTo>
                <a:lnTo>
                  <a:pt x="119918" y="253402"/>
                </a:lnTo>
                <a:lnTo>
                  <a:pt x="129213" y="240936"/>
                </a:lnTo>
                <a:lnTo>
                  <a:pt x="139187" y="228697"/>
                </a:lnTo>
                <a:lnTo>
                  <a:pt x="149161" y="216457"/>
                </a:lnTo>
                <a:lnTo>
                  <a:pt x="159589" y="204671"/>
                </a:lnTo>
                <a:lnTo>
                  <a:pt x="170470" y="193111"/>
                </a:lnTo>
                <a:lnTo>
                  <a:pt x="181578" y="181779"/>
                </a:lnTo>
                <a:lnTo>
                  <a:pt x="193139" y="170446"/>
                </a:lnTo>
                <a:lnTo>
                  <a:pt x="204473" y="159793"/>
                </a:lnTo>
                <a:lnTo>
                  <a:pt x="216488" y="149140"/>
                </a:lnTo>
                <a:lnTo>
                  <a:pt x="228729" y="139167"/>
                </a:lnTo>
                <a:lnTo>
                  <a:pt x="240743" y="129421"/>
                </a:lnTo>
                <a:lnTo>
                  <a:pt x="253438" y="119901"/>
                </a:lnTo>
                <a:lnTo>
                  <a:pt x="266133" y="110835"/>
                </a:lnTo>
                <a:lnTo>
                  <a:pt x="278600" y="102222"/>
                </a:lnTo>
                <a:lnTo>
                  <a:pt x="291748" y="93836"/>
                </a:lnTo>
                <a:lnTo>
                  <a:pt x="304896" y="85903"/>
                </a:lnTo>
                <a:lnTo>
                  <a:pt x="318271" y="78423"/>
                </a:lnTo>
                <a:lnTo>
                  <a:pt x="331646" y="71170"/>
                </a:lnTo>
                <a:lnTo>
                  <a:pt x="345020" y="64144"/>
                </a:lnTo>
                <a:lnTo>
                  <a:pt x="358848" y="57571"/>
                </a:lnTo>
                <a:lnTo>
                  <a:pt x="372676" y="51451"/>
                </a:lnTo>
                <a:lnTo>
                  <a:pt x="386504" y="45558"/>
                </a:lnTo>
                <a:lnTo>
                  <a:pt x="400559" y="40118"/>
                </a:lnTo>
                <a:lnTo>
                  <a:pt x="414840" y="34905"/>
                </a:lnTo>
                <a:lnTo>
                  <a:pt x="429122" y="30146"/>
                </a:lnTo>
                <a:lnTo>
                  <a:pt x="443403" y="25839"/>
                </a:lnTo>
                <a:lnTo>
                  <a:pt x="457911" y="21533"/>
                </a:lnTo>
                <a:lnTo>
                  <a:pt x="472419" y="17906"/>
                </a:lnTo>
                <a:lnTo>
                  <a:pt x="486927" y="14506"/>
                </a:lnTo>
                <a:lnTo>
                  <a:pt x="501435" y="11560"/>
                </a:lnTo>
                <a:lnTo>
                  <a:pt x="515944" y="8840"/>
                </a:lnTo>
                <a:lnTo>
                  <a:pt x="530678" y="6573"/>
                </a:lnTo>
                <a:lnTo>
                  <a:pt x="545413" y="4533"/>
                </a:lnTo>
                <a:lnTo>
                  <a:pt x="560148" y="3173"/>
                </a:lnTo>
                <a:lnTo>
                  <a:pt x="575109" y="1587"/>
                </a:lnTo>
                <a:lnTo>
                  <a:pt x="589844" y="907"/>
                </a:lnTo>
                <a:lnTo>
                  <a:pt x="604806" y="227"/>
                </a:lnTo>
                <a:lnTo>
                  <a:pt x="61954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anchor="ctr">
            <a:scene3d>
              <a:camera prst="orthographicFront"/>
              <a:lightRig rig="threePt" dir="t"/>
            </a:scene3d>
            <a:sp3d>
              <a:contourClr>
                <a:srgbClr val="FFFFFF"/>
              </a:contourClr>
            </a:sp3d>
          </a:bodyPr>
          <a:p>
            <a:pPr algn="ctr">
              <a:defRPr/>
            </a:pPr>
            <a:endParaRPr lang="zh-CN" altLang="en-US">
              <a:solidFill>
                <a:srgbClr val="FFFFFF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精确拆解：</a:t>
            </a:r>
            <a:r>
              <a:rPr 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可解释性局部解释之特征可解释</a:t>
            </a:r>
            <a:endParaRPr lang="en-US" altLang="zh-CN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938530" y="112522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en-US" altLang="zh-CN" dirty="0" smtClean="0"/>
              <a:t>IV</a:t>
            </a:r>
            <a:endParaRPr lang="en-US" altLang="zh-CN" dirty="0" smtClean="0"/>
          </a:p>
        </p:txBody>
      </p:sp>
      <p:grpSp>
        <p:nvGrpSpPr>
          <p:cNvPr id="7" name="组合 6"/>
          <p:cNvGrpSpPr/>
          <p:nvPr/>
        </p:nvGrpSpPr>
        <p:grpSpPr>
          <a:xfrm>
            <a:off x="450215" y="1061720"/>
            <a:ext cx="389255" cy="427990"/>
            <a:chOff x="450391" y="1977754"/>
            <a:chExt cx="465233" cy="511985"/>
          </a:xfrm>
        </p:grpSpPr>
        <p:sp>
          <p:nvSpPr>
            <p:cNvPr id="11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4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6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9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0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1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9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2" name="文本框 1"/>
          <p:cNvSpPr txBox="1"/>
          <p:nvPr/>
        </p:nvSpPr>
        <p:spPr>
          <a:xfrm>
            <a:off x="948055" y="1509395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p>
            <a:pPr marL="106045" indent="0">
              <a:buNone/>
            </a:pPr>
            <a:r>
              <a:rPr lang="zh-CN" altLang="en-US" sz="1400" dirty="0" smtClean="0"/>
              <a:t>展示命中</a:t>
            </a:r>
            <a:r>
              <a:rPr lang="en-US" altLang="zh-CN" sz="1400" dirty="0" smtClean="0"/>
              <a:t>IV</a:t>
            </a:r>
            <a:r>
              <a:rPr lang="zh-CN" altLang="en-US" sz="1400" dirty="0" smtClean="0"/>
              <a:t>排在</a:t>
            </a:r>
            <a:r>
              <a:rPr lang="en-US" altLang="zh-CN" sz="1400" dirty="0" smtClean="0"/>
              <a:t>top</a:t>
            </a:r>
            <a:r>
              <a:rPr lang="zh-CN" altLang="en-US" sz="1400" dirty="0" smtClean="0"/>
              <a:t>的特征</a:t>
            </a:r>
            <a:endParaRPr lang="zh-CN" altLang="en-US" sz="1400" dirty="0" smtClean="0"/>
          </a:p>
        </p:txBody>
      </p:sp>
      <p:pic>
        <p:nvPicPr>
          <p:cNvPr id="102" name="图片 101"/>
          <p:cNvPicPr/>
          <p:nvPr/>
        </p:nvPicPr>
        <p:blipFill>
          <a:blip r:embed="rId1"/>
          <a:stretch>
            <a:fillRect/>
          </a:stretch>
        </p:blipFill>
        <p:spPr>
          <a:xfrm>
            <a:off x="1376680" y="1925955"/>
            <a:ext cx="9584690" cy="150685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3" name="矩形 2"/>
          <p:cNvSpPr/>
          <p:nvPr/>
        </p:nvSpPr>
        <p:spPr>
          <a:xfrm>
            <a:off x="3600450" y="5591290"/>
            <a:ext cx="325755" cy="540000"/>
          </a:xfrm>
          <a:prstGeom prst="rect">
            <a:avLst/>
          </a:prstGeom>
          <a:solidFill>
            <a:schemeClr val="bg1">
              <a:lumMod val="85000"/>
            </a:schemeClr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rtlCol="0" anchor="t" anchorCtr="0" compatLnSpc="1"/>
          <a:p>
            <a:endParaRPr lang="zh-CN" altLang="en-US"/>
          </a:p>
        </p:txBody>
      </p:sp>
      <p:sp>
        <p:nvSpPr>
          <p:cNvPr id="8" name="矩形 7"/>
          <p:cNvSpPr/>
          <p:nvPr/>
        </p:nvSpPr>
        <p:spPr>
          <a:xfrm>
            <a:off x="5274945" y="4182110"/>
            <a:ext cx="323850" cy="1949450"/>
          </a:xfrm>
          <a:prstGeom prst="rect">
            <a:avLst/>
          </a:prstGeom>
          <a:solidFill>
            <a:srgbClr val="F05A23"/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rtlCol="0" anchor="t" anchorCtr="0" compatLnSpc="1"/>
          <a:p>
            <a:endParaRPr lang="zh-CN" altLang="en-US"/>
          </a:p>
        </p:txBody>
      </p:sp>
      <p:sp>
        <p:nvSpPr>
          <p:cNvPr id="9" name="文本框 8"/>
          <p:cNvSpPr txBox="1"/>
          <p:nvPr/>
        </p:nvSpPr>
        <p:spPr>
          <a:xfrm>
            <a:off x="3327400" y="5171440"/>
            <a:ext cx="814705" cy="314960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106045" indent="0">
              <a:buFont typeface="Arial" panose="020B0604020202090204" pitchFamily="34" charset="0"/>
              <a:buNone/>
            </a:pPr>
            <a:r>
              <a:rPr lang="en-US" alt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0.039%</a:t>
            </a:r>
            <a:endParaRPr lang="en-US" altLang="zh-CN" sz="1400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5029200" y="3695065"/>
            <a:ext cx="814705" cy="314960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106045" indent="0">
              <a:buFont typeface="Arial" panose="020B0604020202090204" pitchFamily="34" charset="0"/>
              <a:buNone/>
            </a:pPr>
            <a:r>
              <a:rPr lang="en-US" alt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1.375%</a:t>
            </a:r>
            <a:endParaRPr lang="en-US" altLang="zh-CN" sz="1400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cxnSp>
        <p:nvCxnSpPr>
          <p:cNvPr id="15" name="直接连接符 14"/>
          <p:cNvCxnSpPr/>
          <p:nvPr/>
        </p:nvCxnSpPr>
        <p:spPr>
          <a:xfrm>
            <a:off x="1391920" y="6132830"/>
            <a:ext cx="515239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文本框 17"/>
          <p:cNvSpPr txBox="1"/>
          <p:nvPr/>
        </p:nvSpPr>
        <p:spPr>
          <a:xfrm>
            <a:off x="2956560" y="6283960"/>
            <a:ext cx="1690370" cy="314960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106045" indent="0">
              <a:buFont typeface="Arial" panose="020B0604020202090204" pitchFamily="34" charset="0"/>
              <a:buNone/>
            </a:pPr>
            <a:r>
              <a:rPr 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无咨询试算退保</a:t>
            </a:r>
            <a:endParaRPr lang="zh-CN" sz="1400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4723130" y="6283960"/>
            <a:ext cx="1604010" cy="314960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106045" indent="0">
              <a:buFont typeface="Arial" panose="020B0604020202090204" pitchFamily="34" charset="0"/>
              <a:buNone/>
            </a:pPr>
            <a:r>
              <a:rPr 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有咨询试算退保</a:t>
            </a:r>
            <a:endParaRPr lang="zh-CN" sz="1400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1798320" y="5485765"/>
            <a:ext cx="325755" cy="6477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rtlCol="0" anchor="t" anchorCtr="0" compatLnSpc="1"/>
          <a:p>
            <a:endParaRPr lang="zh-CN" altLang="en-US"/>
          </a:p>
        </p:txBody>
      </p:sp>
      <p:sp>
        <p:nvSpPr>
          <p:cNvPr id="23" name="文本框 22"/>
          <p:cNvSpPr txBox="1"/>
          <p:nvPr/>
        </p:nvSpPr>
        <p:spPr>
          <a:xfrm>
            <a:off x="1488440" y="6283960"/>
            <a:ext cx="921385" cy="314960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106045" indent="0" algn="ctr">
              <a:buFont typeface="Arial" panose="020B0604020202090204" pitchFamily="34" charset="0"/>
              <a:buNone/>
            </a:pPr>
            <a:r>
              <a:rPr 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整体</a:t>
            </a:r>
            <a:endParaRPr lang="zh-CN" sz="1400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25" name="文本框 24"/>
          <p:cNvSpPr txBox="1"/>
          <p:nvPr/>
        </p:nvSpPr>
        <p:spPr>
          <a:xfrm>
            <a:off x="1595120" y="5020310"/>
            <a:ext cx="814705" cy="314960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106045" indent="0">
              <a:buFont typeface="Arial" panose="020B0604020202090204" pitchFamily="34" charset="0"/>
              <a:buNone/>
            </a:pPr>
            <a:r>
              <a:rPr lang="en-US" alt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0.041%</a:t>
            </a:r>
            <a:endParaRPr lang="en-US" altLang="zh-CN" sz="1400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cxnSp>
        <p:nvCxnSpPr>
          <p:cNvPr id="26" name="直接连接符 25"/>
          <p:cNvCxnSpPr/>
          <p:nvPr/>
        </p:nvCxnSpPr>
        <p:spPr>
          <a:xfrm>
            <a:off x="2901315" y="4070350"/>
            <a:ext cx="0" cy="20701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文本框 26"/>
          <p:cNvSpPr txBox="1"/>
          <p:nvPr/>
        </p:nvSpPr>
        <p:spPr>
          <a:xfrm>
            <a:off x="6735445" y="3803015"/>
            <a:ext cx="4409440" cy="2452370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106045" indent="0" fontAlgn="auto">
              <a:lnSpc>
                <a:spcPts val="1800"/>
              </a:lnSpc>
              <a:buFont typeface="Arial" panose="020B0604020202090204" pitchFamily="34" charset="0"/>
              <a:buNone/>
            </a:pP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如左侧示例：</a:t>
            </a:r>
            <a:endParaRPr lang="zh-CN" altLang="en-US" sz="1400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106045" indent="0" fontAlgn="auto">
              <a:lnSpc>
                <a:spcPts val="1800"/>
              </a:lnSpc>
              <a:buFont typeface="Arial" panose="020B0604020202090204" pitchFamily="34" charset="0"/>
              <a:buNone/>
            </a:pP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有命中</a:t>
            </a:r>
            <a:r>
              <a:rPr lang="en-US" alt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“</a:t>
            </a: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有在咨询试算退保</a:t>
            </a:r>
            <a:r>
              <a:rPr lang="en-US" alt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”</a:t>
            </a: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的行为，投诉率为</a:t>
            </a:r>
            <a:r>
              <a:rPr lang="en-US" alt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1.375%</a:t>
            </a: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，比无此行为的投诉率</a:t>
            </a:r>
            <a:r>
              <a:rPr lang="en-US" alt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0.039%</a:t>
            </a: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高</a:t>
            </a:r>
            <a:r>
              <a:rPr lang="en-US" altLang="zh-CN" sz="1400" b="1" dirty="0" smtClean="0">
                <a:solidFill>
                  <a:srgbClr val="F05A23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35</a:t>
            </a: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倍，比整体投诉也高</a:t>
            </a:r>
            <a:r>
              <a:rPr lang="en-US" alt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33.5</a:t>
            </a: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倍。</a:t>
            </a:r>
            <a:endParaRPr lang="zh-CN" altLang="en-US" sz="1400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106045" indent="0" fontAlgn="auto">
              <a:lnSpc>
                <a:spcPts val="1800"/>
              </a:lnSpc>
              <a:buFont typeface="Arial" panose="020B0604020202090204" pitchFamily="34" charset="0"/>
              <a:buNone/>
            </a:pPr>
            <a:endParaRPr lang="zh-CN" altLang="en-US" sz="1400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106045" indent="0" fontAlgn="auto">
              <a:lnSpc>
                <a:spcPts val="1800"/>
              </a:lnSpc>
              <a:buFont typeface="Arial" panose="020B0604020202090204" pitchFamily="34" charset="0"/>
              <a:buNone/>
            </a:pP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如果模型预测一个客户投诉高风险，也命中了这个特征，可以有一定理由解释：</a:t>
            </a:r>
            <a:endParaRPr lang="zh-CN" altLang="en-US" sz="1400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28" name="矩形 27"/>
          <p:cNvSpPr/>
          <p:nvPr/>
        </p:nvSpPr>
        <p:spPr>
          <a:xfrm>
            <a:off x="6871970" y="5891530"/>
            <a:ext cx="4149725" cy="363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rtlCol="0" anchor="ctr" anchorCtr="0" compatLnSpc="1"/>
          <a:p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  <a:sym typeface="+mn-ea"/>
              </a:rPr>
              <a:t>这个客户</a:t>
            </a:r>
            <a:r>
              <a:rPr lang="zh-CN" altLang="en-US" sz="1400" b="1" dirty="0" smtClean="0">
                <a:latin typeface="华文楷体" panose="02010600040101010101" pitchFamily="2" charset="-122"/>
                <a:ea typeface="华文楷体" panose="02010600040101010101" pitchFamily="2" charset="-122"/>
                <a:sym typeface="+mn-ea"/>
              </a:rPr>
              <a:t>高风险</a:t>
            </a: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  <a:sym typeface="+mn-ea"/>
              </a:rPr>
              <a:t>有一定程度是</a:t>
            </a:r>
            <a:r>
              <a:rPr lang="zh-CN" altLang="en-US" sz="1400" b="1" dirty="0" smtClean="0">
                <a:latin typeface="华文楷体" panose="02010600040101010101" pitchFamily="2" charset="-122"/>
                <a:ea typeface="华文楷体" panose="02010600040101010101" pitchFamily="2" charset="-122"/>
                <a:sym typeface="+mn-ea"/>
              </a:rPr>
              <a:t>因为命中了此特征</a:t>
            </a:r>
            <a:endParaRPr lang="zh-CN" altLang="en-US" sz="1400" b="1" dirty="0" smtClean="0">
              <a:latin typeface="华文楷体" panose="02010600040101010101" pitchFamily="2" charset="-122"/>
              <a:ea typeface="华文楷体" panose="02010600040101010101" pitchFamily="2" charset="-122"/>
              <a:sym typeface="+mn-ea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1364184" y="1692275"/>
            <a:ext cx="9463632" cy="3600370"/>
            <a:chOff x="1364184" y="1692275"/>
            <a:chExt cx="9463632" cy="3600370"/>
          </a:xfrm>
        </p:grpSpPr>
        <p:sp>
          <p:nvSpPr>
            <p:cNvPr id="6" name="任意多边形: 形状 5"/>
            <p:cNvSpPr/>
            <p:nvPr/>
          </p:nvSpPr>
          <p:spPr bwMode="auto">
            <a:xfrm>
              <a:off x="4224338" y="1692275"/>
              <a:ext cx="2820988" cy="3281363"/>
            </a:xfrm>
            <a:custGeom>
              <a:avLst/>
              <a:gdLst>
                <a:gd name="T0" fmla="*/ 880 w 2842"/>
                <a:gd name="T1" fmla="*/ 2984 h 3305"/>
                <a:gd name="T2" fmla="*/ 2481 w 2842"/>
                <a:gd name="T3" fmla="*/ 1511 h 3305"/>
                <a:gd name="T4" fmla="*/ 2429 w 2842"/>
                <a:gd name="T5" fmla="*/ 300 h 3305"/>
                <a:gd name="T6" fmla="*/ 2429 w 2842"/>
                <a:gd name="T7" fmla="*/ 300 h 3305"/>
                <a:gd name="T8" fmla="*/ 1245 w 2842"/>
                <a:gd name="T9" fmla="*/ 555 h 3305"/>
                <a:gd name="T10" fmla="*/ 223 w 2842"/>
                <a:gd name="T11" fmla="*/ 2476 h 3305"/>
                <a:gd name="T12" fmla="*/ 880 w 2842"/>
                <a:gd name="T13" fmla="*/ 2984 h 3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42" h="3305">
                  <a:moveTo>
                    <a:pt x="880" y="2984"/>
                  </a:moveTo>
                  <a:cubicBezTo>
                    <a:pt x="2481" y="1511"/>
                    <a:pt x="2481" y="1511"/>
                    <a:pt x="2481" y="1511"/>
                  </a:cubicBezTo>
                  <a:cubicBezTo>
                    <a:pt x="2842" y="1178"/>
                    <a:pt x="2817" y="601"/>
                    <a:pt x="2429" y="300"/>
                  </a:cubicBezTo>
                  <a:cubicBezTo>
                    <a:pt x="2429" y="300"/>
                    <a:pt x="2429" y="300"/>
                    <a:pt x="2429" y="300"/>
                  </a:cubicBezTo>
                  <a:cubicBezTo>
                    <a:pt x="2040" y="0"/>
                    <a:pt x="1475" y="122"/>
                    <a:pt x="1245" y="555"/>
                  </a:cubicBezTo>
                  <a:cubicBezTo>
                    <a:pt x="223" y="2476"/>
                    <a:pt x="223" y="2476"/>
                    <a:pt x="223" y="2476"/>
                  </a:cubicBezTo>
                  <a:cubicBezTo>
                    <a:pt x="0" y="2895"/>
                    <a:pt x="531" y="3305"/>
                    <a:pt x="880" y="298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" name="任意多边形: 形状 6"/>
            <p:cNvSpPr/>
            <p:nvPr/>
          </p:nvSpPr>
          <p:spPr bwMode="auto">
            <a:xfrm>
              <a:off x="5556250" y="1757363"/>
              <a:ext cx="2498725" cy="3484563"/>
            </a:xfrm>
            <a:custGeom>
              <a:avLst/>
              <a:gdLst>
                <a:gd name="T0" fmla="*/ 150 w 2517"/>
                <a:gd name="T1" fmla="*/ 766 h 3510"/>
                <a:gd name="T2" fmla="*/ 839 w 2517"/>
                <a:gd name="T3" fmla="*/ 2830 h 3510"/>
                <a:gd name="T4" fmla="*/ 1964 w 2517"/>
                <a:gd name="T5" fmla="*/ 3278 h 3510"/>
                <a:gd name="T6" fmla="*/ 1964 w 2517"/>
                <a:gd name="T7" fmla="*/ 3278 h 3510"/>
                <a:gd name="T8" fmla="*/ 2216 w 2517"/>
                <a:gd name="T9" fmla="*/ 2093 h 3510"/>
                <a:gd name="T10" fmla="*/ 882 w 2517"/>
                <a:gd name="T11" fmla="*/ 374 h 3510"/>
                <a:gd name="T12" fmla="*/ 150 w 2517"/>
                <a:gd name="T13" fmla="*/ 766 h 3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17" h="3510">
                  <a:moveTo>
                    <a:pt x="150" y="766"/>
                  </a:moveTo>
                  <a:cubicBezTo>
                    <a:pt x="839" y="2830"/>
                    <a:pt x="839" y="2830"/>
                    <a:pt x="839" y="2830"/>
                  </a:cubicBezTo>
                  <a:cubicBezTo>
                    <a:pt x="994" y="3296"/>
                    <a:pt x="1531" y="3510"/>
                    <a:pt x="1964" y="3278"/>
                  </a:cubicBezTo>
                  <a:cubicBezTo>
                    <a:pt x="1964" y="3278"/>
                    <a:pt x="1964" y="3278"/>
                    <a:pt x="1964" y="3278"/>
                  </a:cubicBezTo>
                  <a:cubicBezTo>
                    <a:pt x="2397" y="3047"/>
                    <a:pt x="2517" y="2481"/>
                    <a:pt x="2216" y="2093"/>
                  </a:cubicBezTo>
                  <a:cubicBezTo>
                    <a:pt x="882" y="374"/>
                    <a:pt x="882" y="374"/>
                    <a:pt x="882" y="374"/>
                  </a:cubicBezTo>
                  <a:cubicBezTo>
                    <a:pt x="592" y="0"/>
                    <a:pt x="0" y="316"/>
                    <a:pt x="150" y="766"/>
                  </a:cubicBez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/>
            </a:p>
          </p:txBody>
        </p:sp>
        <p:sp>
          <p:nvSpPr>
            <p:cNvPr id="8" name="任意多边形: 形状 7"/>
            <p:cNvSpPr/>
            <p:nvPr/>
          </p:nvSpPr>
          <p:spPr bwMode="auto">
            <a:xfrm>
              <a:off x="4219575" y="3406775"/>
              <a:ext cx="3581400" cy="1704975"/>
            </a:xfrm>
            <a:custGeom>
              <a:avLst/>
              <a:gdLst>
                <a:gd name="T0" fmla="*/ 3153 w 3608"/>
                <a:gd name="T1" fmla="*/ 740 h 1717"/>
                <a:gd name="T2" fmla="*/ 1062 w 3608"/>
                <a:gd name="T3" fmla="*/ 136 h 1717"/>
                <a:gd name="T4" fmla="*/ 55 w 3608"/>
                <a:gd name="T5" fmla="*/ 809 h 1717"/>
                <a:gd name="T6" fmla="*/ 55 w 3608"/>
                <a:gd name="T7" fmla="*/ 809 h 1717"/>
                <a:gd name="T8" fmla="*/ 887 w 3608"/>
                <a:gd name="T9" fmla="*/ 1689 h 1717"/>
                <a:gd name="T10" fmla="*/ 3060 w 3608"/>
                <a:gd name="T11" fmla="*/ 1565 h 1717"/>
                <a:gd name="T12" fmla="*/ 3153 w 3608"/>
                <a:gd name="T13" fmla="*/ 740 h 17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08" h="1717">
                  <a:moveTo>
                    <a:pt x="3153" y="740"/>
                  </a:moveTo>
                  <a:cubicBezTo>
                    <a:pt x="1062" y="136"/>
                    <a:pt x="1062" y="136"/>
                    <a:pt x="1062" y="136"/>
                  </a:cubicBezTo>
                  <a:cubicBezTo>
                    <a:pt x="590" y="0"/>
                    <a:pt x="110" y="321"/>
                    <a:pt x="55" y="809"/>
                  </a:cubicBezTo>
                  <a:cubicBezTo>
                    <a:pt x="55" y="809"/>
                    <a:pt x="55" y="809"/>
                    <a:pt x="55" y="809"/>
                  </a:cubicBezTo>
                  <a:cubicBezTo>
                    <a:pt x="0" y="1297"/>
                    <a:pt x="397" y="1717"/>
                    <a:pt x="887" y="1689"/>
                  </a:cubicBezTo>
                  <a:cubicBezTo>
                    <a:pt x="3060" y="1565"/>
                    <a:pt x="3060" y="1565"/>
                    <a:pt x="3060" y="1565"/>
                  </a:cubicBezTo>
                  <a:cubicBezTo>
                    <a:pt x="3533" y="1538"/>
                    <a:pt x="3608" y="871"/>
                    <a:pt x="3153" y="740"/>
                  </a:cubicBezTo>
                  <a:close/>
                </a:path>
              </a:pathLst>
            </a:custGeom>
            <a:solidFill>
              <a:schemeClr val="bg2"/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rmAutofit/>
            </a:bodyPr>
            <a:lstStyle/>
            <a:p>
              <a:pPr algn="ctr" defTabSz="914400"/>
              <a:endParaRPr lang="zh-CN" altLang="en-US" sz="2000" b="1">
                <a:solidFill>
                  <a:schemeClr val="bg2">
                    <a:lumMod val="75000"/>
                  </a:schemeClr>
                </a:solidFill>
              </a:endParaRPr>
            </a:p>
          </p:txBody>
        </p:sp>
        <p:sp>
          <p:nvSpPr>
            <p:cNvPr id="9" name="任意多边形: 形状 8"/>
            <p:cNvSpPr/>
            <p:nvPr/>
          </p:nvSpPr>
          <p:spPr bwMode="auto">
            <a:xfrm>
              <a:off x="5840413" y="2105025"/>
              <a:ext cx="511175" cy="512763"/>
            </a:xfrm>
            <a:custGeom>
              <a:avLst/>
              <a:gdLst>
                <a:gd name="T0" fmla="*/ 507 w 515"/>
                <a:gd name="T1" fmla="*/ 273 h 515"/>
                <a:gd name="T2" fmla="*/ 243 w 515"/>
                <a:gd name="T3" fmla="*/ 507 h 515"/>
                <a:gd name="T4" fmla="*/ 8 w 515"/>
                <a:gd name="T5" fmla="*/ 243 h 515"/>
                <a:gd name="T6" fmla="*/ 273 w 515"/>
                <a:gd name="T7" fmla="*/ 8 h 515"/>
                <a:gd name="T8" fmla="*/ 507 w 515"/>
                <a:gd name="T9" fmla="*/ 273 h 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5" h="515">
                  <a:moveTo>
                    <a:pt x="507" y="273"/>
                  </a:moveTo>
                  <a:cubicBezTo>
                    <a:pt x="499" y="410"/>
                    <a:pt x="380" y="515"/>
                    <a:pt x="243" y="507"/>
                  </a:cubicBezTo>
                  <a:cubicBezTo>
                    <a:pt x="105" y="499"/>
                    <a:pt x="0" y="380"/>
                    <a:pt x="8" y="243"/>
                  </a:cubicBezTo>
                  <a:cubicBezTo>
                    <a:pt x="17" y="105"/>
                    <a:pt x="135" y="0"/>
                    <a:pt x="273" y="8"/>
                  </a:cubicBezTo>
                  <a:cubicBezTo>
                    <a:pt x="410" y="17"/>
                    <a:pt x="515" y="135"/>
                    <a:pt x="507" y="273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000" b="1" dirty="0">
                  <a:solidFill>
                    <a:schemeClr val="bg2">
                      <a:lumMod val="10000"/>
                    </a:schemeClr>
                  </a:solidFill>
                  <a:latin typeface="Arial" panose="020B0604020202090204" pitchFamily="34" charset="0"/>
                  <a:ea typeface="华文楷体" panose="02010600040101010101" pitchFamily="2" charset="-122"/>
                </a:rPr>
                <a:t>02</a:t>
              </a:r>
              <a:endParaRPr lang="zh-CN" altLang="en-US" sz="2000" b="1" dirty="0">
                <a:solidFill>
                  <a:schemeClr val="bg2">
                    <a:lumMod val="10000"/>
                  </a:schemeClr>
                </a:solidFill>
                <a:latin typeface="Arial" panose="020B0604020202090204" pitchFamily="34" charset="0"/>
                <a:ea typeface="华文楷体" panose="02010600040101010101" pitchFamily="2" charset="-122"/>
              </a:endParaRPr>
            </a:p>
          </p:txBody>
        </p:sp>
        <p:sp>
          <p:nvSpPr>
            <p:cNvPr id="10" name="任意多边形: 形状 9"/>
            <p:cNvSpPr/>
            <p:nvPr/>
          </p:nvSpPr>
          <p:spPr bwMode="auto">
            <a:xfrm>
              <a:off x="7067550" y="4291013"/>
              <a:ext cx="511175" cy="511175"/>
            </a:xfrm>
            <a:custGeom>
              <a:avLst/>
              <a:gdLst>
                <a:gd name="T0" fmla="*/ 507 w 515"/>
                <a:gd name="T1" fmla="*/ 272 h 515"/>
                <a:gd name="T2" fmla="*/ 243 w 515"/>
                <a:gd name="T3" fmla="*/ 506 h 515"/>
                <a:gd name="T4" fmla="*/ 9 w 515"/>
                <a:gd name="T5" fmla="*/ 242 h 515"/>
                <a:gd name="T6" fmla="*/ 273 w 515"/>
                <a:gd name="T7" fmla="*/ 8 h 515"/>
                <a:gd name="T8" fmla="*/ 507 w 515"/>
                <a:gd name="T9" fmla="*/ 272 h 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5" h="515">
                  <a:moveTo>
                    <a:pt x="507" y="272"/>
                  </a:moveTo>
                  <a:cubicBezTo>
                    <a:pt x="499" y="410"/>
                    <a:pt x="381" y="515"/>
                    <a:pt x="243" y="506"/>
                  </a:cubicBezTo>
                  <a:cubicBezTo>
                    <a:pt x="105" y="498"/>
                    <a:pt x="0" y="380"/>
                    <a:pt x="9" y="242"/>
                  </a:cubicBezTo>
                  <a:cubicBezTo>
                    <a:pt x="17" y="104"/>
                    <a:pt x="135" y="0"/>
                    <a:pt x="273" y="8"/>
                  </a:cubicBezTo>
                  <a:cubicBezTo>
                    <a:pt x="411" y="16"/>
                    <a:pt x="515" y="134"/>
                    <a:pt x="507" y="272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000" b="1" dirty="0">
                  <a:solidFill>
                    <a:schemeClr val="bg2">
                      <a:lumMod val="10000"/>
                    </a:schemeClr>
                  </a:solidFill>
                  <a:latin typeface="Arial" panose="020B0604020202090204" pitchFamily="34" charset="0"/>
                  <a:ea typeface="华文楷体" panose="02010600040101010101" pitchFamily="2" charset="-122"/>
                </a:rPr>
                <a:t>03</a:t>
              </a:r>
              <a:endParaRPr lang="zh-CN" altLang="en-US" sz="2000" b="1" dirty="0">
                <a:solidFill>
                  <a:schemeClr val="bg2">
                    <a:lumMod val="10000"/>
                  </a:schemeClr>
                </a:solidFill>
                <a:latin typeface="Arial" panose="020B0604020202090204" pitchFamily="34" charset="0"/>
                <a:ea typeface="华文楷体" panose="02010600040101010101" pitchFamily="2" charset="-122"/>
              </a:endParaRPr>
            </a:p>
          </p:txBody>
        </p:sp>
        <p:sp>
          <p:nvSpPr>
            <p:cNvPr id="11" name="任意多边形: 形状 10"/>
            <p:cNvSpPr/>
            <p:nvPr/>
          </p:nvSpPr>
          <p:spPr bwMode="auto">
            <a:xfrm>
              <a:off x="4224338" y="3490913"/>
              <a:ext cx="1835150" cy="1482725"/>
            </a:xfrm>
            <a:custGeom>
              <a:avLst/>
              <a:gdLst>
                <a:gd name="T0" fmla="*/ 1850 w 1850"/>
                <a:gd name="T1" fmla="*/ 281 h 1494"/>
                <a:gd name="T2" fmla="*/ 1058 w 1850"/>
                <a:gd name="T3" fmla="*/ 52 h 1494"/>
                <a:gd name="T4" fmla="*/ 533 w 1850"/>
                <a:gd name="T5" fmla="*/ 82 h 1494"/>
                <a:gd name="T6" fmla="*/ 223 w 1850"/>
                <a:gd name="T7" fmla="*/ 665 h 1494"/>
                <a:gd name="T8" fmla="*/ 880 w 1850"/>
                <a:gd name="T9" fmla="*/ 1173 h 1494"/>
                <a:gd name="T10" fmla="*/ 1850 w 1850"/>
                <a:gd name="T11" fmla="*/ 281 h 1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50" h="1494">
                  <a:moveTo>
                    <a:pt x="1850" y="281"/>
                  </a:moveTo>
                  <a:cubicBezTo>
                    <a:pt x="1058" y="52"/>
                    <a:pt x="1058" y="52"/>
                    <a:pt x="1058" y="52"/>
                  </a:cubicBezTo>
                  <a:cubicBezTo>
                    <a:pt x="876" y="0"/>
                    <a:pt x="693" y="15"/>
                    <a:pt x="533" y="82"/>
                  </a:cubicBezTo>
                  <a:cubicBezTo>
                    <a:pt x="223" y="665"/>
                    <a:pt x="223" y="665"/>
                    <a:pt x="223" y="665"/>
                  </a:cubicBezTo>
                  <a:cubicBezTo>
                    <a:pt x="0" y="1084"/>
                    <a:pt x="531" y="1494"/>
                    <a:pt x="880" y="1173"/>
                  </a:cubicBezTo>
                  <a:lnTo>
                    <a:pt x="1850" y="28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" name="任意多边形: 形状 11"/>
            <p:cNvSpPr/>
            <p:nvPr/>
          </p:nvSpPr>
          <p:spPr bwMode="auto">
            <a:xfrm>
              <a:off x="4529138" y="4113213"/>
              <a:ext cx="511175" cy="512763"/>
            </a:xfrm>
            <a:custGeom>
              <a:avLst/>
              <a:gdLst>
                <a:gd name="T0" fmla="*/ 507 w 515"/>
                <a:gd name="T1" fmla="*/ 273 h 516"/>
                <a:gd name="T2" fmla="*/ 243 w 515"/>
                <a:gd name="T3" fmla="*/ 507 h 516"/>
                <a:gd name="T4" fmla="*/ 8 w 515"/>
                <a:gd name="T5" fmla="*/ 243 h 516"/>
                <a:gd name="T6" fmla="*/ 273 w 515"/>
                <a:gd name="T7" fmla="*/ 9 h 516"/>
                <a:gd name="T8" fmla="*/ 507 w 515"/>
                <a:gd name="T9" fmla="*/ 273 h 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5" h="516">
                  <a:moveTo>
                    <a:pt x="507" y="273"/>
                  </a:moveTo>
                  <a:cubicBezTo>
                    <a:pt x="499" y="411"/>
                    <a:pt x="380" y="516"/>
                    <a:pt x="243" y="507"/>
                  </a:cubicBezTo>
                  <a:cubicBezTo>
                    <a:pt x="105" y="499"/>
                    <a:pt x="0" y="381"/>
                    <a:pt x="8" y="243"/>
                  </a:cubicBezTo>
                  <a:cubicBezTo>
                    <a:pt x="17" y="105"/>
                    <a:pt x="135" y="0"/>
                    <a:pt x="273" y="9"/>
                  </a:cubicBezTo>
                  <a:cubicBezTo>
                    <a:pt x="410" y="17"/>
                    <a:pt x="515" y="135"/>
                    <a:pt x="507" y="273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000" b="1" dirty="0">
                  <a:solidFill>
                    <a:schemeClr val="bg2">
                      <a:lumMod val="10000"/>
                    </a:schemeClr>
                  </a:solidFill>
                  <a:latin typeface="Arial" panose="020B0604020202090204" pitchFamily="34" charset="0"/>
                  <a:ea typeface="华文楷体" panose="02010600040101010101" pitchFamily="2" charset="-122"/>
                </a:rPr>
                <a:t>01</a:t>
              </a:r>
              <a:endParaRPr lang="zh-CN" altLang="en-US" sz="2000" b="1" dirty="0">
                <a:solidFill>
                  <a:schemeClr val="bg2">
                    <a:lumMod val="10000"/>
                  </a:schemeClr>
                </a:solidFill>
                <a:latin typeface="Arial" panose="020B0604020202090204" pitchFamily="34" charset="0"/>
                <a:ea typeface="华文楷体" panose="02010600040101010101" pitchFamily="2" charset="-122"/>
              </a:endParaRPr>
            </a:p>
          </p:txBody>
        </p:sp>
        <p:sp>
          <p:nvSpPr>
            <p:cNvPr id="13" name="任意多边形: 形状 12"/>
            <p:cNvSpPr/>
            <p:nvPr/>
          </p:nvSpPr>
          <p:spPr bwMode="auto">
            <a:xfrm>
              <a:off x="4708525" y="3452813"/>
              <a:ext cx="1377950" cy="342900"/>
            </a:xfrm>
            <a:custGeom>
              <a:avLst/>
              <a:gdLst>
                <a:gd name="T0" fmla="*/ 68 w 868"/>
                <a:gd name="T1" fmla="*/ 0 h 216"/>
                <a:gd name="T2" fmla="*/ 0 w 868"/>
                <a:gd name="T3" fmla="*/ 127 h 216"/>
                <a:gd name="T4" fmla="*/ 833 w 868"/>
                <a:gd name="T5" fmla="*/ 216 h 216"/>
                <a:gd name="T6" fmla="*/ 868 w 868"/>
                <a:gd name="T7" fmla="*/ 185 h 216"/>
                <a:gd name="T8" fmla="*/ 611 w 868"/>
                <a:gd name="T9" fmla="*/ 4 h 216"/>
                <a:gd name="T10" fmla="*/ 68 w 868"/>
                <a:gd name="T11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8" h="216">
                  <a:moveTo>
                    <a:pt x="68" y="0"/>
                  </a:moveTo>
                  <a:lnTo>
                    <a:pt x="0" y="127"/>
                  </a:lnTo>
                  <a:lnTo>
                    <a:pt x="833" y="216"/>
                  </a:lnTo>
                  <a:lnTo>
                    <a:pt x="868" y="185"/>
                  </a:lnTo>
                  <a:lnTo>
                    <a:pt x="611" y="4"/>
                  </a:lnTo>
                  <a:lnTo>
                    <a:pt x="68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" name="椭圆 13"/>
            <p:cNvSpPr/>
            <p:nvPr/>
          </p:nvSpPr>
          <p:spPr>
            <a:xfrm>
              <a:off x="5424480" y="2999841"/>
              <a:ext cx="1332447" cy="1332447"/>
            </a:xfrm>
            <a:prstGeom prst="ellipse">
              <a:avLst/>
            </a:prstGeom>
            <a:solidFill>
              <a:srgbClr val="FFFFFF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000" b="1" dirty="0">
                  <a:solidFill>
                    <a:schemeClr val="bg2">
                      <a:lumMod val="10000"/>
                    </a:schemeClr>
                  </a:solidFill>
                  <a:latin typeface="Arial" panose="020B0604020202090204" pitchFamily="34" charset="0"/>
                  <a:ea typeface="华文楷体" panose="02010600040101010101" pitchFamily="2" charset="-122"/>
                </a:rPr>
                <a:t>Text   here</a:t>
              </a:r>
              <a:endParaRPr lang="zh-CN" altLang="en-US" sz="2000" b="1" dirty="0">
                <a:solidFill>
                  <a:schemeClr val="bg2">
                    <a:lumMod val="10000"/>
                  </a:schemeClr>
                </a:solidFill>
                <a:latin typeface="Arial" panose="020B0604020202090204" pitchFamily="34" charset="0"/>
                <a:ea typeface="华文楷体" panose="02010600040101010101" pitchFamily="2" charset="-122"/>
              </a:endParaRPr>
            </a:p>
          </p:txBody>
        </p:sp>
        <p:sp>
          <p:nvSpPr>
            <p:cNvPr id="15" name="文本框 14"/>
            <p:cNvSpPr txBox="1"/>
            <p:nvPr/>
          </p:nvSpPr>
          <p:spPr>
            <a:xfrm>
              <a:off x="1364184" y="4555560"/>
              <a:ext cx="2876555" cy="475615"/>
            </a:xfrm>
            <a:prstGeom prst="rect">
              <a:avLst/>
            </a:prstGeom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>
                <a:lnSpc>
                  <a:spcPts val="1500"/>
                </a:lnSpc>
                <a:defRPr sz="900"/>
              </a:lvl1pPr>
            </a:lstStyle>
            <a:p>
              <a:pPr algn="r"/>
              <a:r>
                <a:rPr lang="en-US" altLang="zh-CN" dirty="0">
                  <a:solidFill>
                    <a:schemeClr val="accent1"/>
                  </a:solidFill>
                  <a:latin typeface="Arial" panose="020B0604020202090204" pitchFamily="34" charset="0"/>
                  <a:ea typeface="华文楷体" panose="02010600040101010101" pitchFamily="2" charset="-122"/>
                  <a:sym typeface="+mn-ea"/>
                </a:rPr>
                <a:t>Code Splitting 允许将代码分成多个包，在需要时按需加载，可以显著减少初始加载时间</a:t>
              </a:r>
              <a:endParaRPr lang="en-US" altLang="zh-CN" dirty="0">
                <a:solidFill>
                  <a:schemeClr val="accent1"/>
                </a:solidFill>
                <a:latin typeface="Arial" panose="020B0604020202090204" pitchFamily="34" charset="0"/>
                <a:ea typeface="华文楷体" panose="02010600040101010101" pitchFamily="2" charset="-122"/>
              </a:endParaRPr>
            </a:p>
          </p:txBody>
        </p:sp>
        <p:sp>
          <p:nvSpPr>
            <p:cNvPr id="16" name="文本框 15"/>
            <p:cNvSpPr txBox="1"/>
            <p:nvPr/>
          </p:nvSpPr>
          <p:spPr>
            <a:xfrm>
              <a:off x="1835995" y="4235451"/>
              <a:ext cx="2404744" cy="3067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zh-CN" altLang="en-US" sz="1400" b="1" dirty="0">
                  <a:solidFill>
                    <a:schemeClr val="accent1"/>
                  </a:solidFill>
                  <a:latin typeface="Arial" panose="020B0604020202090204" pitchFamily="34" charset="0"/>
                  <a:ea typeface="华文楷体" panose="02010600040101010101" pitchFamily="2" charset="-122"/>
                </a:rPr>
                <a:t>代码分割</a:t>
              </a:r>
              <a:endParaRPr lang="zh-CN" altLang="en-US" sz="1400" b="1" dirty="0">
                <a:solidFill>
                  <a:schemeClr val="accent1"/>
                </a:solidFill>
                <a:latin typeface="Arial" panose="020B0604020202090204" pitchFamily="34" charset="0"/>
                <a:ea typeface="华文楷体" panose="02010600040101010101" pitchFamily="2" charset="-122"/>
              </a:endParaRPr>
            </a:p>
          </p:txBody>
        </p:sp>
        <p:sp>
          <p:nvSpPr>
            <p:cNvPr id="17" name="文本框 16"/>
            <p:cNvSpPr txBox="1"/>
            <p:nvPr/>
          </p:nvSpPr>
          <p:spPr>
            <a:xfrm>
              <a:off x="7951261" y="4432220"/>
              <a:ext cx="2876555" cy="860425"/>
            </a:xfrm>
            <a:prstGeom prst="rect">
              <a:avLst/>
            </a:prstGeom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>
                <a:lnSpc>
                  <a:spcPts val="1500"/>
                </a:lnSpc>
                <a:defRPr sz="900"/>
              </a:lvl1pPr>
            </a:lstStyle>
            <a:p>
              <a:r>
                <a:rPr lang="en-US" altLang="zh-CN" dirty="0">
                  <a:latin typeface="Arial" panose="020B0604020202090204" pitchFamily="34" charset="0"/>
                  <a:ea typeface="华文楷体" panose="02010600040101010101" pitchFamily="2" charset="-122"/>
                </a:rPr>
                <a:t>通过 </a:t>
              </a:r>
              <a:r>
                <a:rPr lang="en-US" altLang="zh-CN" dirty="0">
                  <a:latin typeface="Arial" panose="020B0604020202090204" pitchFamily="34" charset="0"/>
                  <a:ea typeface="华文楷体" panose="02010600040101010101" pitchFamily="2" charset="-122"/>
                  <a:sym typeface="+mn-ea"/>
                </a:rPr>
                <a:t>babel-plugin-import 等工具实现对 Lodash 等库的按需引入，从而减少打包体积</a:t>
              </a:r>
              <a:endParaRPr lang="en-US" altLang="zh-CN" dirty="0">
                <a:latin typeface="Arial" panose="020B0604020202090204" pitchFamily="34" charset="0"/>
                <a:ea typeface="华文楷体" panose="02010600040101010101" pitchFamily="2" charset="-122"/>
                <a:sym typeface="+mn-ea"/>
              </a:endParaRPr>
            </a:p>
            <a:p>
              <a:r>
                <a:rPr lang="en-US" altLang="zh-CN" dirty="0">
                  <a:latin typeface="Arial" panose="020B0604020202090204" pitchFamily="34" charset="0"/>
                  <a:ea typeface="华文楷体" panose="02010600040101010101" pitchFamily="2" charset="-122"/>
                  <a:sym typeface="+mn-ea"/>
                </a:rPr>
                <a:t>当本地化文件只需要支持一种语言时，通过使用</a:t>
              </a:r>
              <a:r>
                <a:rPr lang="en-US" altLang="zh-CN" dirty="0">
                  <a:latin typeface="Arial" panose="020B0604020202090204" pitchFamily="34" charset="0"/>
                  <a:ea typeface="华文楷体" panose="02010600040101010101" pitchFamily="2" charset="-122"/>
                  <a:sym typeface="+mn-ea"/>
                </a:rPr>
                <a:t> IgnorePlugin 等工具，可以显著减少打包体积</a:t>
              </a:r>
              <a:endParaRPr lang="en-US" altLang="zh-CN" dirty="0">
                <a:latin typeface="Arial" panose="020B0604020202090204" pitchFamily="34" charset="0"/>
                <a:ea typeface="华文楷体" panose="02010600040101010101" pitchFamily="2" charset="-122"/>
                <a:sym typeface="+mn-ea"/>
              </a:endParaRPr>
            </a:p>
          </p:txBody>
        </p:sp>
        <p:sp>
          <p:nvSpPr>
            <p:cNvPr id="18" name="文本框 17"/>
            <p:cNvSpPr txBox="1"/>
            <p:nvPr/>
          </p:nvSpPr>
          <p:spPr>
            <a:xfrm>
              <a:off x="7951262" y="4112111"/>
              <a:ext cx="2404744" cy="3067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 b="1" dirty="0">
                  <a:latin typeface="Arial" panose="020B0604020202090204" pitchFamily="34" charset="0"/>
                  <a:ea typeface="华文楷体" panose="02010600040101010101" pitchFamily="2" charset="-122"/>
                </a:rPr>
                <a:t>按需</a:t>
              </a:r>
              <a:r>
                <a:rPr lang="zh-CN" altLang="en-US" sz="1400" b="1" dirty="0">
                  <a:latin typeface="Arial" panose="020B0604020202090204" pitchFamily="34" charset="0"/>
                  <a:ea typeface="华文楷体" panose="02010600040101010101" pitchFamily="2" charset="-122"/>
                </a:rPr>
                <a:t>引入</a:t>
              </a:r>
              <a:endParaRPr lang="zh-CN" altLang="en-US" sz="1400" b="1" dirty="0">
                <a:latin typeface="Arial" panose="020B0604020202090204" pitchFamily="34" charset="0"/>
                <a:ea typeface="华文楷体" panose="02010600040101010101" pitchFamily="2" charset="-122"/>
              </a:endParaRPr>
            </a:p>
          </p:txBody>
        </p:sp>
        <p:sp>
          <p:nvSpPr>
            <p:cNvPr id="19" name="文本框 18"/>
            <p:cNvSpPr txBox="1"/>
            <p:nvPr/>
          </p:nvSpPr>
          <p:spPr>
            <a:xfrm>
              <a:off x="7065962" y="2302440"/>
              <a:ext cx="2876555" cy="668020"/>
            </a:xfrm>
            <a:prstGeom prst="rect">
              <a:avLst/>
            </a:prstGeom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>
                <a:lnSpc>
                  <a:spcPts val="1500"/>
                </a:lnSpc>
                <a:defRPr sz="900"/>
              </a:lvl1pPr>
            </a:lstStyle>
            <a:p>
              <a:r>
                <a:rPr lang="zh-CN" altLang="en-US" dirty="0">
                  <a:latin typeface="Arial" panose="020B0604020202090204" pitchFamily="34" charset="0"/>
                  <a:ea typeface="华文楷体" panose="02010600040101010101" pitchFamily="2" charset="-122"/>
                </a:rPr>
                <a:t>通过</a:t>
              </a:r>
              <a:r>
                <a:rPr lang="en-US" altLang="zh-CN" dirty="0">
                  <a:latin typeface="Arial" panose="020B0604020202090204" pitchFamily="34" charset="0"/>
                  <a:ea typeface="华文楷体" panose="02010600040101010101" pitchFamily="2" charset="-122"/>
                </a:rPr>
                <a:t> TreeShaking </a:t>
              </a:r>
              <a:r>
                <a:rPr lang="zh-CN" altLang="en-US" dirty="0">
                  <a:latin typeface="Arial" panose="020B0604020202090204" pitchFamily="34" charset="0"/>
                  <a:ea typeface="华文楷体" panose="02010600040101010101" pitchFamily="2" charset="-122"/>
                </a:rPr>
                <a:t>消除无用</a:t>
              </a:r>
              <a:r>
                <a:rPr lang="en-US" altLang="zh-CN" dirty="0">
                  <a:latin typeface="Arial" panose="020B0604020202090204" pitchFamily="34" charset="0"/>
                  <a:ea typeface="华文楷体" panose="02010600040101010101" pitchFamily="2" charset="-122"/>
                </a:rPr>
                <a:t>代码，减少代码体积</a:t>
              </a:r>
              <a:endParaRPr lang="en-US" altLang="zh-CN" dirty="0">
                <a:latin typeface="Arial" panose="020B0604020202090204" pitchFamily="34" charset="0"/>
                <a:ea typeface="华文楷体" panose="02010600040101010101" pitchFamily="2" charset="-122"/>
              </a:endParaRPr>
            </a:p>
            <a:p>
              <a:r>
                <a:rPr lang="en-US" altLang="zh-CN" dirty="0">
                  <a:latin typeface="Arial" panose="020B0604020202090204" pitchFamily="34" charset="0"/>
                  <a:ea typeface="华文楷体" panose="02010600040101010101" pitchFamily="2" charset="-122"/>
                </a:rPr>
                <a:t>通过 </a:t>
              </a:r>
              <a:r>
                <a:rPr lang="en-US" altLang="zh-CN" dirty="0">
                  <a:latin typeface="Arial" panose="020B0604020202090204" pitchFamily="34" charset="0"/>
                  <a:ea typeface="华文楷体" panose="02010600040101010101" pitchFamily="2" charset="-122"/>
                  <a:sym typeface="+mn-ea"/>
                </a:rPr>
                <a:t>babel-plugin-transform-runtime 插件提取代码编译的公共函数，减少文件大小</a:t>
              </a:r>
              <a:endParaRPr lang="en-US" altLang="zh-CN" dirty="0">
                <a:latin typeface="Arial" panose="020B0604020202090204" pitchFamily="34" charset="0"/>
                <a:ea typeface="华文楷体" panose="02010600040101010101" pitchFamily="2" charset="-122"/>
                <a:sym typeface="+mn-ea"/>
              </a:endParaRPr>
            </a:p>
          </p:txBody>
        </p:sp>
        <p:sp>
          <p:nvSpPr>
            <p:cNvPr id="20" name="文本框 19"/>
            <p:cNvSpPr txBox="1"/>
            <p:nvPr/>
          </p:nvSpPr>
          <p:spPr>
            <a:xfrm>
              <a:off x="7065963" y="1982331"/>
              <a:ext cx="2404744" cy="3067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 b="1" dirty="0">
                  <a:latin typeface="Arial" panose="020B0604020202090204" pitchFamily="34" charset="0"/>
                  <a:ea typeface="华文楷体" panose="02010600040101010101" pitchFamily="2" charset="-122"/>
                </a:rPr>
                <a:t>减少</a:t>
              </a:r>
              <a:r>
                <a:rPr lang="zh-CN" altLang="en-US" sz="1400" b="1" dirty="0">
                  <a:latin typeface="Arial" panose="020B0604020202090204" pitchFamily="34" charset="0"/>
                  <a:ea typeface="华文楷体" panose="02010600040101010101" pitchFamily="2" charset="-122"/>
                </a:rPr>
                <a:t>冗余代码</a:t>
              </a:r>
              <a:endParaRPr lang="zh-CN" altLang="en-US" sz="1400" b="1" dirty="0">
                <a:latin typeface="Arial" panose="020B0604020202090204" pitchFamily="34" charset="0"/>
                <a:ea typeface="华文楷体" panose="02010600040101010101" pitchFamily="2" charset="-122"/>
              </a:endParaRPr>
            </a:p>
          </p:txBody>
        </p:sp>
      </p:grpSp>
    </p:spTree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精确拆解：</a:t>
            </a:r>
            <a:r>
              <a:rPr 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可解释性局部解释之特征重要性</a:t>
            </a:r>
            <a:endParaRPr lang="en-US" altLang="zh-CN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938530" y="112522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en-US" altLang="zh-CN" sz="1800" dirty="0" smtClean="0"/>
              <a:t>SHAP</a:t>
            </a:r>
            <a:r>
              <a:rPr lang="zh-CN" altLang="en-US" sz="1800" dirty="0" smtClean="0"/>
              <a:t>示例</a:t>
            </a:r>
            <a:endParaRPr lang="zh-CN" altLang="en-US" sz="1800" dirty="0" smtClean="0"/>
          </a:p>
        </p:txBody>
      </p:sp>
      <p:grpSp>
        <p:nvGrpSpPr>
          <p:cNvPr id="7" name="组合 6"/>
          <p:cNvGrpSpPr/>
          <p:nvPr/>
        </p:nvGrpSpPr>
        <p:grpSpPr>
          <a:xfrm>
            <a:off x="450215" y="1061720"/>
            <a:ext cx="389255" cy="427990"/>
            <a:chOff x="450391" y="1977754"/>
            <a:chExt cx="465233" cy="511985"/>
          </a:xfrm>
        </p:grpSpPr>
        <p:sp>
          <p:nvSpPr>
            <p:cNvPr id="11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4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6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9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0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1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9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2" name="文本框 1"/>
          <p:cNvSpPr txBox="1"/>
          <p:nvPr/>
        </p:nvSpPr>
        <p:spPr>
          <a:xfrm>
            <a:off x="2588260" y="1489710"/>
            <a:ext cx="6096000" cy="1630045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p>
            <a:pPr marL="106045" indent="0">
              <a:buNone/>
            </a:pPr>
            <a:r>
              <a:rPr lang="zh-CN" altLang="en-US" sz="1000" dirty="0" smtClean="0"/>
              <a:t>from sklearn.tree import DecisionTreeClassifier</a:t>
            </a:r>
            <a:endParaRPr lang="zh-CN" altLang="en-US" sz="1000" dirty="0" smtClean="0"/>
          </a:p>
          <a:p>
            <a:pPr marL="106045" indent="0">
              <a:buNone/>
            </a:pPr>
            <a:r>
              <a:rPr lang="zh-CN" altLang="en-US" sz="1000" dirty="0" smtClean="0"/>
              <a:t>from sklearn.model_selection import train_test_split</a:t>
            </a:r>
            <a:endParaRPr lang="zh-CN" altLang="en-US" sz="1000" dirty="0" smtClean="0"/>
          </a:p>
          <a:p>
            <a:pPr marL="106045" indent="0">
              <a:buNone/>
            </a:pPr>
            <a:r>
              <a:rPr lang="zh-CN" altLang="en-US" sz="1000" dirty="0" smtClean="0"/>
              <a:t>Xtrain,Xtest,ytrain,ytest=train_test_split(X,y,test_size=0.2,random_state=2024)</a:t>
            </a:r>
            <a:endParaRPr lang="zh-CN" altLang="en-US" sz="1000" dirty="0" smtClean="0"/>
          </a:p>
          <a:p>
            <a:pPr marL="106045" indent="0">
              <a:buNone/>
            </a:pPr>
            <a:r>
              <a:rPr lang="zh-CN" altLang="en-US" sz="1000" dirty="0" smtClean="0"/>
              <a:t>clf=DecisionTreeClassifier(criterion='gini',max_depth=3)</a:t>
            </a:r>
            <a:endParaRPr lang="zh-CN" altLang="en-US" sz="1000" dirty="0" smtClean="0"/>
          </a:p>
          <a:p>
            <a:pPr marL="106045" indent="0">
              <a:buNone/>
            </a:pPr>
            <a:r>
              <a:rPr lang="zh-CN" altLang="en-US" sz="1000" dirty="0" smtClean="0"/>
              <a:t>clff.fit(Xtrain,ytrain)</a:t>
            </a:r>
            <a:endParaRPr lang="zh-CN" altLang="en-US" sz="1000" dirty="0" smtClean="0"/>
          </a:p>
          <a:p>
            <a:pPr marL="106045" indent="0">
              <a:buNone/>
            </a:pPr>
            <a:endParaRPr lang="zh-CN" altLang="en-US" sz="1000" dirty="0" smtClean="0"/>
          </a:p>
          <a:p>
            <a:pPr marL="106045" indent="0">
              <a:buNone/>
            </a:pPr>
            <a:r>
              <a:rPr lang="zh-CN" altLang="en-US" sz="1000" dirty="0" smtClean="0"/>
              <a:t>import shap</a:t>
            </a:r>
            <a:endParaRPr lang="zh-CN" altLang="en-US" sz="1000" dirty="0" smtClean="0"/>
          </a:p>
          <a:p>
            <a:pPr marL="106045" indent="0">
              <a:buNone/>
            </a:pPr>
            <a:r>
              <a:rPr lang="zh-CN" altLang="en-US" sz="1000" dirty="0" smtClean="0"/>
              <a:t>explainer=shap.TreeExplainer(clf)</a:t>
            </a:r>
            <a:endParaRPr lang="zh-CN" altLang="en-US" sz="1000" dirty="0" smtClean="0"/>
          </a:p>
          <a:p>
            <a:pPr marL="106045" indent="0">
              <a:buNone/>
            </a:pPr>
            <a:r>
              <a:rPr lang="zh-CN" altLang="en-US" sz="1000" dirty="0" smtClean="0"/>
              <a:t>shapvalue=explainer.shap_values(Xtest)</a:t>
            </a:r>
            <a:endParaRPr lang="zh-CN" altLang="en-US" sz="1000" dirty="0" smtClean="0"/>
          </a:p>
          <a:p>
            <a:pPr marL="106045" indent="0">
              <a:buNone/>
            </a:pPr>
            <a:r>
              <a:rPr lang="zh-CN" altLang="en-US" sz="1000" dirty="0" smtClean="0"/>
              <a:t>shap.summary_plot(shapvalue,Xtest,plot_type='bar')</a:t>
            </a:r>
            <a:endParaRPr lang="zh-CN" altLang="en-US" sz="1000" dirty="0" smtClean="0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730500" y="3502660"/>
            <a:ext cx="6147435" cy="2403475"/>
          </a:xfrm>
          <a:prstGeom prst="rect">
            <a:avLst/>
          </a:prstGeom>
        </p:spPr>
      </p:pic>
    </p:spTree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精确拆解：</a:t>
            </a:r>
            <a:r>
              <a:rPr 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可解释性之模型可解释性</a:t>
            </a:r>
            <a:endParaRPr lang="en-US" altLang="zh-CN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938530" y="1125220"/>
            <a:ext cx="5232400" cy="364490"/>
          </a:xfrm>
          <a:prstGeom prst="rect">
            <a:avLst/>
          </a:prstGeom>
        </p:spPr>
        <p:txBody>
          <a:bodyPr vert="horz" wrap="square" lIns="91440" tIns="45720" rIns="91440" bIns="45720" rtlCol="0"/>
          <a:p>
            <a:pPr marL="106045" indent="0">
              <a:buNone/>
            </a:pPr>
            <a:r>
              <a:rPr lang="zh-CN" altLang="en-US" dirty="0" smtClean="0"/>
              <a:t>树模型输出（树模型）</a:t>
            </a:r>
            <a:r>
              <a:rPr lang="en-US" altLang="zh-CN" dirty="0" smtClean="0"/>
              <a:t>——</a:t>
            </a:r>
            <a:r>
              <a:rPr lang="zh-CN" altLang="en-US" dirty="0" smtClean="0">
                <a:sym typeface="+mn-ea"/>
              </a:rPr>
              <a:t>export_graphviz</a:t>
            </a:r>
            <a:endParaRPr lang="zh-CN" altLang="en-US" dirty="0" smtClean="0">
              <a:sym typeface="+mn-ea"/>
            </a:endParaRPr>
          </a:p>
        </p:txBody>
      </p:sp>
      <p:grpSp>
        <p:nvGrpSpPr>
          <p:cNvPr id="7" name="组合 6"/>
          <p:cNvGrpSpPr/>
          <p:nvPr/>
        </p:nvGrpSpPr>
        <p:grpSpPr>
          <a:xfrm>
            <a:off x="450215" y="1061720"/>
            <a:ext cx="389255" cy="427990"/>
            <a:chOff x="450391" y="1977754"/>
            <a:chExt cx="465233" cy="511985"/>
          </a:xfrm>
        </p:grpSpPr>
        <p:sp>
          <p:nvSpPr>
            <p:cNvPr id="11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4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6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9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0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1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9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2" name="文本框 1"/>
          <p:cNvSpPr txBox="1"/>
          <p:nvPr/>
        </p:nvSpPr>
        <p:spPr>
          <a:xfrm>
            <a:off x="1101725" y="1546860"/>
            <a:ext cx="6096000" cy="521970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p>
            <a:pPr marL="106045" indent="0">
              <a:buFont typeface="Arial" panose="020B0604020202090204" pitchFamily="34" charset="0"/>
              <a:buNone/>
            </a:pPr>
            <a:r>
              <a:rPr lang="zh-CN" altLang="en-US" sz="1400" dirty="0" smtClean="0"/>
              <a:t>from sklearn import tree</a:t>
            </a:r>
            <a:endParaRPr lang="zh-CN" altLang="en-US" sz="1400" dirty="0" smtClean="0"/>
          </a:p>
          <a:p>
            <a:pPr marL="106045" indent="0">
              <a:buFont typeface="Arial" panose="020B0604020202090204" pitchFamily="34" charset="0"/>
              <a:buNone/>
            </a:pPr>
            <a:r>
              <a:rPr lang="zh-CN" altLang="en-US" sz="1400" dirty="0" smtClean="0"/>
              <a:t>tree.export_graphviz</a:t>
            </a:r>
            <a:r>
              <a:rPr lang="en-US" altLang="zh-CN" sz="1400" dirty="0" smtClean="0"/>
              <a:t>(GBDT.estimators_[i,j])</a:t>
            </a:r>
            <a:endParaRPr lang="en-US" altLang="zh-CN" sz="1400" dirty="0" smtClean="0"/>
          </a:p>
        </p:txBody>
      </p:sp>
      <p:pic>
        <p:nvPicPr>
          <p:cNvPr id="17" name="图片 16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470660" y="2082165"/>
            <a:ext cx="9250680" cy="451929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精确拆解：</a:t>
            </a:r>
            <a:r>
              <a:rPr 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可解释性之</a:t>
            </a: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预测可解释性</a:t>
            </a:r>
            <a:endParaRPr lang="zh-CN" altLang="en-US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938530" y="112522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sz="1800" dirty="0" smtClean="0"/>
              <a:t>模型简化</a:t>
            </a:r>
            <a:endParaRPr lang="zh-CN" sz="1800" dirty="0" smtClean="0"/>
          </a:p>
        </p:txBody>
      </p:sp>
      <p:grpSp>
        <p:nvGrpSpPr>
          <p:cNvPr id="7" name="组合 6"/>
          <p:cNvGrpSpPr/>
          <p:nvPr/>
        </p:nvGrpSpPr>
        <p:grpSpPr>
          <a:xfrm>
            <a:off x="450215" y="1061720"/>
            <a:ext cx="389255" cy="427990"/>
            <a:chOff x="450391" y="1977754"/>
            <a:chExt cx="465233" cy="511985"/>
          </a:xfrm>
        </p:grpSpPr>
        <p:sp>
          <p:nvSpPr>
            <p:cNvPr id="11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4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6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9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0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1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9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2" name="文本框 1"/>
          <p:cNvSpPr txBox="1"/>
          <p:nvPr/>
        </p:nvSpPr>
        <p:spPr>
          <a:xfrm>
            <a:off x="938530" y="1556385"/>
            <a:ext cx="927862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fontScale="90000"/>
          </a:bodyPr>
          <a:p>
            <a:pPr marL="106045" indent="0">
              <a:buFont typeface="Arial" panose="020B0604020202090204" pitchFamily="34" charset="0"/>
              <a:buNone/>
            </a:pPr>
            <a:r>
              <a:rPr lang="zh-CN" sz="1800" dirty="0" smtClean="0"/>
              <a:t>用易理解的模型代替负责模型，如逻辑回归代理神经网络，线性回归代替树模型</a:t>
            </a:r>
            <a:endParaRPr lang="en-US" altLang="zh-CN" sz="1800" dirty="0" smtClean="0"/>
          </a:p>
        </p:txBody>
      </p:sp>
      <p:sp>
        <p:nvSpPr>
          <p:cNvPr id="3" name="文本框 2"/>
          <p:cNvSpPr txBox="1"/>
          <p:nvPr/>
        </p:nvSpPr>
        <p:spPr>
          <a:xfrm>
            <a:off x="938530" y="350393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391795" indent="-285750">
              <a:buFont typeface="Arial" panose="020B0604020202090204" pitchFamily="34" charset="0"/>
              <a:buChar char="•"/>
            </a:pPr>
            <a:r>
              <a:rPr lang="zh-CN" sz="1800" dirty="0" smtClean="0"/>
              <a:t>逻辑回归</a:t>
            </a:r>
            <a:endParaRPr lang="zh-CN" sz="1800" dirty="0" smtClean="0"/>
          </a:p>
        </p:txBody>
      </p:sp>
      <p:sp>
        <p:nvSpPr>
          <p:cNvPr id="8" name="文本框 7"/>
          <p:cNvSpPr txBox="1"/>
          <p:nvPr/>
        </p:nvSpPr>
        <p:spPr>
          <a:xfrm>
            <a:off x="938530" y="207391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391795" indent="-285750">
              <a:buFont typeface="Arial" panose="020B0604020202090204" pitchFamily="34" charset="0"/>
              <a:buChar char="•"/>
            </a:pPr>
            <a:r>
              <a:rPr lang="zh-CN" sz="1800" dirty="0" smtClean="0"/>
              <a:t>线性回归</a:t>
            </a:r>
            <a:endParaRPr lang="zh-CN" sz="1800" dirty="0" smtClean="0"/>
          </a:p>
        </p:txBody>
      </p:sp>
      <p:graphicFrame>
        <p:nvGraphicFramePr>
          <p:cNvPr id="13" name="对象 12">
            <a:hlinkClick r:id="" action="ppaction://ole?verb="/>
          </p:cNvPr>
          <p:cNvGraphicFramePr>
            <a:graphicFrameLocks noChangeAspect="1"/>
          </p:cNvGraphicFramePr>
          <p:nvPr/>
        </p:nvGraphicFramePr>
        <p:xfrm>
          <a:off x="4591685" y="3951605"/>
          <a:ext cx="1624330" cy="6896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" r:id="rId1" imgW="838200" imgH="355600" progId="Equation.KSEE3">
                  <p:embed/>
                </p:oleObj>
              </mc:Choice>
              <mc:Fallback>
                <p:oleObj name="" r:id="rId1" imgW="838200" imgH="355600" progId="Equation.KSEE3">
                  <p:embed/>
                  <p:pic>
                    <p:nvPicPr>
                      <p:cNvPr id="0" name="图片 1024"/>
                      <p:cNvPicPr/>
                      <p:nvPr/>
                    </p:nvPicPr>
                    <p:blipFill>
                      <a:blip r:embed="rId2"/>
                      <a:stretch>
                        <a:fillRect/>
                      </a:stretch>
                    </p:blipFill>
                    <p:spPr>
                      <a:xfrm>
                        <a:off x="4591685" y="3951605"/>
                        <a:ext cx="1624330" cy="6896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" name="对象 14">
            <a:hlinkClick r:id="" action="ppaction://ole?verb="/>
          </p:cNvPr>
          <p:cNvGraphicFramePr>
            <a:graphicFrameLocks noChangeAspect="1"/>
          </p:cNvGraphicFramePr>
          <p:nvPr/>
        </p:nvGraphicFramePr>
        <p:xfrm>
          <a:off x="3641725" y="2661285"/>
          <a:ext cx="4466590" cy="5784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" r:id="rId3" imgW="1765300" imgH="228600" progId="Equation.KSEE3">
                  <p:embed/>
                </p:oleObj>
              </mc:Choice>
              <mc:Fallback>
                <p:oleObj name="" r:id="rId3" imgW="1765300" imgH="228600" progId="Equation.KSEE3">
                  <p:embed/>
                  <p:pic>
                    <p:nvPicPr>
                      <p:cNvPr id="0" name="图片 1025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641725" y="2661285"/>
                        <a:ext cx="4466590" cy="5784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479425" y="2661920"/>
            <a:ext cx="11020425" cy="1278255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p>
            <a:pPr marL="106045" indent="0">
              <a:buFont typeface="Arial" panose="020B0604020202090204" pitchFamily="34" charset="0"/>
              <a:buNone/>
            </a:pPr>
            <a:r>
              <a:rPr lang="zh-CN" altLang="en-US" sz="8000" dirty="0" smtClean="0">
                <a:solidFill>
                  <a:srgbClr val="F05A23"/>
                </a:solidFill>
              </a:rPr>
              <a:t>风控模型</a:t>
            </a:r>
            <a:r>
              <a:rPr lang="zh-CN" altLang="en-US" sz="4800" dirty="0" smtClean="0"/>
              <a:t>，让风险</a:t>
            </a:r>
            <a:r>
              <a:rPr lang="zh-CN" altLang="en-US" sz="8000" dirty="0" smtClean="0">
                <a:solidFill>
                  <a:srgbClr val="F05A23"/>
                </a:solidFill>
              </a:rPr>
              <a:t>无处遁形</a:t>
            </a:r>
            <a:endParaRPr lang="zh-CN" altLang="en-US" sz="8000" dirty="0" smtClean="0"/>
          </a:p>
        </p:txBody>
      </p:sp>
    </p:spTree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3088341" y="2967991"/>
            <a:ext cx="6015319" cy="92202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spAutoFit/>
          </a:bodyPr>
          <a:lstStyle/>
          <a:p>
            <a:pPr algn="ctr"/>
            <a:r>
              <a:rPr lang="zh-CN" altLang="en-US" sz="5400" b="1" smtClean="0">
                <a:solidFill>
                  <a:schemeClr val="bg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谢    谢</a:t>
            </a:r>
            <a:r>
              <a:rPr lang="zh-CN" altLang="en-US" sz="5400" b="1">
                <a:solidFill>
                  <a:schemeClr val="bg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！</a:t>
            </a:r>
            <a:endParaRPr lang="zh-CN" altLang="en-US" sz="5400" b="1">
              <a:solidFill>
                <a:schemeClr val="bg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660400" y="1130300"/>
            <a:ext cx="10858500" cy="4709953"/>
            <a:chOff x="660400" y="1130300"/>
            <a:chExt cx="10858500" cy="4709953"/>
          </a:xfrm>
        </p:grpSpPr>
        <p:sp>
          <p:nvSpPr>
            <p:cNvPr id="59" name="矩形: 圆角 58"/>
            <p:cNvSpPr/>
            <p:nvPr/>
          </p:nvSpPr>
          <p:spPr>
            <a:xfrm>
              <a:off x="660400" y="1955800"/>
              <a:ext cx="10858500" cy="1193800"/>
            </a:xfrm>
            <a:prstGeom prst="roundRect">
              <a:avLst>
                <a:gd name="adj" fmla="val 13100"/>
              </a:avLst>
            </a:prstGeom>
            <a:ln w="9525">
              <a:solidFill>
                <a:schemeClr val="tx1">
                  <a:lumMod val="50000"/>
                  <a:lumOff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5" name="文本框 4"/>
            <p:cNvSpPr txBox="1"/>
            <p:nvPr/>
          </p:nvSpPr>
          <p:spPr>
            <a:xfrm>
              <a:off x="660400" y="1130300"/>
              <a:ext cx="10858500" cy="5835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kumimoji="0" lang="zh-CN" altLang="en-US" sz="32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90204" pitchFamily="34" charset="0"/>
                  <a:ea typeface="华文楷体" panose="02010600040101010101" pitchFamily="2" charset="-122"/>
                </a:rPr>
                <a:t>代码分割常见</a:t>
              </a:r>
              <a:r>
                <a:rPr kumimoji="0" lang="zh-CN" altLang="en-US" sz="32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90204" pitchFamily="34" charset="0"/>
                  <a:ea typeface="华文楷体" panose="02010600040101010101" pitchFamily="2" charset="-122"/>
                </a:rPr>
                <a:t>方式</a:t>
              </a:r>
              <a:endParaRPr kumimoji="0" lang="zh-CN" altLang="en-US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90204" pitchFamily="34" charset="0"/>
                <a:ea typeface="华文楷体" panose="02010600040101010101" pitchFamily="2" charset="-122"/>
              </a:endParaRPr>
            </a:p>
          </p:txBody>
        </p:sp>
        <p:sp>
          <p:nvSpPr>
            <p:cNvPr id="4" name="文本框 3"/>
            <p:cNvSpPr txBox="1"/>
            <p:nvPr/>
          </p:nvSpPr>
          <p:spPr>
            <a:xfrm>
              <a:off x="4168775" y="2004695"/>
              <a:ext cx="2832735" cy="1041400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l">
                <a:lnSpc>
                  <a:spcPct val="150000"/>
                </a:lnSpc>
              </a:pPr>
              <a:r>
                <a:rPr lang="en-US" altLang="zh-CN" sz="1000" noProof="0" dirty="0">
                  <a:ln>
                    <a:noFill/>
                  </a:ln>
                  <a:effectLst/>
                  <a:uLnTx/>
                  <a:uFillTx/>
                  <a:latin typeface="Arial" panose="020B0604020202090204" pitchFamily="34" charset="0"/>
                  <a:ea typeface="华文楷体" panose="02010600040101010101" pitchFamily="2" charset="-122"/>
                  <a:sym typeface="+mn-ea"/>
                </a:rPr>
                <a:t>通过 Webpack 的 entry 配置为每个页面设置不同的入口文件，每个入口文件都会打包成一个独立的 bundle。这样能够让不同页面只加载它们需要的代码，减少不必要的资源加载。</a:t>
              </a: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90204" pitchFamily="34" charset="0"/>
                  <a:ea typeface="华文楷体" panose="02010600040101010101" pitchFamily="2" charset="-122"/>
                </a:rPr>
                <a:t> </a:t>
              </a:r>
              <a:endParaRPr kumimoji="0" lang="en-US" altLang="zh-CN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90204" pitchFamily="34" charset="0"/>
                <a:ea typeface="华文楷体" panose="02010600040101010101" pitchFamily="2" charset="-122"/>
              </a:endParaRPr>
            </a:p>
          </p:txBody>
        </p:sp>
        <p:sp>
          <p:nvSpPr>
            <p:cNvPr id="35" name="矩形: 圆角 34"/>
            <p:cNvSpPr/>
            <p:nvPr/>
          </p:nvSpPr>
          <p:spPr>
            <a:xfrm>
              <a:off x="7336155" y="5052060"/>
              <a:ext cx="1452245" cy="369570"/>
            </a:xfrm>
            <a:prstGeom prst="roundRect">
              <a:avLst>
                <a:gd name="adj" fmla="val 50000"/>
              </a:avLst>
            </a:prstGeom>
            <a:solidFill>
              <a:schemeClr val="tx1">
                <a:lumMod val="50000"/>
                <a:lumOff val="50000"/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400" b="1" dirty="0">
                  <a:solidFill>
                    <a:schemeClr val="accent1"/>
                  </a:solidFill>
                  <a:latin typeface="Arial" panose="020B0604020202090204" pitchFamily="34" charset="0"/>
                  <a:ea typeface="华文楷体" panose="02010600040101010101" pitchFamily="2" charset="-122"/>
                </a:rPr>
                <a:t>配置规则</a:t>
              </a:r>
              <a:endParaRPr lang="zh-CN" altLang="en-US" sz="1400" b="1" dirty="0">
                <a:solidFill>
                  <a:schemeClr val="accent1"/>
                </a:solidFill>
                <a:latin typeface="Arial" panose="020B0604020202090204" pitchFamily="34" charset="0"/>
                <a:ea typeface="华文楷体" panose="02010600040101010101" pitchFamily="2" charset="-122"/>
              </a:endParaRPr>
            </a:p>
          </p:txBody>
        </p:sp>
        <p:sp>
          <p:nvSpPr>
            <p:cNvPr id="54" name="文本框 53"/>
            <p:cNvSpPr txBox="1"/>
            <p:nvPr/>
          </p:nvSpPr>
          <p:spPr>
            <a:xfrm>
              <a:off x="8808720" y="4700270"/>
              <a:ext cx="2553335" cy="1096645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190500" indent="-190500" algn="l">
                <a:lnSpc>
                  <a:spcPct val="150000"/>
                </a:lnSpc>
                <a:buSzPct val="100000"/>
                <a:buChar char="•"/>
              </a:pPr>
              <a:r>
                <a:rPr lang="en-US" altLang="zh-CN" sz="1000" noProof="0" dirty="0">
                  <a:ln>
                    <a:noFill/>
                  </a:ln>
                  <a:effectLst/>
                  <a:uLnTx/>
                  <a:uFillTx/>
                  <a:latin typeface="Arial" panose="020B0604020202090204" pitchFamily="34" charset="0"/>
                  <a:ea typeface="华文楷体" panose="02010600040101010101" pitchFamily="2" charset="-122"/>
                  <a:sym typeface="+mn-ea"/>
                </a:rPr>
                <a:t>公共模块</a:t>
              </a:r>
              <a:endParaRPr lang="en-US" altLang="zh-CN" sz="1000" noProof="0" dirty="0">
                <a:ln>
                  <a:noFill/>
                </a:ln>
                <a:effectLst/>
                <a:uLnTx/>
                <a:uFillTx/>
                <a:latin typeface="Arial" panose="020B0604020202090204" pitchFamily="34" charset="0"/>
                <a:ea typeface="华文楷体" panose="02010600040101010101" pitchFamily="2" charset="-122"/>
              </a:endParaRPr>
            </a:p>
            <a:p>
              <a:pPr marL="190500" indent="-190500" algn="l">
                <a:lnSpc>
                  <a:spcPct val="150000"/>
                </a:lnSpc>
                <a:buSzPct val="100000"/>
                <a:buChar char="•"/>
              </a:pPr>
              <a:r>
                <a:rPr lang="en-US" altLang="zh-CN" sz="1000" noProof="0" dirty="0">
                  <a:ln>
                    <a:noFill/>
                  </a:ln>
                  <a:effectLst/>
                  <a:uLnTx/>
                  <a:uFillTx/>
                  <a:latin typeface="Arial" panose="020B0604020202090204" pitchFamily="34" charset="0"/>
                  <a:ea typeface="华文楷体" panose="02010600040101010101" pitchFamily="2" charset="-122"/>
                  <a:sym typeface="+mn-ea"/>
                </a:rPr>
                <a:t>第三方库</a:t>
              </a:r>
              <a:endParaRPr lang="en-US" altLang="zh-CN" sz="1000" noProof="0" dirty="0">
                <a:ln>
                  <a:noFill/>
                </a:ln>
                <a:effectLst/>
                <a:uLnTx/>
                <a:uFillTx/>
                <a:latin typeface="Arial" panose="020B0604020202090204" pitchFamily="34" charset="0"/>
                <a:ea typeface="华文楷体" panose="02010600040101010101" pitchFamily="2" charset="-122"/>
              </a:endParaRPr>
            </a:p>
            <a:p>
              <a:pPr marL="190500" indent="-190500" algn="l">
                <a:lnSpc>
                  <a:spcPct val="150000"/>
                </a:lnSpc>
                <a:buSzPct val="100000"/>
                <a:buChar char="•"/>
              </a:pPr>
              <a:r>
                <a:rPr lang="en-US" altLang="zh-CN" sz="1000" noProof="0" dirty="0">
                  <a:ln>
                    <a:noFill/>
                  </a:ln>
                  <a:effectLst/>
                  <a:uLnTx/>
                  <a:uFillTx/>
                  <a:latin typeface="Arial" panose="020B0604020202090204" pitchFamily="34" charset="0"/>
                  <a:ea typeface="华文楷体" panose="02010600040101010101" pitchFamily="2" charset="-122"/>
                  <a:sym typeface="+mn-ea"/>
                </a:rPr>
                <a:t>使用频率较高，并且希望单独加载的库</a:t>
              </a:r>
              <a:endParaRPr lang="en-US" altLang="zh-CN" sz="1000" noProof="0" dirty="0">
                <a:ln>
                  <a:noFill/>
                </a:ln>
                <a:effectLst/>
                <a:uLnTx/>
                <a:uFillTx/>
                <a:latin typeface="Arial" panose="020B0604020202090204" pitchFamily="34" charset="0"/>
                <a:ea typeface="华文楷体" panose="02010600040101010101" pitchFamily="2" charset="-122"/>
              </a:endParaRPr>
            </a:p>
            <a:p>
              <a:pPr marL="190500" indent="-190500" algn="l">
                <a:lnSpc>
                  <a:spcPct val="150000"/>
                </a:lnSpc>
                <a:buSzPct val="100000"/>
                <a:buChar char="•"/>
              </a:pPr>
              <a:r>
                <a:rPr lang="en-US" altLang="zh-CN" sz="1000" noProof="0" dirty="0">
                  <a:ln>
                    <a:noFill/>
                  </a:ln>
                  <a:effectLst/>
                  <a:uLnTx/>
                  <a:uFillTx/>
                  <a:latin typeface="Arial" panose="020B0604020202090204" pitchFamily="34" charset="0"/>
                  <a:ea typeface="华文楷体" panose="02010600040101010101" pitchFamily="2" charset="-122"/>
                  <a:sym typeface="+mn-ea"/>
                </a:rPr>
                <a:t>只拆分异步加载的模块</a:t>
              </a:r>
              <a:endParaRPr kumimoji="0" lang="en-US" altLang="zh-CN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90204" pitchFamily="34" charset="0"/>
                <a:ea typeface="华文楷体" panose="02010600040101010101" pitchFamily="2" charset="-122"/>
              </a:endParaRPr>
            </a:p>
          </p:txBody>
        </p:sp>
        <p:sp>
          <p:nvSpPr>
            <p:cNvPr id="60" name="矩形: 圆角 59"/>
            <p:cNvSpPr/>
            <p:nvPr/>
          </p:nvSpPr>
          <p:spPr>
            <a:xfrm>
              <a:off x="660400" y="3301126"/>
              <a:ext cx="10858500" cy="1193800"/>
            </a:xfrm>
            <a:prstGeom prst="roundRect">
              <a:avLst>
                <a:gd name="adj" fmla="val 13100"/>
              </a:avLst>
            </a:prstGeom>
            <a:ln w="9525">
              <a:solidFill>
                <a:schemeClr val="tx1">
                  <a:lumMod val="50000"/>
                  <a:lumOff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1" name="矩形: 圆角 60"/>
            <p:cNvSpPr/>
            <p:nvPr/>
          </p:nvSpPr>
          <p:spPr>
            <a:xfrm>
              <a:off x="660400" y="4646453"/>
              <a:ext cx="10858500" cy="1193800"/>
            </a:xfrm>
            <a:prstGeom prst="roundRect">
              <a:avLst>
                <a:gd name="adj" fmla="val 13100"/>
              </a:avLst>
            </a:prstGeom>
            <a:ln w="9525">
              <a:solidFill>
                <a:schemeClr val="tx1">
                  <a:lumMod val="50000"/>
                  <a:lumOff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2" name="文本框 61"/>
            <p:cNvSpPr txBox="1"/>
            <p:nvPr/>
          </p:nvSpPr>
          <p:spPr>
            <a:xfrm>
              <a:off x="830013" y="2394440"/>
              <a:ext cx="3059430" cy="36830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US" altLang="zh-CN" b="1" dirty="0">
                  <a:latin typeface="Arial" panose="020B0604020202090204" pitchFamily="34" charset="0"/>
                  <a:ea typeface="华文楷体" panose="02010600040101010101" pitchFamily="2" charset="-122"/>
                  <a:sym typeface="+mn-ea"/>
                </a:rPr>
                <a:t>多入口页面可根据Entry分包</a:t>
              </a:r>
              <a:endParaRPr lang="en-US" altLang="zh-CN" sz="1800" b="1" dirty="0">
                <a:latin typeface="Arial" panose="020B0604020202090204" pitchFamily="34" charset="0"/>
                <a:ea typeface="华文楷体" panose="02010600040101010101" pitchFamily="2" charset="-122"/>
              </a:endParaRPr>
            </a:p>
          </p:txBody>
        </p:sp>
        <p:sp>
          <p:nvSpPr>
            <p:cNvPr id="63" name="文本框 62"/>
            <p:cNvSpPr txBox="1"/>
            <p:nvPr/>
          </p:nvSpPr>
          <p:spPr>
            <a:xfrm>
              <a:off x="830013" y="3713360"/>
              <a:ext cx="3197860" cy="36830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US" altLang="zh-CN" b="1" dirty="0">
                  <a:latin typeface="Arial" panose="020B0604020202090204" pitchFamily="34" charset="0"/>
                  <a:ea typeface="华文楷体" panose="02010600040101010101" pitchFamily="2" charset="-122"/>
                  <a:sym typeface="+mn-ea"/>
                </a:rPr>
                <a:t>SPA应用import动态引入分包</a:t>
              </a:r>
              <a:endParaRPr lang="en-US" altLang="zh-CN" sz="1800" b="1" dirty="0">
                <a:latin typeface="Arial" panose="020B0604020202090204" pitchFamily="34" charset="0"/>
                <a:ea typeface="华文楷体" panose="02010600040101010101" pitchFamily="2" charset="-122"/>
              </a:endParaRPr>
            </a:p>
          </p:txBody>
        </p:sp>
        <p:sp>
          <p:nvSpPr>
            <p:cNvPr id="64" name="文本框 63"/>
            <p:cNvSpPr txBox="1"/>
            <p:nvPr/>
          </p:nvSpPr>
          <p:spPr>
            <a:xfrm>
              <a:off x="830013" y="4920892"/>
              <a:ext cx="2914650" cy="64516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US" altLang="zh-CN" b="1" dirty="0">
                  <a:latin typeface="Arial" panose="020B0604020202090204" pitchFamily="34" charset="0"/>
                  <a:ea typeface="华文楷体" panose="02010600040101010101" pitchFamily="2" charset="-122"/>
                  <a:sym typeface="+mn-ea"/>
                </a:rPr>
                <a:t>webpack配置splitChunks</a:t>
              </a:r>
              <a:br>
                <a:rPr lang="en-US" altLang="zh-CN" b="1" dirty="0">
                  <a:latin typeface="Arial" panose="020B0604020202090204" pitchFamily="34" charset="0"/>
                  <a:ea typeface="华文楷体" panose="02010600040101010101" pitchFamily="2" charset="-122"/>
                  <a:sym typeface="+mn-ea"/>
                </a:rPr>
              </a:br>
              <a:r>
                <a:rPr lang="en-US" altLang="zh-CN" b="1" dirty="0">
                  <a:latin typeface="Arial" panose="020B0604020202090204" pitchFamily="34" charset="0"/>
                  <a:ea typeface="华文楷体" panose="02010600040101010101" pitchFamily="2" charset="-122"/>
                  <a:sym typeface="+mn-ea"/>
                </a:rPr>
                <a:t>vite配置manualChunks</a:t>
              </a:r>
              <a:endParaRPr lang="en-US" altLang="zh-CN" sz="1800" b="1" dirty="0">
                <a:latin typeface="Arial" panose="020B0604020202090204" pitchFamily="34" charset="0"/>
                <a:ea typeface="华文楷体" panose="02010600040101010101" pitchFamily="2" charset="-122"/>
              </a:endParaRPr>
            </a:p>
          </p:txBody>
        </p:sp>
      </p:grpSp>
      <p:pic>
        <p:nvPicPr>
          <p:cNvPr id="6" name="图片 5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7397115" y="1995805"/>
            <a:ext cx="3747770" cy="1096645"/>
          </a:xfrm>
          <a:prstGeom prst="rect">
            <a:avLst/>
          </a:prstGeom>
        </p:spPr>
      </p:pic>
      <p:sp>
        <p:nvSpPr>
          <p:cNvPr id="9" name="文本框 8"/>
          <p:cNvSpPr txBox="1"/>
          <p:nvPr>
            <p:custDataLst>
              <p:tags r:id="rId3"/>
            </p:custDataLst>
          </p:nvPr>
        </p:nvSpPr>
        <p:spPr>
          <a:xfrm>
            <a:off x="4168775" y="3336925"/>
            <a:ext cx="2832735" cy="1041400"/>
          </a:xfrm>
          <a:prstGeom prst="rect">
            <a:avLst/>
          </a:prstGeom>
          <a:noFill/>
        </p:spPr>
        <p:txBody>
          <a:bodyPr wrap="square" rtlCol="0">
            <a:noAutofit/>
          </a:bodyPr>
          <a:p>
            <a:pPr marL="0" indent="0" algn="l">
              <a:lnSpc>
                <a:spcPct val="150000"/>
              </a:lnSpc>
              <a:buSzPct val="100000"/>
              <a:buNone/>
            </a:pP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90204" pitchFamily="34" charset="0"/>
                <a:ea typeface="华文楷体" panose="02010600040101010101" pitchFamily="2" charset="-122"/>
              </a:rPr>
              <a:t>在单页面</a:t>
            </a:r>
            <a:r>
              <a:rPr lang="en-US" altLang="zh-CN" sz="1000" noProof="0" dirty="0">
                <a:ln>
                  <a:noFill/>
                </a:ln>
                <a:effectLst/>
                <a:uLnTx/>
                <a:uFillTx/>
                <a:latin typeface="Arial" panose="020B0604020202090204" pitchFamily="34" charset="0"/>
                <a:ea typeface="华文楷体" panose="02010600040101010101" pitchFamily="2" charset="-122"/>
                <a:sym typeface="+mn-ea"/>
              </a:rPr>
              <a:t>应用中，使用动态导入（import()）将模块按需加载。在 Vue 项目中可以通过路由懒加载来实现</a:t>
            </a:r>
            <a:r>
              <a:rPr lang="zh-CN" altLang="en-US" sz="1000" noProof="0" dirty="0">
                <a:ln>
                  <a:noFill/>
                </a:ln>
                <a:effectLst/>
                <a:uLnTx/>
                <a:uFillTx/>
                <a:latin typeface="Arial" panose="020B0604020202090204" pitchFamily="34" charset="0"/>
                <a:ea typeface="华文楷体" panose="02010600040101010101" pitchFamily="2" charset="-122"/>
                <a:sym typeface="+mn-ea"/>
              </a:rPr>
              <a:t>，</a:t>
            </a:r>
            <a:r>
              <a:rPr lang="en-US" altLang="zh-CN" sz="1000" noProof="0" dirty="0">
                <a:ln>
                  <a:noFill/>
                </a:ln>
                <a:effectLst/>
                <a:uLnTx/>
                <a:uFillTx/>
                <a:latin typeface="Arial" panose="020B0604020202090204" pitchFamily="34" charset="0"/>
                <a:ea typeface="华文楷体" panose="02010600040101010101" pitchFamily="2" charset="-122"/>
                <a:sym typeface="+mn-ea"/>
              </a:rPr>
              <a:t>访问某个路由时才加载对应的模块，而不是一次性加载所有页面的代码。</a:t>
            </a:r>
            <a:endParaRPr lang="en-US" altLang="zh-CN" sz="1000" noProof="0" dirty="0">
              <a:ln>
                <a:noFill/>
              </a:ln>
              <a:effectLst/>
              <a:uLnTx/>
              <a:uFillTx/>
              <a:latin typeface="Arial" panose="020B0604020202090204" pitchFamily="34" charset="0"/>
              <a:ea typeface="华文楷体" panose="02010600040101010101" pitchFamily="2" charset="-122"/>
            </a:endParaRPr>
          </a:p>
          <a:p>
            <a:pPr marL="0" indent="0" algn="l">
              <a:lnSpc>
                <a:spcPct val="150000"/>
              </a:lnSpc>
              <a:buSzPct val="100000"/>
              <a:buNone/>
            </a:pP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90204" pitchFamily="34" charset="0"/>
              <a:ea typeface="华文楷体" panose="02010600040101010101" pitchFamily="2" charset="-122"/>
            </a:endParaRPr>
          </a:p>
        </p:txBody>
      </p:sp>
      <p:pic>
        <p:nvPicPr>
          <p:cNvPr id="10" name="图片 9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7397115" y="3411855"/>
            <a:ext cx="3964940" cy="969010"/>
          </a:xfrm>
          <a:prstGeom prst="rect">
            <a:avLst/>
          </a:prstGeom>
        </p:spPr>
      </p:pic>
      <p:sp>
        <p:nvSpPr>
          <p:cNvPr id="11" name="文本框 10"/>
          <p:cNvSpPr txBox="1"/>
          <p:nvPr>
            <p:custDataLst>
              <p:tags r:id="rId6"/>
            </p:custDataLst>
          </p:nvPr>
        </p:nvSpPr>
        <p:spPr>
          <a:xfrm>
            <a:off x="4168775" y="4797425"/>
            <a:ext cx="2832735" cy="872490"/>
          </a:xfrm>
          <a:prstGeom prst="rect">
            <a:avLst/>
          </a:prstGeom>
          <a:noFill/>
        </p:spPr>
        <p:txBody>
          <a:bodyPr wrap="square" rtlCol="0">
            <a:noAutofit/>
          </a:bodyPr>
          <a:p>
            <a:pPr marL="0" indent="0" algn="l">
              <a:lnSpc>
                <a:spcPct val="150000"/>
              </a:lnSpc>
              <a:buSzPct val="100000"/>
              <a:buNone/>
            </a:pPr>
            <a:r>
              <a:rPr lang="en-US" altLang="zh-CN" sz="1000" b="1" noProof="0" dirty="0">
                <a:ln>
                  <a:noFill/>
                </a:ln>
                <a:effectLst/>
                <a:uLnTx/>
                <a:uFillTx/>
                <a:latin typeface="Arial" panose="020B0604020202090204" pitchFamily="34" charset="0"/>
                <a:ea typeface="华文楷体" panose="02010600040101010101" pitchFamily="2" charset="-122"/>
                <a:sym typeface="+mn-ea"/>
              </a:rPr>
              <a:t>用于代码分割的优化配置，可以将第三方库、共享模块等打包成独立的 chunk 文件，避免重复加载并提高缓存利用率。</a:t>
            </a:r>
            <a:endParaRPr lang="en-US" sz="1000" b="1" dirty="0">
              <a:solidFill>
                <a:srgbClr val="000000"/>
              </a:solidFill>
              <a:latin typeface="Noto Sans SC" pitchFamily="34" charset="0"/>
              <a:ea typeface="Noto Sans SC" pitchFamily="34" charset="-122"/>
              <a:cs typeface="Noto Sans SC" pitchFamily="34" charset="-120"/>
            </a:endParaRPr>
          </a:p>
          <a:p>
            <a:pPr marL="0" indent="0" algn="l">
              <a:lnSpc>
                <a:spcPct val="150000"/>
              </a:lnSpc>
              <a:buSzPct val="100000"/>
              <a:buNone/>
            </a:pPr>
            <a:endParaRPr kumimoji="0" lang="en-US" altLang="zh-CN" sz="1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90204" pitchFamily="34" charset="0"/>
              <a:ea typeface="华文楷体" panose="02010600040101010101" pitchFamily="2" charset="-122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组合 34"/>
          <p:cNvGrpSpPr/>
          <p:nvPr/>
        </p:nvGrpSpPr>
        <p:grpSpPr>
          <a:xfrm>
            <a:off x="1108710" y="5140960"/>
            <a:ext cx="8841105" cy="842010"/>
            <a:chOff x="1746" y="8410"/>
            <a:chExt cx="13923" cy="1326"/>
          </a:xfrm>
        </p:grpSpPr>
        <p:sp>
          <p:nvSpPr>
            <p:cNvPr id="26" name="矩形: 对角圆角 11"/>
            <p:cNvSpPr/>
            <p:nvPr>
              <p:custDataLst>
                <p:tags r:id="rId1"/>
              </p:custDataLst>
            </p:nvPr>
          </p:nvSpPr>
          <p:spPr>
            <a:xfrm>
              <a:off x="10629" y="8410"/>
              <a:ext cx="5041" cy="1326"/>
            </a:xfrm>
            <a:prstGeom prst="round2DiagRect">
              <a:avLst/>
            </a:prstGeom>
            <a:solidFill>
              <a:schemeClr val="tx2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sp>
          <p:nvSpPr>
            <p:cNvPr id="27" name="文本框 26"/>
            <p:cNvSpPr txBox="1"/>
            <p:nvPr>
              <p:custDataLst>
                <p:tags r:id="rId2"/>
              </p:custDataLst>
            </p:nvPr>
          </p:nvSpPr>
          <p:spPr>
            <a:xfrm>
              <a:off x="10629" y="8624"/>
              <a:ext cx="3624" cy="8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algn="ctr">
                <a:lnSpc>
                  <a:spcPct val="130000"/>
                </a:lnSpc>
              </a:pPr>
              <a:r>
                <a:rPr kumimoji="1" lang="en-US" altLang="zh-CN" sz="1200" dirty="0">
                  <a:solidFill>
                    <a:schemeClr val="tx1"/>
                  </a:solidFill>
                  <a:latin typeface="Arial" panose="020B0604020202090204" pitchFamily="34" charset="0"/>
                  <a:ea typeface="华文楷体" panose="02010600040101010101" pitchFamily="2" charset="-122"/>
                </a:rPr>
                <a:t>Theme color makes PPT</a:t>
              </a:r>
              <a:endParaRPr kumimoji="1" lang="en-US" altLang="zh-CN" sz="1200" dirty="0">
                <a:solidFill>
                  <a:schemeClr val="tx1"/>
                </a:solidFill>
                <a:latin typeface="Arial" panose="020B0604020202090204" pitchFamily="34" charset="0"/>
                <a:ea typeface="华文楷体" panose="02010600040101010101" pitchFamily="2" charset="-122"/>
              </a:endParaRPr>
            </a:p>
            <a:p>
              <a:pPr algn="ctr">
                <a:lnSpc>
                  <a:spcPct val="130000"/>
                </a:lnSpc>
              </a:pPr>
              <a:r>
                <a:rPr kumimoji="1" lang="en-US" altLang="zh-CN" sz="1200" dirty="0">
                  <a:solidFill>
                    <a:schemeClr val="tx1"/>
                  </a:solidFill>
                  <a:latin typeface="Arial" panose="020B0604020202090204" pitchFamily="34" charset="0"/>
                  <a:ea typeface="华文楷体" panose="02010600040101010101" pitchFamily="2" charset="-122"/>
                </a:rPr>
                <a:t>     more convenient to change.</a:t>
              </a:r>
              <a:endParaRPr kumimoji="1" lang="en-US" altLang="zh-CN" sz="1200" dirty="0">
                <a:solidFill>
                  <a:schemeClr val="tx1"/>
                </a:solidFill>
                <a:latin typeface="Arial" panose="020B0604020202090204" pitchFamily="34" charset="0"/>
                <a:ea typeface="华文楷体" panose="02010600040101010101" pitchFamily="2" charset="-122"/>
              </a:endParaRPr>
            </a:p>
          </p:txBody>
        </p:sp>
        <p:cxnSp>
          <p:nvCxnSpPr>
            <p:cNvPr id="29" name="直接连接符 28"/>
            <p:cNvCxnSpPr/>
            <p:nvPr>
              <p:custDataLst>
                <p:tags r:id="rId3"/>
              </p:custDataLst>
            </p:nvPr>
          </p:nvCxnSpPr>
          <p:spPr>
            <a:xfrm>
              <a:off x="9997" y="9016"/>
              <a:ext cx="800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矩形 29"/>
            <p:cNvSpPr/>
            <p:nvPr>
              <p:custDataLst>
                <p:tags r:id="rId4"/>
              </p:custDataLst>
            </p:nvPr>
          </p:nvSpPr>
          <p:spPr>
            <a:xfrm>
              <a:off x="7225" y="8766"/>
              <a:ext cx="3166" cy="5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cxnSp>
          <p:nvCxnSpPr>
            <p:cNvPr id="31" name="直接连接符 30"/>
            <p:cNvCxnSpPr/>
            <p:nvPr>
              <p:custDataLst>
                <p:tags r:id="rId5"/>
              </p:custDataLst>
            </p:nvPr>
          </p:nvCxnSpPr>
          <p:spPr>
            <a:xfrm>
              <a:off x="6651" y="9016"/>
              <a:ext cx="800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矩形: 对角圆角 11"/>
            <p:cNvSpPr/>
            <p:nvPr>
              <p:custDataLst>
                <p:tags r:id="rId6"/>
              </p:custDataLst>
            </p:nvPr>
          </p:nvSpPr>
          <p:spPr>
            <a:xfrm>
              <a:off x="1746" y="8410"/>
              <a:ext cx="5041" cy="1326"/>
            </a:xfrm>
            <a:prstGeom prst="round2DiagRect">
              <a:avLst/>
            </a:prstGeom>
            <a:solidFill>
              <a:schemeClr val="tx2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sp>
          <p:nvSpPr>
            <p:cNvPr id="34" name="文本框 33"/>
            <p:cNvSpPr txBox="1"/>
            <p:nvPr>
              <p:custDataLst>
                <p:tags r:id="rId7"/>
              </p:custDataLst>
            </p:nvPr>
          </p:nvSpPr>
          <p:spPr>
            <a:xfrm>
              <a:off x="1746" y="8624"/>
              <a:ext cx="3624" cy="8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algn="ctr">
                <a:lnSpc>
                  <a:spcPct val="130000"/>
                </a:lnSpc>
              </a:pPr>
              <a:r>
                <a:rPr kumimoji="1" lang="en-US" altLang="zh-CN" sz="1200" dirty="0">
                  <a:solidFill>
                    <a:schemeClr val="tx1"/>
                  </a:solidFill>
                  <a:latin typeface="Arial" panose="020B0604020202090204" pitchFamily="34" charset="0"/>
                  <a:ea typeface="华文楷体" panose="02010600040101010101" pitchFamily="2" charset="-122"/>
                </a:rPr>
                <a:t>Theme color makes PPT</a:t>
              </a:r>
              <a:endParaRPr kumimoji="1" lang="en-US" altLang="zh-CN" sz="1200" dirty="0">
                <a:solidFill>
                  <a:schemeClr val="tx1"/>
                </a:solidFill>
                <a:latin typeface="Arial" panose="020B0604020202090204" pitchFamily="34" charset="0"/>
                <a:ea typeface="华文楷体" panose="02010600040101010101" pitchFamily="2" charset="-122"/>
              </a:endParaRPr>
            </a:p>
            <a:p>
              <a:pPr algn="ctr">
                <a:lnSpc>
                  <a:spcPct val="130000"/>
                </a:lnSpc>
              </a:pPr>
              <a:r>
                <a:rPr kumimoji="1" lang="en-US" altLang="zh-CN" sz="1200" dirty="0">
                  <a:solidFill>
                    <a:schemeClr val="tx1"/>
                  </a:solidFill>
                  <a:latin typeface="Arial" panose="020B0604020202090204" pitchFamily="34" charset="0"/>
                  <a:ea typeface="华文楷体" panose="02010600040101010101" pitchFamily="2" charset="-122"/>
                </a:rPr>
                <a:t>     more convenient to change.</a:t>
              </a:r>
              <a:endParaRPr kumimoji="1" lang="en-US" altLang="zh-CN" sz="1200" dirty="0">
                <a:solidFill>
                  <a:schemeClr val="tx1"/>
                </a:solidFill>
                <a:latin typeface="Arial" panose="020B0604020202090204" pitchFamily="34" charset="0"/>
                <a:ea typeface="华文楷体" panose="02010600040101010101" pitchFamily="2" charset="-122"/>
              </a:endParaRPr>
            </a:p>
          </p:txBody>
        </p:sp>
      </p:grpSp>
      <p:grpSp>
        <p:nvGrpSpPr>
          <p:cNvPr id="37" name="组合 36"/>
          <p:cNvGrpSpPr/>
          <p:nvPr/>
        </p:nvGrpSpPr>
        <p:grpSpPr>
          <a:xfrm>
            <a:off x="1109345" y="4045585"/>
            <a:ext cx="8841105" cy="842010"/>
            <a:chOff x="1746" y="8410"/>
            <a:chExt cx="13923" cy="1326"/>
          </a:xfrm>
        </p:grpSpPr>
        <p:sp>
          <p:nvSpPr>
            <p:cNvPr id="38" name="矩形: 对角圆角 11"/>
            <p:cNvSpPr/>
            <p:nvPr>
              <p:custDataLst>
                <p:tags r:id="rId8"/>
              </p:custDataLst>
            </p:nvPr>
          </p:nvSpPr>
          <p:spPr>
            <a:xfrm>
              <a:off x="10629" y="8410"/>
              <a:ext cx="5041" cy="1326"/>
            </a:xfrm>
            <a:prstGeom prst="round2DiagRect">
              <a:avLst/>
            </a:prstGeom>
            <a:solidFill>
              <a:schemeClr val="tx2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sp>
          <p:nvSpPr>
            <p:cNvPr id="39" name="文本框 38"/>
            <p:cNvSpPr txBox="1"/>
            <p:nvPr>
              <p:custDataLst>
                <p:tags r:id="rId9"/>
              </p:custDataLst>
            </p:nvPr>
          </p:nvSpPr>
          <p:spPr>
            <a:xfrm>
              <a:off x="10629" y="8624"/>
              <a:ext cx="3624" cy="8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algn="ctr">
                <a:lnSpc>
                  <a:spcPct val="130000"/>
                </a:lnSpc>
              </a:pPr>
              <a:r>
                <a:rPr kumimoji="1" lang="en-US" altLang="zh-CN" sz="1200" dirty="0">
                  <a:solidFill>
                    <a:schemeClr val="tx1"/>
                  </a:solidFill>
                  <a:latin typeface="Arial" panose="020B0604020202090204" pitchFamily="34" charset="0"/>
                  <a:ea typeface="华文楷体" panose="02010600040101010101" pitchFamily="2" charset="-122"/>
                </a:rPr>
                <a:t>Theme color makes PPT</a:t>
              </a:r>
              <a:endParaRPr kumimoji="1" lang="en-US" altLang="zh-CN" sz="1200" dirty="0">
                <a:solidFill>
                  <a:schemeClr val="tx1"/>
                </a:solidFill>
                <a:latin typeface="Arial" panose="020B0604020202090204" pitchFamily="34" charset="0"/>
                <a:ea typeface="华文楷体" panose="02010600040101010101" pitchFamily="2" charset="-122"/>
              </a:endParaRPr>
            </a:p>
            <a:p>
              <a:pPr algn="ctr">
                <a:lnSpc>
                  <a:spcPct val="130000"/>
                </a:lnSpc>
              </a:pPr>
              <a:r>
                <a:rPr kumimoji="1" lang="en-US" altLang="zh-CN" sz="1200" dirty="0">
                  <a:solidFill>
                    <a:schemeClr val="tx1"/>
                  </a:solidFill>
                  <a:latin typeface="Arial" panose="020B0604020202090204" pitchFamily="34" charset="0"/>
                  <a:ea typeface="华文楷体" panose="02010600040101010101" pitchFamily="2" charset="-122"/>
                </a:rPr>
                <a:t>     more convenient to change.</a:t>
              </a:r>
              <a:endParaRPr kumimoji="1" lang="en-US" altLang="zh-CN" sz="1200" dirty="0">
                <a:solidFill>
                  <a:schemeClr val="tx1"/>
                </a:solidFill>
                <a:latin typeface="Arial" panose="020B0604020202090204" pitchFamily="34" charset="0"/>
                <a:ea typeface="华文楷体" panose="02010600040101010101" pitchFamily="2" charset="-122"/>
              </a:endParaRPr>
            </a:p>
          </p:txBody>
        </p:sp>
        <p:cxnSp>
          <p:nvCxnSpPr>
            <p:cNvPr id="40" name="直接连接符 39"/>
            <p:cNvCxnSpPr/>
            <p:nvPr>
              <p:custDataLst>
                <p:tags r:id="rId10"/>
              </p:custDataLst>
            </p:nvPr>
          </p:nvCxnSpPr>
          <p:spPr>
            <a:xfrm>
              <a:off x="9997" y="9016"/>
              <a:ext cx="800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矩形 40"/>
            <p:cNvSpPr/>
            <p:nvPr>
              <p:custDataLst>
                <p:tags r:id="rId11"/>
              </p:custDataLst>
            </p:nvPr>
          </p:nvSpPr>
          <p:spPr>
            <a:xfrm>
              <a:off x="7225" y="8766"/>
              <a:ext cx="3166" cy="5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cxnSp>
          <p:nvCxnSpPr>
            <p:cNvPr id="42" name="直接连接符 41"/>
            <p:cNvCxnSpPr/>
            <p:nvPr>
              <p:custDataLst>
                <p:tags r:id="rId12"/>
              </p:custDataLst>
            </p:nvPr>
          </p:nvCxnSpPr>
          <p:spPr>
            <a:xfrm>
              <a:off x="6651" y="9016"/>
              <a:ext cx="800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矩形: 对角圆角 11"/>
            <p:cNvSpPr/>
            <p:nvPr>
              <p:custDataLst>
                <p:tags r:id="rId13"/>
              </p:custDataLst>
            </p:nvPr>
          </p:nvSpPr>
          <p:spPr>
            <a:xfrm>
              <a:off x="1746" y="8410"/>
              <a:ext cx="5041" cy="1326"/>
            </a:xfrm>
            <a:prstGeom prst="round2DiagRect">
              <a:avLst/>
            </a:prstGeom>
            <a:solidFill>
              <a:schemeClr val="tx2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sp>
          <p:nvSpPr>
            <p:cNvPr id="44" name="文本框 43"/>
            <p:cNvSpPr txBox="1"/>
            <p:nvPr>
              <p:custDataLst>
                <p:tags r:id="rId14"/>
              </p:custDataLst>
            </p:nvPr>
          </p:nvSpPr>
          <p:spPr>
            <a:xfrm>
              <a:off x="1746" y="8624"/>
              <a:ext cx="3624" cy="8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algn="ctr">
                <a:lnSpc>
                  <a:spcPct val="130000"/>
                </a:lnSpc>
              </a:pPr>
              <a:r>
                <a:rPr kumimoji="1" lang="en-US" altLang="zh-CN" sz="1200" dirty="0">
                  <a:solidFill>
                    <a:schemeClr val="tx1"/>
                  </a:solidFill>
                  <a:latin typeface="Arial" panose="020B0604020202090204" pitchFamily="34" charset="0"/>
                  <a:ea typeface="华文楷体" panose="02010600040101010101" pitchFamily="2" charset="-122"/>
                </a:rPr>
                <a:t>Theme color makes PPT</a:t>
              </a:r>
              <a:endParaRPr kumimoji="1" lang="en-US" altLang="zh-CN" sz="1200" dirty="0">
                <a:solidFill>
                  <a:schemeClr val="tx1"/>
                </a:solidFill>
                <a:latin typeface="Arial" panose="020B0604020202090204" pitchFamily="34" charset="0"/>
                <a:ea typeface="华文楷体" panose="02010600040101010101" pitchFamily="2" charset="-122"/>
              </a:endParaRPr>
            </a:p>
            <a:p>
              <a:pPr algn="ctr">
                <a:lnSpc>
                  <a:spcPct val="130000"/>
                </a:lnSpc>
              </a:pPr>
              <a:r>
                <a:rPr kumimoji="1" lang="en-US" altLang="zh-CN" sz="1200" dirty="0">
                  <a:solidFill>
                    <a:schemeClr val="tx1"/>
                  </a:solidFill>
                  <a:latin typeface="Arial" panose="020B0604020202090204" pitchFamily="34" charset="0"/>
                  <a:ea typeface="华文楷体" panose="02010600040101010101" pitchFamily="2" charset="-122"/>
                </a:rPr>
                <a:t>     more convenient to change.</a:t>
              </a:r>
              <a:endParaRPr kumimoji="1" lang="en-US" altLang="zh-CN" sz="1200" dirty="0">
                <a:solidFill>
                  <a:schemeClr val="tx1"/>
                </a:solidFill>
                <a:latin typeface="Arial" panose="020B0604020202090204" pitchFamily="34" charset="0"/>
                <a:ea typeface="华文楷体" panose="02010600040101010101" pitchFamily="2" charset="-122"/>
              </a:endParaRPr>
            </a:p>
          </p:txBody>
        </p:sp>
      </p:grpSp>
      <p:grpSp>
        <p:nvGrpSpPr>
          <p:cNvPr id="45" name="组合 44"/>
          <p:cNvGrpSpPr/>
          <p:nvPr/>
        </p:nvGrpSpPr>
        <p:grpSpPr>
          <a:xfrm>
            <a:off x="1108075" y="3077210"/>
            <a:ext cx="8841105" cy="842010"/>
            <a:chOff x="1746" y="8410"/>
            <a:chExt cx="13923" cy="1326"/>
          </a:xfrm>
        </p:grpSpPr>
        <p:sp>
          <p:nvSpPr>
            <p:cNvPr id="46" name="矩形: 对角圆角 11"/>
            <p:cNvSpPr/>
            <p:nvPr>
              <p:custDataLst>
                <p:tags r:id="rId15"/>
              </p:custDataLst>
            </p:nvPr>
          </p:nvSpPr>
          <p:spPr>
            <a:xfrm>
              <a:off x="10629" y="8410"/>
              <a:ext cx="5041" cy="1326"/>
            </a:xfrm>
            <a:prstGeom prst="round2DiagRect">
              <a:avLst/>
            </a:prstGeom>
            <a:solidFill>
              <a:schemeClr val="tx2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sp>
          <p:nvSpPr>
            <p:cNvPr id="47" name="文本框 46"/>
            <p:cNvSpPr txBox="1"/>
            <p:nvPr>
              <p:custDataLst>
                <p:tags r:id="rId16"/>
              </p:custDataLst>
            </p:nvPr>
          </p:nvSpPr>
          <p:spPr>
            <a:xfrm>
              <a:off x="10629" y="8624"/>
              <a:ext cx="3624" cy="8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algn="ctr">
                <a:lnSpc>
                  <a:spcPct val="130000"/>
                </a:lnSpc>
              </a:pPr>
              <a:r>
                <a:rPr kumimoji="1" lang="en-US" altLang="zh-CN" sz="1200" dirty="0">
                  <a:solidFill>
                    <a:schemeClr val="tx1"/>
                  </a:solidFill>
                  <a:latin typeface="Arial" panose="020B0604020202090204" pitchFamily="34" charset="0"/>
                  <a:ea typeface="华文楷体" panose="02010600040101010101" pitchFamily="2" charset="-122"/>
                </a:rPr>
                <a:t>Theme color makes PPT</a:t>
              </a:r>
              <a:endParaRPr kumimoji="1" lang="en-US" altLang="zh-CN" sz="1200" dirty="0">
                <a:solidFill>
                  <a:schemeClr val="tx1"/>
                </a:solidFill>
                <a:latin typeface="Arial" panose="020B0604020202090204" pitchFamily="34" charset="0"/>
                <a:ea typeface="华文楷体" panose="02010600040101010101" pitchFamily="2" charset="-122"/>
              </a:endParaRPr>
            </a:p>
            <a:p>
              <a:pPr algn="ctr">
                <a:lnSpc>
                  <a:spcPct val="130000"/>
                </a:lnSpc>
              </a:pPr>
              <a:r>
                <a:rPr kumimoji="1" lang="en-US" altLang="zh-CN" sz="1200" dirty="0">
                  <a:solidFill>
                    <a:schemeClr val="tx1"/>
                  </a:solidFill>
                  <a:latin typeface="Arial" panose="020B0604020202090204" pitchFamily="34" charset="0"/>
                  <a:ea typeface="华文楷体" panose="02010600040101010101" pitchFamily="2" charset="-122"/>
                </a:rPr>
                <a:t>     more convenient to change.</a:t>
              </a:r>
              <a:endParaRPr kumimoji="1" lang="en-US" altLang="zh-CN" sz="1200" dirty="0">
                <a:solidFill>
                  <a:schemeClr val="tx1"/>
                </a:solidFill>
                <a:latin typeface="Arial" panose="020B0604020202090204" pitchFamily="34" charset="0"/>
                <a:ea typeface="华文楷体" panose="02010600040101010101" pitchFamily="2" charset="-122"/>
              </a:endParaRPr>
            </a:p>
          </p:txBody>
        </p:sp>
        <p:cxnSp>
          <p:nvCxnSpPr>
            <p:cNvPr id="48" name="直接连接符 47"/>
            <p:cNvCxnSpPr/>
            <p:nvPr>
              <p:custDataLst>
                <p:tags r:id="rId17"/>
              </p:custDataLst>
            </p:nvPr>
          </p:nvCxnSpPr>
          <p:spPr>
            <a:xfrm>
              <a:off x="9997" y="9016"/>
              <a:ext cx="800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矩形 48"/>
            <p:cNvSpPr/>
            <p:nvPr>
              <p:custDataLst>
                <p:tags r:id="rId18"/>
              </p:custDataLst>
            </p:nvPr>
          </p:nvSpPr>
          <p:spPr>
            <a:xfrm>
              <a:off x="7225" y="8766"/>
              <a:ext cx="3166" cy="5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cxnSp>
          <p:nvCxnSpPr>
            <p:cNvPr id="50" name="直接连接符 49"/>
            <p:cNvCxnSpPr/>
            <p:nvPr>
              <p:custDataLst>
                <p:tags r:id="rId19"/>
              </p:custDataLst>
            </p:nvPr>
          </p:nvCxnSpPr>
          <p:spPr>
            <a:xfrm>
              <a:off x="6651" y="9016"/>
              <a:ext cx="800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矩形: 对角圆角 11"/>
            <p:cNvSpPr/>
            <p:nvPr>
              <p:custDataLst>
                <p:tags r:id="rId20"/>
              </p:custDataLst>
            </p:nvPr>
          </p:nvSpPr>
          <p:spPr>
            <a:xfrm>
              <a:off x="1746" y="8410"/>
              <a:ext cx="5041" cy="1326"/>
            </a:xfrm>
            <a:prstGeom prst="round2DiagRect">
              <a:avLst/>
            </a:prstGeom>
            <a:solidFill>
              <a:schemeClr val="tx2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sp>
          <p:nvSpPr>
            <p:cNvPr id="53" name="文本框 52"/>
            <p:cNvSpPr txBox="1"/>
            <p:nvPr>
              <p:custDataLst>
                <p:tags r:id="rId21"/>
              </p:custDataLst>
            </p:nvPr>
          </p:nvSpPr>
          <p:spPr>
            <a:xfrm>
              <a:off x="1746" y="8624"/>
              <a:ext cx="3624" cy="8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algn="ctr">
                <a:lnSpc>
                  <a:spcPct val="130000"/>
                </a:lnSpc>
              </a:pPr>
              <a:r>
                <a:rPr kumimoji="1" lang="en-US" altLang="zh-CN" sz="1200" dirty="0">
                  <a:solidFill>
                    <a:schemeClr val="tx1"/>
                  </a:solidFill>
                  <a:latin typeface="Arial" panose="020B0604020202090204" pitchFamily="34" charset="0"/>
                  <a:ea typeface="华文楷体" panose="02010600040101010101" pitchFamily="2" charset="-122"/>
                </a:rPr>
                <a:t>Theme color makes PPT</a:t>
              </a:r>
              <a:endParaRPr kumimoji="1" lang="en-US" altLang="zh-CN" sz="1200" dirty="0">
                <a:solidFill>
                  <a:schemeClr val="tx1"/>
                </a:solidFill>
                <a:latin typeface="Arial" panose="020B0604020202090204" pitchFamily="34" charset="0"/>
                <a:ea typeface="华文楷体" panose="02010600040101010101" pitchFamily="2" charset="-122"/>
              </a:endParaRPr>
            </a:p>
            <a:p>
              <a:pPr algn="ctr">
                <a:lnSpc>
                  <a:spcPct val="130000"/>
                </a:lnSpc>
              </a:pPr>
              <a:r>
                <a:rPr kumimoji="1" lang="en-US" altLang="zh-CN" sz="1200" dirty="0">
                  <a:solidFill>
                    <a:schemeClr val="tx1"/>
                  </a:solidFill>
                  <a:latin typeface="Arial" panose="020B0604020202090204" pitchFamily="34" charset="0"/>
                  <a:ea typeface="华文楷体" panose="02010600040101010101" pitchFamily="2" charset="-122"/>
                </a:rPr>
                <a:t>     more convenient to change.</a:t>
              </a:r>
              <a:endParaRPr kumimoji="1" lang="en-US" altLang="zh-CN" sz="1200" dirty="0">
                <a:solidFill>
                  <a:schemeClr val="tx1"/>
                </a:solidFill>
                <a:latin typeface="Arial" panose="020B0604020202090204" pitchFamily="34" charset="0"/>
                <a:ea typeface="华文楷体" panose="02010600040101010101" pitchFamily="2" charset="-122"/>
              </a:endParaRPr>
            </a:p>
          </p:txBody>
        </p:sp>
      </p:grpSp>
      <p:grpSp>
        <p:nvGrpSpPr>
          <p:cNvPr id="54" name="组合 53"/>
          <p:cNvGrpSpPr/>
          <p:nvPr/>
        </p:nvGrpSpPr>
        <p:grpSpPr>
          <a:xfrm>
            <a:off x="1108710" y="1981835"/>
            <a:ext cx="8841105" cy="842010"/>
            <a:chOff x="1746" y="8410"/>
            <a:chExt cx="13923" cy="1326"/>
          </a:xfrm>
        </p:grpSpPr>
        <p:sp>
          <p:nvSpPr>
            <p:cNvPr id="55" name="矩形: 对角圆角 11"/>
            <p:cNvSpPr/>
            <p:nvPr>
              <p:custDataLst>
                <p:tags r:id="rId22"/>
              </p:custDataLst>
            </p:nvPr>
          </p:nvSpPr>
          <p:spPr>
            <a:xfrm>
              <a:off x="10629" y="8410"/>
              <a:ext cx="5041" cy="1326"/>
            </a:xfrm>
            <a:prstGeom prst="round2DiagRect">
              <a:avLst/>
            </a:prstGeom>
            <a:solidFill>
              <a:schemeClr val="tx2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sp>
          <p:nvSpPr>
            <p:cNvPr id="56" name="文本框 55"/>
            <p:cNvSpPr txBox="1"/>
            <p:nvPr>
              <p:custDataLst>
                <p:tags r:id="rId23"/>
              </p:custDataLst>
            </p:nvPr>
          </p:nvSpPr>
          <p:spPr>
            <a:xfrm>
              <a:off x="10629" y="8624"/>
              <a:ext cx="3624" cy="8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algn="ctr">
                <a:lnSpc>
                  <a:spcPct val="130000"/>
                </a:lnSpc>
              </a:pPr>
              <a:r>
                <a:rPr kumimoji="1" lang="en-US" altLang="zh-CN" sz="1200" dirty="0">
                  <a:solidFill>
                    <a:schemeClr val="tx1"/>
                  </a:solidFill>
                  <a:latin typeface="Arial" panose="020B0604020202090204" pitchFamily="34" charset="0"/>
                  <a:ea typeface="华文楷体" panose="02010600040101010101" pitchFamily="2" charset="-122"/>
                </a:rPr>
                <a:t>Theme color makes PPT</a:t>
              </a:r>
              <a:endParaRPr kumimoji="1" lang="en-US" altLang="zh-CN" sz="1200" dirty="0">
                <a:solidFill>
                  <a:schemeClr val="tx1"/>
                </a:solidFill>
                <a:latin typeface="Arial" panose="020B0604020202090204" pitchFamily="34" charset="0"/>
                <a:ea typeface="华文楷体" panose="02010600040101010101" pitchFamily="2" charset="-122"/>
              </a:endParaRPr>
            </a:p>
            <a:p>
              <a:pPr algn="ctr">
                <a:lnSpc>
                  <a:spcPct val="130000"/>
                </a:lnSpc>
              </a:pPr>
              <a:r>
                <a:rPr kumimoji="1" lang="en-US" altLang="zh-CN" sz="1200" dirty="0">
                  <a:solidFill>
                    <a:schemeClr val="tx1"/>
                  </a:solidFill>
                  <a:latin typeface="Arial" panose="020B0604020202090204" pitchFamily="34" charset="0"/>
                  <a:ea typeface="华文楷体" panose="02010600040101010101" pitchFamily="2" charset="-122"/>
                </a:rPr>
                <a:t>     more convenient to change.</a:t>
              </a:r>
              <a:endParaRPr kumimoji="1" lang="en-US" altLang="zh-CN" sz="1200" dirty="0">
                <a:solidFill>
                  <a:schemeClr val="tx1"/>
                </a:solidFill>
                <a:latin typeface="Arial" panose="020B0604020202090204" pitchFamily="34" charset="0"/>
                <a:ea typeface="华文楷体" panose="02010600040101010101" pitchFamily="2" charset="-122"/>
              </a:endParaRPr>
            </a:p>
          </p:txBody>
        </p:sp>
        <p:cxnSp>
          <p:nvCxnSpPr>
            <p:cNvPr id="58" name="直接连接符 57"/>
            <p:cNvCxnSpPr/>
            <p:nvPr>
              <p:custDataLst>
                <p:tags r:id="rId24"/>
              </p:custDataLst>
            </p:nvPr>
          </p:nvCxnSpPr>
          <p:spPr>
            <a:xfrm>
              <a:off x="9997" y="9016"/>
              <a:ext cx="800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矩形 59"/>
            <p:cNvSpPr/>
            <p:nvPr>
              <p:custDataLst>
                <p:tags r:id="rId25"/>
              </p:custDataLst>
            </p:nvPr>
          </p:nvSpPr>
          <p:spPr>
            <a:xfrm>
              <a:off x="7225" y="8766"/>
              <a:ext cx="3166" cy="5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cxnSp>
          <p:nvCxnSpPr>
            <p:cNvPr id="62" name="直接连接符 61"/>
            <p:cNvCxnSpPr/>
            <p:nvPr>
              <p:custDataLst>
                <p:tags r:id="rId26"/>
              </p:custDataLst>
            </p:nvPr>
          </p:nvCxnSpPr>
          <p:spPr>
            <a:xfrm>
              <a:off x="6651" y="9016"/>
              <a:ext cx="800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矩形: 对角圆角 11"/>
            <p:cNvSpPr/>
            <p:nvPr>
              <p:custDataLst>
                <p:tags r:id="rId27"/>
              </p:custDataLst>
            </p:nvPr>
          </p:nvSpPr>
          <p:spPr>
            <a:xfrm>
              <a:off x="1746" y="8410"/>
              <a:ext cx="5041" cy="1326"/>
            </a:xfrm>
            <a:prstGeom prst="round2DiagRect">
              <a:avLst/>
            </a:prstGeom>
            <a:solidFill>
              <a:schemeClr val="tx2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sp>
          <p:nvSpPr>
            <p:cNvPr id="65" name="文本框 64"/>
            <p:cNvSpPr txBox="1"/>
            <p:nvPr>
              <p:custDataLst>
                <p:tags r:id="rId28"/>
              </p:custDataLst>
            </p:nvPr>
          </p:nvSpPr>
          <p:spPr>
            <a:xfrm>
              <a:off x="1746" y="8624"/>
              <a:ext cx="3624" cy="8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algn="ctr">
                <a:lnSpc>
                  <a:spcPct val="130000"/>
                </a:lnSpc>
              </a:pPr>
              <a:r>
                <a:rPr kumimoji="1" lang="en-US" altLang="zh-CN" sz="1200" dirty="0">
                  <a:solidFill>
                    <a:schemeClr val="tx1"/>
                  </a:solidFill>
                  <a:latin typeface="Arial" panose="020B0604020202090204" pitchFamily="34" charset="0"/>
                  <a:ea typeface="华文楷体" panose="02010600040101010101" pitchFamily="2" charset="-122"/>
                </a:rPr>
                <a:t>Theme color makes PPT</a:t>
              </a:r>
              <a:endParaRPr kumimoji="1" lang="en-US" altLang="zh-CN" sz="1200" dirty="0">
                <a:solidFill>
                  <a:schemeClr val="tx1"/>
                </a:solidFill>
                <a:latin typeface="Arial" panose="020B0604020202090204" pitchFamily="34" charset="0"/>
                <a:ea typeface="华文楷体" panose="02010600040101010101" pitchFamily="2" charset="-122"/>
              </a:endParaRPr>
            </a:p>
            <a:p>
              <a:pPr algn="ctr">
                <a:lnSpc>
                  <a:spcPct val="130000"/>
                </a:lnSpc>
              </a:pPr>
              <a:r>
                <a:rPr kumimoji="1" lang="en-US" altLang="zh-CN" sz="1200" dirty="0">
                  <a:solidFill>
                    <a:schemeClr val="tx1"/>
                  </a:solidFill>
                  <a:latin typeface="Arial" panose="020B0604020202090204" pitchFamily="34" charset="0"/>
                  <a:ea typeface="华文楷体" panose="02010600040101010101" pitchFamily="2" charset="-122"/>
                </a:rPr>
                <a:t>     more convenient to change.</a:t>
              </a:r>
              <a:endParaRPr kumimoji="1" lang="en-US" altLang="zh-CN" sz="1200" dirty="0">
                <a:solidFill>
                  <a:schemeClr val="tx1"/>
                </a:solidFill>
                <a:latin typeface="Arial" panose="020B0604020202090204" pitchFamily="34" charset="0"/>
                <a:ea typeface="华文楷体" panose="02010600040101010101" pitchFamily="2" charset="-122"/>
              </a:endParaRPr>
            </a:p>
          </p:txBody>
        </p:sp>
      </p:grpSp>
      <p:grpSp>
        <p:nvGrpSpPr>
          <p:cNvPr id="66" name="组合 65"/>
          <p:cNvGrpSpPr/>
          <p:nvPr/>
        </p:nvGrpSpPr>
        <p:grpSpPr>
          <a:xfrm>
            <a:off x="1108075" y="1261745"/>
            <a:ext cx="8841740" cy="466725"/>
            <a:chOff x="1746" y="8715"/>
            <a:chExt cx="13924" cy="735"/>
          </a:xfrm>
        </p:grpSpPr>
        <p:sp>
          <p:nvSpPr>
            <p:cNvPr id="68" name="矩形: 对角圆角 11"/>
            <p:cNvSpPr/>
            <p:nvPr>
              <p:custDataLst>
                <p:tags r:id="rId29"/>
              </p:custDataLst>
            </p:nvPr>
          </p:nvSpPr>
          <p:spPr>
            <a:xfrm>
              <a:off x="10629" y="8715"/>
              <a:ext cx="5041" cy="735"/>
            </a:xfrm>
            <a:prstGeom prst="round2DiagRect">
              <a:avLst/>
            </a:prstGeom>
            <a:solidFill>
              <a:schemeClr val="tx2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sp>
          <p:nvSpPr>
            <p:cNvPr id="70" name="文本框 69"/>
            <p:cNvSpPr txBox="1"/>
            <p:nvPr>
              <p:custDataLst>
                <p:tags r:id="rId30"/>
              </p:custDataLst>
            </p:nvPr>
          </p:nvSpPr>
          <p:spPr>
            <a:xfrm>
              <a:off x="11337" y="8853"/>
              <a:ext cx="3624" cy="5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algn="ctr">
                <a:lnSpc>
                  <a:spcPct val="130000"/>
                </a:lnSpc>
              </a:pPr>
              <a:r>
                <a:rPr kumimoji="1" lang="zh-CN" altLang="en-US" sz="1200" dirty="0">
                  <a:solidFill>
                    <a:schemeClr val="tx1"/>
                  </a:solidFill>
                  <a:latin typeface="Arial" panose="020B0604020202090204" pitchFamily="34" charset="0"/>
                  <a:ea typeface="华文楷体" panose="02010600040101010101" pitchFamily="2" charset="-122"/>
                </a:rPr>
                <a:t>复杂</a:t>
              </a:r>
              <a:r>
                <a:rPr kumimoji="1" lang="zh-CN" altLang="en-US" sz="1200" dirty="0">
                  <a:solidFill>
                    <a:schemeClr val="tx1"/>
                  </a:solidFill>
                  <a:latin typeface="Arial" panose="020B0604020202090204" pitchFamily="34" charset="0"/>
                  <a:ea typeface="华文楷体" panose="02010600040101010101" pitchFamily="2" charset="-122"/>
                </a:rPr>
                <a:t>项目</a:t>
              </a:r>
              <a:endParaRPr kumimoji="1" lang="zh-CN" altLang="en-US" sz="1200" dirty="0">
                <a:solidFill>
                  <a:schemeClr val="tx1"/>
                </a:solidFill>
                <a:latin typeface="Arial" panose="020B0604020202090204" pitchFamily="34" charset="0"/>
                <a:ea typeface="华文楷体" panose="02010600040101010101" pitchFamily="2" charset="-122"/>
              </a:endParaRPr>
            </a:p>
          </p:txBody>
        </p:sp>
        <p:cxnSp>
          <p:nvCxnSpPr>
            <p:cNvPr id="72" name="直接连接符 71"/>
            <p:cNvCxnSpPr/>
            <p:nvPr>
              <p:custDataLst>
                <p:tags r:id="rId31"/>
              </p:custDataLst>
            </p:nvPr>
          </p:nvCxnSpPr>
          <p:spPr>
            <a:xfrm>
              <a:off x="9997" y="9016"/>
              <a:ext cx="800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矩形 72"/>
            <p:cNvSpPr/>
            <p:nvPr>
              <p:custDataLst>
                <p:tags r:id="rId32"/>
              </p:custDataLst>
            </p:nvPr>
          </p:nvSpPr>
          <p:spPr>
            <a:xfrm>
              <a:off x="7225" y="8766"/>
              <a:ext cx="3166" cy="5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cxnSp>
          <p:nvCxnSpPr>
            <p:cNvPr id="74" name="直接连接符 73"/>
            <p:cNvCxnSpPr/>
            <p:nvPr>
              <p:custDataLst>
                <p:tags r:id="rId33"/>
              </p:custDataLst>
            </p:nvPr>
          </p:nvCxnSpPr>
          <p:spPr>
            <a:xfrm>
              <a:off x="6651" y="9016"/>
              <a:ext cx="800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5" name="矩形: 对角圆角 11"/>
            <p:cNvSpPr/>
            <p:nvPr>
              <p:custDataLst>
                <p:tags r:id="rId34"/>
              </p:custDataLst>
            </p:nvPr>
          </p:nvSpPr>
          <p:spPr>
            <a:xfrm>
              <a:off x="1746" y="8733"/>
              <a:ext cx="5041" cy="703"/>
            </a:xfrm>
            <a:prstGeom prst="round2DiagRect">
              <a:avLst/>
            </a:prstGeom>
            <a:solidFill>
              <a:schemeClr val="tx2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sp>
          <p:nvSpPr>
            <p:cNvPr id="76" name="文本框 75"/>
            <p:cNvSpPr txBox="1"/>
            <p:nvPr>
              <p:custDataLst>
                <p:tags r:id="rId35"/>
              </p:custDataLst>
            </p:nvPr>
          </p:nvSpPr>
          <p:spPr>
            <a:xfrm>
              <a:off x="2242" y="8834"/>
              <a:ext cx="3624" cy="5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algn="ctr">
                <a:lnSpc>
                  <a:spcPct val="130000"/>
                </a:lnSpc>
              </a:pPr>
              <a:r>
                <a:rPr kumimoji="1" lang="zh-CN" altLang="en-US" sz="1200" dirty="0">
                  <a:solidFill>
                    <a:schemeClr val="tx1"/>
                  </a:solidFill>
                  <a:latin typeface="Arial" panose="020B0604020202090204" pitchFamily="34" charset="0"/>
                  <a:ea typeface="华文楷体" panose="02010600040101010101" pitchFamily="2" charset="-122"/>
                </a:rPr>
                <a:t>简单</a:t>
              </a:r>
              <a:r>
                <a:rPr kumimoji="1" lang="zh-CN" altLang="en-US" sz="1200" dirty="0">
                  <a:solidFill>
                    <a:schemeClr val="tx1"/>
                  </a:solidFill>
                  <a:latin typeface="Arial" panose="020B0604020202090204" pitchFamily="34" charset="0"/>
                  <a:ea typeface="华文楷体" panose="02010600040101010101" pitchFamily="2" charset="-122"/>
                </a:rPr>
                <a:t>项目</a:t>
              </a:r>
              <a:endParaRPr kumimoji="1" lang="zh-CN" altLang="en-US" sz="1200" dirty="0">
                <a:solidFill>
                  <a:schemeClr val="tx1"/>
                </a:solidFill>
                <a:latin typeface="Arial" panose="020B0604020202090204" pitchFamily="34" charset="0"/>
                <a:ea typeface="华文楷体" panose="02010600040101010101" pitchFamily="2" charset="-122"/>
              </a:endParaRPr>
            </a:p>
          </p:txBody>
        </p:sp>
      </p:grpSp>
      <p:sp>
        <p:nvSpPr>
          <p:cNvPr id="78" name="文本框 77"/>
          <p:cNvSpPr txBox="1"/>
          <p:nvPr>
            <p:custDataLst>
              <p:tags r:id="rId36"/>
            </p:custDataLst>
          </p:nvPr>
        </p:nvSpPr>
        <p:spPr>
          <a:xfrm>
            <a:off x="4992019" y="5312692"/>
            <a:ext cx="1137203" cy="3432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>
              <a:lnSpc>
                <a:spcPct val="130000"/>
              </a:lnSpc>
            </a:pPr>
            <a:r>
              <a:rPr kumimoji="1" lang="en-US" altLang="zh-CN" sz="1400" b="1" dirty="0">
                <a:solidFill>
                  <a:schemeClr val="bg1"/>
                </a:solidFill>
                <a:latin typeface="Arial" panose="020B0604020202090204" pitchFamily="34" charset="0"/>
                <a:ea typeface="华文楷体" panose="02010600040101010101" pitchFamily="2" charset="-122"/>
              </a:rPr>
              <a:t>Text here</a:t>
            </a:r>
            <a:endParaRPr kumimoji="1" lang="en-US" altLang="zh-CN" sz="1400" b="1" dirty="0">
              <a:solidFill>
                <a:schemeClr val="bg1"/>
              </a:solidFill>
              <a:latin typeface="Arial" panose="020B0604020202090204" pitchFamily="34" charset="0"/>
              <a:ea typeface="华文楷体" panose="02010600040101010101" pitchFamily="2" charset="-122"/>
            </a:endParaRPr>
          </a:p>
        </p:txBody>
      </p:sp>
      <p:sp>
        <p:nvSpPr>
          <p:cNvPr id="79" name="文本框 78"/>
          <p:cNvSpPr txBox="1"/>
          <p:nvPr>
            <p:custDataLst>
              <p:tags r:id="rId37"/>
            </p:custDataLst>
          </p:nvPr>
        </p:nvSpPr>
        <p:spPr>
          <a:xfrm>
            <a:off x="4992654" y="1268377"/>
            <a:ext cx="1137203" cy="3708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kumimoji="1" lang="zh-CN" altLang="en-US" sz="1400" b="1" dirty="0">
                <a:solidFill>
                  <a:schemeClr val="bg1"/>
                </a:solidFill>
                <a:latin typeface="Arial" panose="020B0604020202090204" pitchFamily="34" charset="0"/>
                <a:ea typeface="华文楷体" panose="02010600040101010101" pitchFamily="2" charset="-122"/>
              </a:rPr>
              <a:t>配置</a:t>
            </a:r>
            <a:r>
              <a:rPr kumimoji="1" lang="zh-CN" altLang="en-US" sz="1400" b="1" dirty="0">
                <a:solidFill>
                  <a:schemeClr val="bg1"/>
                </a:solidFill>
                <a:latin typeface="Arial" panose="020B0604020202090204" pitchFamily="34" charset="0"/>
                <a:ea typeface="华文楷体" panose="02010600040101010101" pitchFamily="2" charset="-122"/>
              </a:rPr>
              <a:t>规则</a:t>
            </a:r>
            <a:endParaRPr kumimoji="1" lang="zh-CN" altLang="en-US" sz="1400" b="1" dirty="0">
              <a:solidFill>
                <a:schemeClr val="bg1"/>
              </a:solidFill>
              <a:latin typeface="Arial" panose="020B0604020202090204" pitchFamily="34" charset="0"/>
              <a:ea typeface="华文楷体" panose="02010600040101010101" pitchFamily="2" charset="-122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lide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1436075" y="1246247"/>
            <a:ext cx="9326201" cy="4444258"/>
            <a:chOff x="1436075" y="1246247"/>
            <a:chExt cx="9326201" cy="4444258"/>
          </a:xfrm>
        </p:grpSpPr>
        <p:sp>
          <p:nvSpPr>
            <p:cNvPr id="3" name="矩形: 圆角 2"/>
            <p:cNvSpPr/>
            <p:nvPr/>
          </p:nvSpPr>
          <p:spPr>
            <a:xfrm>
              <a:off x="3966117" y="1246247"/>
              <a:ext cx="4259766" cy="1338146"/>
            </a:xfrm>
            <a:prstGeom prst="roundRect">
              <a:avLst>
                <a:gd name="adj" fmla="val 50000"/>
              </a:avLst>
            </a:prstGeom>
            <a:solidFill>
              <a:schemeClr val="tx1">
                <a:lumMod val="50000"/>
                <a:lumOff val="50000"/>
                <a:alpha val="10000"/>
              </a:schemeClr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25000"/>
                <a:buFontTx/>
                <a:buNone/>
                <a:defRPr/>
              </a:pPr>
              <a:r>
                <a:rPr kumimoji="0" lang="zh-CN" alt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90204" pitchFamily="34" charset="0"/>
                  <a:ea typeface="华文楷体" panose="02010600040101010101" pitchFamily="2" charset="-122"/>
                </a:rPr>
                <a:t>构建工具层面</a:t>
              </a:r>
              <a:r>
                <a:rPr kumimoji="0" lang="zh-CN" alt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90204" pitchFamily="34" charset="0"/>
                  <a:ea typeface="华文楷体" panose="02010600040101010101" pitchFamily="2" charset="-122"/>
                </a:rPr>
                <a:t>优化</a:t>
              </a:r>
              <a:endPara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90204" pitchFamily="34" charset="0"/>
                <a:ea typeface="华文楷体" panose="02010600040101010101" pitchFamily="2" charset="-122"/>
              </a:endParaRPr>
            </a:p>
          </p:txBody>
        </p:sp>
        <p:sp>
          <p:nvSpPr>
            <p:cNvPr id="4" name="椭圆 3"/>
            <p:cNvSpPr/>
            <p:nvPr/>
          </p:nvSpPr>
          <p:spPr>
            <a:xfrm>
              <a:off x="1959640" y="3593384"/>
              <a:ext cx="1066800" cy="1066800"/>
            </a:xfrm>
            <a:prstGeom prst="ellipse">
              <a:avLst/>
            </a:prstGeom>
            <a:solidFill>
              <a:schemeClr val="tx1">
                <a:lumMod val="50000"/>
                <a:lumOff val="50000"/>
                <a:alpha val="10000"/>
              </a:schemeClr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 defTabSz="913765"/>
              <a:endParaRPr lang="zh-CN" altLang="en-US" sz="1400" b="1">
                <a:solidFill>
                  <a:schemeClr val="accent1"/>
                </a:solidFill>
              </a:endParaRPr>
            </a:p>
          </p:txBody>
        </p:sp>
        <p:sp>
          <p:nvSpPr>
            <p:cNvPr id="5" name="椭圆 4"/>
            <p:cNvSpPr/>
            <p:nvPr/>
          </p:nvSpPr>
          <p:spPr>
            <a:xfrm>
              <a:off x="5562600" y="3593384"/>
              <a:ext cx="1066800" cy="1066800"/>
            </a:xfrm>
            <a:prstGeom prst="ellipse">
              <a:avLst/>
            </a:prstGeom>
            <a:solidFill>
              <a:schemeClr val="accent1"/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 defTabSz="913765"/>
              <a:endParaRPr lang="zh-CN" altLang="en-US" sz="1400" b="1">
                <a:solidFill>
                  <a:schemeClr val="accent1"/>
                </a:solidFill>
              </a:endParaRPr>
            </a:p>
          </p:txBody>
        </p:sp>
        <p:sp>
          <p:nvSpPr>
            <p:cNvPr id="6" name="椭圆 5"/>
            <p:cNvSpPr/>
            <p:nvPr/>
          </p:nvSpPr>
          <p:spPr>
            <a:xfrm>
              <a:off x="9165560" y="3593384"/>
              <a:ext cx="1066800" cy="1066800"/>
            </a:xfrm>
            <a:prstGeom prst="ellipse">
              <a:avLst/>
            </a:prstGeom>
            <a:solidFill>
              <a:schemeClr val="tx1">
                <a:lumMod val="50000"/>
                <a:lumOff val="50000"/>
                <a:alpha val="10000"/>
              </a:schemeClr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 defTabSz="913765"/>
              <a:endParaRPr lang="zh-CN" altLang="en-US" sz="1400" b="1">
                <a:solidFill>
                  <a:schemeClr val="accent1"/>
                </a:solidFill>
              </a:endParaRPr>
            </a:p>
          </p:txBody>
        </p:sp>
        <p:cxnSp>
          <p:nvCxnSpPr>
            <p:cNvPr id="10" name="连接符: 肘形 9"/>
            <p:cNvCxnSpPr>
              <a:stCxn id="4" idx="0"/>
              <a:endCxn id="6" idx="0"/>
            </p:cNvCxnSpPr>
            <p:nvPr/>
          </p:nvCxnSpPr>
          <p:spPr>
            <a:xfrm rot="5400000" flipH="1" flipV="1">
              <a:off x="6096000" y="-9576"/>
              <a:ext cx="12700" cy="7205920"/>
            </a:xfrm>
            <a:prstGeom prst="bentConnector3">
              <a:avLst>
                <a:gd name="adj1" fmla="val 3960000"/>
              </a:avLst>
            </a:prstGeom>
            <a:ln>
              <a:solidFill>
                <a:schemeClr val="tx1">
                  <a:lumMod val="50000"/>
                  <a:lumOff val="50000"/>
                  <a:alpha val="40000"/>
                </a:schemeClr>
              </a:solidFill>
              <a:headEnd type="oval" w="sm" len="sm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直接连接符 13"/>
            <p:cNvCxnSpPr>
              <a:stCxn id="3" idx="2"/>
              <a:endCxn id="5" idx="0"/>
            </p:cNvCxnSpPr>
            <p:nvPr/>
          </p:nvCxnSpPr>
          <p:spPr>
            <a:xfrm>
              <a:off x="6096000" y="2584393"/>
              <a:ext cx="0" cy="1008991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  <a:alpha val="40000"/>
                </a:schemeClr>
              </a:solidFill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文本框 16"/>
            <p:cNvSpPr txBox="1"/>
            <p:nvPr/>
          </p:nvSpPr>
          <p:spPr>
            <a:xfrm>
              <a:off x="1436075" y="4796485"/>
              <a:ext cx="2113931" cy="3371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600" b="1" dirty="0">
                  <a:latin typeface="Arial" panose="020B0604020202090204" pitchFamily="34" charset="0"/>
                  <a:ea typeface="华文楷体" panose="02010600040101010101" pitchFamily="2" charset="-122"/>
                </a:rPr>
                <a:t>减少冗余</a:t>
              </a:r>
              <a:r>
                <a:rPr lang="zh-CN" altLang="en-US" sz="1600" b="1" dirty="0">
                  <a:latin typeface="Arial" panose="020B0604020202090204" pitchFamily="34" charset="0"/>
                  <a:ea typeface="华文楷体" panose="02010600040101010101" pitchFamily="2" charset="-122"/>
                </a:rPr>
                <a:t>代码</a:t>
              </a:r>
              <a:endParaRPr lang="zh-CN" altLang="en-US" sz="1600" b="1" dirty="0">
                <a:latin typeface="Arial" panose="020B0604020202090204" pitchFamily="34" charset="0"/>
                <a:ea typeface="华文楷体" panose="02010600040101010101" pitchFamily="2" charset="-122"/>
              </a:endParaRPr>
            </a:p>
          </p:txBody>
        </p:sp>
        <p:sp>
          <p:nvSpPr>
            <p:cNvPr id="18" name="文本框 17"/>
            <p:cNvSpPr txBox="1"/>
            <p:nvPr/>
          </p:nvSpPr>
          <p:spPr>
            <a:xfrm>
              <a:off x="1436075" y="5137420"/>
              <a:ext cx="2113930" cy="5530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>
                <a:lnSpc>
                  <a:spcPct val="150000"/>
                </a:lnSpc>
              </a:pPr>
              <a:r>
                <a:rPr lang="zh-CN" altLang="en-US" sz="1000" dirty="0">
                  <a:latin typeface="Arial" panose="020B0604020202090204" pitchFamily="34" charset="0"/>
                  <a:ea typeface="华文楷体" panose="02010600040101010101" pitchFamily="2" charset="-122"/>
                </a:rPr>
                <a:t>通过</a:t>
              </a:r>
              <a:r>
                <a:rPr lang="en-US" altLang="zh-CN" sz="1000" dirty="0">
                  <a:latin typeface="Arial" panose="020B0604020202090204" pitchFamily="34" charset="0"/>
                  <a:ea typeface="华文楷体" panose="02010600040101010101" pitchFamily="2" charset="-122"/>
                </a:rPr>
                <a:t> TreeShaking </a:t>
              </a:r>
              <a:r>
                <a:rPr lang="zh-CN" altLang="en-US" sz="1000" dirty="0">
                  <a:latin typeface="Arial" panose="020B0604020202090204" pitchFamily="34" charset="0"/>
                  <a:ea typeface="华文楷体" panose="02010600040101010101" pitchFamily="2" charset="-122"/>
                </a:rPr>
                <a:t>消除无用代码，减少代码</a:t>
              </a:r>
              <a:r>
                <a:rPr lang="zh-CN" altLang="en-US" sz="1000" dirty="0">
                  <a:latin typeface="Arial" panose="020B0604020202090204" pitchFamily="34" charset="0"/>
                  <a:ea typeface="华文楷体" panose="02010600040101010101" pitchFamily="2" charset="-122"/>
                </a:rPr>
                <a:t>体积</a:t>
              </a:r>
              <a:endParaRPr lang="zh-CN" altLang="en-US" sz="1000" dirty="0">
                <a:latin typeface="Arial" panose="020B0604020202090204" pitchFamily="34" charset="0"/>
                <a:ea typeface="华文楷体" panose="02010600040101010101" pitchFamily="2" charset="-122"/>
              </a:endParaRPr>
            </a:p>
          </p:txBody>
        </p:sp>
        <p:sp>
          <p:nvSpPr>
            <p:cNvPr id="21" name="文本框 20"/>
            <p:cNvSpPr txBox="1"/>
            <p:nvPr/>
          </p:nvSpPr>
          <p:spPr>
            <a:xfrm>
              <a:off x="5039035" y="4796485"/>
              <a:ext cx="2113931" cy="3371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600" b="1" dirty="0">
                  <a:latin typeface="Arial" panose="020B0604020202090204" pitchFamily="34" charset="0"/>
                  <a:ea typeface="华文楷体" panose="02010600040101010101" pitchFamily="2" charset="-122"/>
                </a:rPr>
                <a:t>代码分割</a:t>
              </a:r>
              <a:endParaRPr lang="zh-CN" altLang="en-US" sz="1600" b="1" dirty="0">
                <a:latin typeface="Arial" panose="020B0604020202090204" pitchFamily="34" charset="0"/>
                <a:ea typeface="华文楷体" panose="02010600040101010101" pitchFamily="2" charset="-122"/>
              </a:endParaRPr>
            </a:p>
          </p:txBody>
        </p:sp>
        <p:sp>
          <p:nvSpPr>
            <p:cNvPr id="22" name="文本框 21"/>
            <p:cNvSpPr txBox="1"/>
            <p:nvPr/>
          </p:nvSpPr>
          <p:spPr>
            <a:xfrm>
              <a:off x="5039035" y="5137420"/>
              <a:ext cx="2113930" cy="5254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000" dirty="0">
                  <a:latin typeface="Arial" panose="020B0604020202090204" pitchFamily="34" charset="0"/>
                  <a:ea typeface="华文楷体" panose="02010600040101010101" pitchFamily="2" charset="-122"/>
                </a:rPr>
                <a:t>Theme color makes PPT more convenient to change. </a:t>
              </a:r>
              <a:endParaRPr lang="en-US" altLang="zh-CN" sz="1000" dirty="0">
                <a:latin typeface="Arial" panose="020B0604020202090204" pitchFamily="34" charset="0"/>
                <a:ea typeface="华文楷体" panose="02010600040101010101" pitchFamily="2" charset="-122"/>
              </a:endParaRPr>
            </a:p>
          </p:txBody>
        </p:sp>
        <p:sp>
          <p:nvSpPr>
            <p:cNvPr id="23" name="文本框 22"/>
            <p:cNvSpPr txBox="1"/>
            <p:nvPr/>
          </p:nvSpPr>
          <p:spPr>
            <a:xfrm>
              <a:off x="8648345" y="4796485"/>
              <a:ext cx="2113931" cy="3371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600" b="1" dirty="0">
                  <a:latin typeface="Arial" panose="020B0604020202090204" pitchFamily="34" charset="0"/>
                  <a:ea typeface="华文楷体" panose="02010600040101010101" pitchFamily="2" charset="-122"/>
                </a:rPr>
                <a:t>按需引入</a:t>
              </a:r>
              <a:endParaRPr lang="zh-CN" altLang="en-US" sz="1600" b="1" dirty="0">
                <a:latin typeface="Arial" panose="020B0604020202090204" pitchFamily="34" charset="0"/>
                <a:ea typeface="华文楷体" panose="02010600040101010101" pitchFamily="2" charset="-122"/>
              </a:endParaRPr>
            </a:p>
          </p:txBody>
        </p:sp>
        <p:sp>
          <p:nvSpPr>
            <p:cNvPr id="24" name="文本框 23"/>
            <p:cNvSpPr txBox="1"/>
            <p:nvPr/>
          </p:nvSpPr>
          <p:spPr>
            <a:xfrm>
              <a:off x="8648345" y="5137420"/>
              <a:ext cx="2113930" cy="5254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000" dirty="0">
                  <a:latin typeface="Arial" panose="020B0604020202090204" pitchFamily="34" charset="0"/>
                  <a:ea typeface="华文楷体" panose="02010600040101010101" pitchFamily="2" charset="-122"/>
                </a:rPr>
                <a:t>Theme color makes PPT more convenient to change. </a:t>
              </a:r>
              <a:endParaRPr lang="en-US" altLang="zh-CN" sz="1000" dirty="0">
                <a:latin typeface="Arial" panose="020B0604020202090204" pitchFamily="34" charset="0"/>
                <a:ea typeface="华文楷体" panose="02010600040101010101" pitchFamily="2" charset="-122"/>
              </a:endParaRPr>
            </a:p>
          </p:txBody>
        </p:sp>
        <p:sp>
          <p:nvSpPr>
            <p:cNvPr id="25" name="任意多边形: 形状 24"/>
            <p:cNvSpPr/>
            <p:nvPr/>
          </p:nvSpPr>
          <p:spPr>
            <a:xfrm>
              <a:off x="2340728" y="3977194"/>
              <a:ext cx="304624" cy="299180"/>
            </a:xfrm>
            <a:custGeom>
              <a:avLst/>
              <a:gdLst>
                <a:gd name="connsiteX0" fmla="*/ 343764 w 533400"/>
                <a:gd name="connsiteY0" fmla="*/ 276846 h 523875"/>
                <a:gd name="connsiteX1" fmla="*/ 372339 w 533400"/>
                <a:gd name="connsiteY1" fmla="*/ 305421 h 523875"/>
                <a:gd name="connsiteX2" fmla="*/ 372339 w 533400"/>
                <a:gd name="connsiteY2" fmla="*/ 495921 h 523875"/>
                <a:gd name="connsiteX3" fmla="*/ 343764 w 533400"/>
                <a:gd name="connsiteY3" fmla="*/ 524496 h 523875"/>
                <a:gd name="connsiteX4" fmla="*/ 191364 w 533400"/>
                <a:gd name="connsiteY4" fmla="*/ 524496 h 523875"/>
                <a:gd name="connsiteX5" fmla="*/ 162789 w 533400"/>
                <a:gd name="connsiteY5" fmla="*/ 495921 h 523875"/>
                <a:gd name="connsiteX6" fmla="*/ 162789 w 533400"/>
                <a:gd name="connsiteY6" fmla="*/ 305421 h 523875"/>
                <a:gd name="connsiteX7" fmla="*/ 191364 w 533400"/>
                <a:gd name="connsiteY7" fmla="*/ 276846 h 523875"/>
                <a:gd name="connsiteX8" fmla="*/ 343764 w 533400"/>
                <a:gd name="connsiteY8" fmla="*/ 276846 h 523875"/>
                <a:gd name="connsiteX9" fmla="*/ 143739 w 533400"/>
                <a:gd name="connsiteY9" fmla="*/ 114921 h 523875"/>
                <a:gd name="connsiteX10" fmla="*/ 179934 w 533400"/>
                <a:gd name="connsiteY10" fmla="*/ 153021 h 523875"/>
                <a:gd name="connsiteX11" fmla="*/ 181839 w 533400"/>
                <a:gd name="connsiteY11" fmla="*/ 153021 h 523875"/>
                <a:gd name="connsiteX12" fmla="*/ 353289 w 533400"/>
                <a:gd name="connsiteY12" fmla="*/ 153021 h 523875"/>
                <a:gd name="connsiteX13" fmla="*/ 391389 w 533400"/>
                <a:gd name="connsiteY13" fmla="*/ 116826 h 523875"/>
                <a:gd name="connsiteX14" fmla="*/ 391389 w 533400"/>
                <a:gd name="connsiteY14" fmla="*/ 114921 h 523875"/>
                <a:gd name="connsiteX15" fmla="*/ 505689 w 533400"/>
                <a:gd name="connsiteY15" fmla="*/ 114921 h 523875"/>
                <a:gd name="connsiteX16" fmla="*/ 534264 w 533400"/>
                <a:gd name="connsiteY16" fmla="*/ 143496 h 523875"/>
                <a:gd name="connsiteX17" fmla="*/ 534264 w 533400"/>
                <a:gd name="connsiteY17" fmla="*/ 381621 h 523875"/>
                <a:gd name="connsiteX18" fmla="*/ 505689 w 533400"/>
                <a:gd name="connsiteY18" fmla="*/ 410196 h 523875"/>
                <a:gd name="connsiteX19" fmla="*/ 391389 w 533400"/>
                <a:gd name="connsiteY19" fmla="*/ 410196 h 523875"/>
                <a:gd name="connsiteX20" fmla="*/ 391389 w 533400"/>
                <a:gd name="connsiteY20" fmla="*/ 295896 h 523875"/>
                <a:gd name="connsiteX21" fmla="*/ 355194 w 533400"/>
                <a:gd name="connsiteY21" fmla="*/ 257796 h 523875"/>
                <a:gd name="connsiteX22" fmla="*/ 353289 w 533400"/>
                <a:gd name="connsiteY22" fmla="*/ 257796 h 523875"/>
                <a:gd name="connsiteX23" fmla="*/ 181839 w 533400"/>
                <a:gd name="connsiteY23" fmla="*/ 257796 h 523875"/>
                <a:gd name="connsiteX24" fmla="*/ 143739 w 533400"/>
                <a:gd name="connsiteY24" fmla="*/ 293991 h 523875"/>
                <a:gd name="connsiteX25" fmla="*/ 143739 w 533400"/>
                <a:gd name="connsiteY25" fmla="*/ 295896 h 523875"/>
                <a:gd name="connsiteX26" fmla="*/ 143739 w 533400"/>
                <a:gd name="connsiteY26" fmla="*/ 410196 h 523875"/>
                <a:gd name="connsiteX27" fmla="*/ 29439 w 533400"/>
                <a:gd name="connsiteY27" fmla="*/ 410196 h 523875"/>
                <a:gd name="connsiteX28" fmla="*/ 864 w 533400"/>
                <a:gd name="connsiteY28" fmla="*/ 381621 h 523875"/>
                <a:gd name="connsiteX29" fmla="*/ 864 w 533400"/>
                <a:gd name="connsiteY29" fmla="*/ 201408 h 523875"/>
                <a:gd name="connsiteX30" fmla="*/ 11151 w 533400"/>
                <a:gd name="connsiteY30" fmla="*/ 175405 h 523875"/>
                <a:gd name="connsiteX31" fmla="*/ 56300 w 533400"/>
                <a:gd name="connsiteY31" fmla="*/ 127018 h 523875"/>
                <a:gd name="connsiteX32" fmla="*/ 84112 w 533400"/>
                <a:gd name="connsiteY32" fmla="*/ 114921 h 523875"/>
                <a:gd name="connsiteX33" fmla="*/ 143739 w 533400"/>
                <a:gd name="connsiteY33" fmla="*/ 114921 h 523875"/>
                <a:gd name="connsiteX34" fmla="*/ 462827 w 533400"/>
                <a:gd name="connsiteY34" fmla="*/ 172071 h 523875"/>
                <a:gd name="connsiteX35" fmla="*/ 448539 w 533400"/>
                <a:gd name="connsiteY35" fmla="*/ 186359 h 523875"/>
                <a:gd name="connsiteX36" fmla="*/ 462827 w 533400"/>
                <a:gd name="connsiteY36" fmla="*/ 200646 h 523875"/>
                <a:gd name="connsiteX37" fmla="*/ 477114 w 533400"/>
                <a:gd name="connsiteY37" fmla="*/ 186359 h 523875"/>
                <a:gd name="connsiteX38" fmla="*/ 462827 w 533400"/>
                <a:gd name="connsiteY38" fmla="*/ 172071 h 523875"/>
                <a:gd name="connsiteX39" fmla="*/ 343764 w 533400"/>
                <a:gd name="connsiteY39" fmla="*/ 621 h 523875"/>
                <a:gd name="connsiteX40" fmla="*/ 372339 w 533400"/>
                <a:gd name="connsiteY40" fmla="*/ 29196 h 523875"/>
                <a:gd name="connsiteX41" fmla="*/ 372339 w 533400"/>
                <a:gd name="connsiteY41" fmla="*/ 105396 h 523875"/>
                <a:gd name="connsiteX42" fmla="*/ 343764 w 533400"/>
                <a:gd name="connsiteY42" fmla="*/ 133971 h 523875"/>
                <a:gd name="connsiteX43" fmla="*/ 191364 w 533400"/>
                <a:gd name="connsiteY43" fmla="*/ 133971 h 523875"/>
                <a:gd name="connsiteX44" fmla="*/ 162789 w 533400"/>
                <a:gd name="connsiteY44" fmla="*/ 105396 h 523875"/>
                <a:gd name="connsiteX45" fmla="*/ 162789 w 533400"/>
                <a:gd name="connsiteY45" fmla="*/ 29196 h 523875"/>
                <a:gd name="connsiteX46" fmla="*/ 191364 w 533400"/>
                <a:gd name="connsiteY46" fmla="*/ 621 h 523875"/>
                <a:gd name="connsiteX47" fmla="*/ 343764 w 533400"/>
                <a:gd name="connsiteY47" fmla="*/ 621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533400" h="523875">
                  <a:moveTo>
                    <a:pt x="343764" y="276846"/>
                  </a:moveTo>
                  <a:cubicBezTo>
                    <a:pt x="359576" y="276846"/>
                    <a:pt x="372339" y="289610"/>
                    <a:pt x="372339" y="305421"/>
                  </a:cubicBezTo>
                  <a:lnTo>
                    <a:pt x="372339" y="495921"/>
                  </a:lnTo>
                  <a:cubicBezTo>
                    <a:pt x="372339" y="511732"/>
                    <a:pt x="359576" y="524496"/>
                    <a:pt x="343764" y="524496"/>
                  </a:cubicBezTo>
                  <a:lnTo>
                    <a:pt x="191364" y="524496"/>
                  </a:lnTo>
                  <a:cubicBezTo>
                    <a:pt x="175552" y="524496"/>
                    <a:pt x="162789" y="511732"/>
                    <a:pt x="162789" y="495921"/>
                  </a:cubicBezTo>
                  <a:lnTo>
                    <a:pt x="162789" y="305421"/>
                  </a:lnTo>
                  <a:cubicBezTo>
                    <a:pt x="162789" y="289610"/>
                    <a:pt x="175552" y="276846"/>
                    <a:pt x="191364" y="276846"/>
                  </a:cubicBezTo>
                  <a:lnTo>
                    <a:pt x="343764" y="276846"/>
                  </a:lnTo>
                  <a:close/>
                  <a:moveTo>
                    <a:pt x="143739" y="114921"/>
                  </a:moveTo>
                  <a:cubicBezTo>
                    <a:pt x="143739" y="135305"/>
                    <a:pt x="159741" y="151973"/>
                    <a:pt x="179934" y="153021"/>
                  </a:cubicBezTo>
                  <a:lnTo>
                    <a:pt x="181839" y="153021"/>
                  </a:lnTo>
                  <a:lnTo>
                    <a:pt x="353289" y="153021"/>
                  </a:lnTo>
                  <a:cubicBezTo>
                    <a:pt x="373673" y="153021"/>
                    <a:pt x="390341" y="137019"/>
                    <a:pt x="391389" y="116826"/>
                  </a:cubicBezTo>
                  <a:lnTo>
                    <a:pt x="391389" y="114921"/>
                  </a:lnTo>
                  <a:lnTo>
                    <a:pt x="505689" y="114921"/>
                  </a:lnTo>
                  <a:cubicBezTo>
                    <a:pt x="521501" y="114921"/>
                    <a:pt x="534264" y="127685"/>
                    <a:pt x="534264" y="143496"/>
                  </a:cubicBezTo>
                  <a:lnTo>
                    <a:pt x="534264" y="381621"/>
                  </a:lnTo>
                  <a:cubicBezTo>
                    <a:pt x="534264" y="397432"/>
                    <a:pt x="521501" y="410196"/>
                    <a:pt x="505689" y="410196"/>
                  </a:cubicBezTo>
                  <a:lnTo>
                    <a:pt x="391389" y="410196"/>
                  </a:lnTo>
                  <a:lnTo>
                    <a:pt x="391389" y="295896"/>
                  </a:lnTo>
                  <a:cubicBezTo>
                    <a:pt x="391389" y="275512"/>
                    <a:pt x="375387" y="258844"/>
                    <a:pt x="355194" y="257796"/>
                  </a:cubicBezTo>
                  <a:lnTo>
                    <a:pt x="353289" y="257796"/>
                  </a:lnTo>
                  <a:lnTo>
                    <a:pt x="181839" y="257796"/>
                  </a:lnTo>
                  <a:cubicBezTo>
                    <a:pt x="161455" y="257796"/>
                    <a:pt x="144787" y="273798"/>
                    <a:pt x="143739" y="293991"/>
                  </a:cubicBezTo>
                  <a:lnTo>
                    <a:pt x="143739" y="295896"/>
                  </a:lnTo>
                  <a:lnTo>
                    <a:pt x="143739" y="410196"/>
                  </a:lnTo>
                  <a:lnTo>
                    <a:pt x="29439" y="410196"/>
                  </a:lnTo>
                  <a:cubicBezTo>
                    <a:pt x="13627" y="410196"/>
                    <a:pt x="864" y="397432"/>
                    <a:pt x="864" y="381621"/>
                  </a:cubicBezTo>
                  <a:lnTo>
                    <a:pt x="864" y="201408"/>
                  </a:lnTo>
                  <a:cubicBezTo>
                    <a:pt x="864" y="191788"/>
                    <a:pt x="4484" y="182454"/>
                    <a:pt x="11151" y="175405"/>
                  </a:cubicBezTo>
                  <a:lnTo>
                    <a:pt x="56300" y="127018"/>
                  </a:lnTo>
                  <a:cubicBezTo>
                    <a:pt x="63538" y="119303"/>
                    <a:pt x="73635" y="114921"/>
                    <a:pt x="84112" y="114921"/>
                  </a:cubicBezTo>
                  <a:lnTo>
                    <a:pt x="143739" y="114921"/>
                  </a:lnTo>
                  <a:close/>
                  <a:moveTo>
                    <a:pt x="462827" y="172071"/>
                  </a:moveTo>
                  <a:cubicBezTo>
                    <a:pt x="454921" y="172071"/>
                    <a:pt x="448539" y="178453"/>
                    <a:pt x="448539" y="186359"/>
                  </a:cubicBezTo>
                  <a:cubicBezTo>
                    <a:pt x="448539" y="194264"/>
                    <a:pt x="454921" y="200646"/>
                    <a:pt x="462827" y="200646"/>
                  </a:cubicBezTo>
                  <a:cubicBezTo>
                    <a:pt x="470732" y="200646"/>
                    <a:pt x="477114" y="194264"/>
                    <a:pt x="477114" y="186359"/>
                  </a:cubicBezTo>
                  <a:cubicBezTo>
                    <a:pt x="477114" y="178453"/>
                    <a:pt x="470732" y="172071"/>
                    <a:pt x="462827" y="172071"/>
                  </a:cubicBezTo>
                  <a:close/>
                  <a:moveTo>
                    <a:pt x="343764" y="621"/>
                  </a:moveTo>
                  <a:cubicBezTo>
                    <a:pt x="359576" y="621"/>
                    <a:pt x="372339" y="13385"/>
                    <a:pt x="372339" y="29196"/>
                  </a:cubicBezTo>
                  <a:lnTo>
                    <a:pt x="372339" y="105396"/>
                  </a:lnTo>
                  <a:cubicBezTo>
                    <a:pt x="372339" y="121207"/>
                    <a:pt x="359576" y="133971"/>
                    <a:pt x="343764" y="133971"/>
                  </a:cubicBezTo>
                  <a:lnTo>
                    <a:pt x="191364" y="133971"/>
                  </a:lnTo>
                  <a:cubicBezTo>
                    <a:pt x="175552" y="133971"/>
                    <a:pt x="162789" y="121207"/>
                    <a:pt x="162789" y="105396"/>
                  </a:cubicBezTo>
                  <a:lnTo>
                    <a:pt x="162789" y="29196"/>
                  </a:lnTo>
                  <a:cubicBezTo>
                    <a:pt x="162789" y="13385"/>
                    <a:pt x="175552" y="621"/>
                    <a:pt x="191364" y="621"/>
                  </a:cubicBezTo>
                  <a:lnTo>
                    <a:pt x="343764" y="621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5715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3765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26" name="任意多边形: 形状 25"/>
            <p:cNvSpPr/>
            <p:nvPr/>
          </p:nvSpPr>
          <p:spPr>
            <a:xfrm>
              <a:off x="9538141" y="3992901"/>
              <a:ext cx="321638" cy="267766"/>
            </a:xfrm>
            <a:custGeom>
              <a:avLst/>
              <a:gdLst>
                <a:gd name="connsiteX0" fmla="*/ 483573 w 526297"/>
                <a:gd name="connsiteY0" fmla="*/ 133971 h 438150"/>
                <a:gd name="connsiteX1" fmla="*/ 527674 w 526297"/>
                <a:gd name="connsiteY1" fmla="*/ 178072 h 438150"/>
                <a:gd name="connsiteX2" fmla="*/ 527579 w 526297"/>
                <a:gd name="connsiteY2" fmla="*/ 181501 h 438150"/>
                <a:gd name="connsiteX3" fmla="*/ 514244 w 526297"/>
                <a:gd name="connsiteY3" fmla="*/ 355237 h 438150"/>
                <a:gd name="connsiteX4" fmla="*/ 485764 w 526297"/>
                <a:gd name="connsiteY4" fmla="*/ 381621 h 438150"/>
                <a:gd name="connsiteX5" fmla="*/ 454998 w 526297"/>
                <a:gd name="connsiteY5" fmla="*/ 381621 h 438150"/>
                <a:gd name="connsiteX6" fmla="*/ 454998 w 526297"/>
                <a:gd name="connsiteY6" fmla="*/ 438771 h 438150"/>
                <a:gd name="connsiteX7" fmla="*/ 435948 w 526297"/>
                <a:gd name="connsiteY7" fmla="*/ 438771 h 438150"/>
                <a:gd name="connsiteX8" fmla="*/ 435948 w 526297"/>
                <a:gd name="connsiteY8" fmla="*/ 381621 h 438150"/>
                <a:gd name="connsiteX9" fmla="*/ 93048 w 526297"/>
                <a:gd name="connsiteY9" fmla="*/ 381621 h 438150"/>
                <a:gd name="connsiteX10" fmla="*/ 93048 w 526297"/>
                <a:gd name="connsiteY10" fmla="*/ 438771 h 438150"/>
                <a:gd name="connsiteX11" fmla="*/ 73998 w 526297"/>
                <a:gd name="connsiteY11" fmla="*/ 438771 h 438150"/>
                <a:gd name="connsiteX12" fmla="*/ 73998 w 526297"/>
                <a:gd name="connsiteY12" fmla="*/ 381621 h 438150"/>
                <a:gd name="connsiteX13" fmla="*/ 43328 w 526297"/>
                <a:gd name="connsiteY13" fmla="*/ 381621 h 438150"/>
                <a:gd name="connsiteX14" fmla="*/ 14848 w 526297"/>
                <a:gd name="connsiteY14" fmla="*/ 355237 h 438150"/>
                <a:gd name="connsiteX15" fmla="*/ 1513 w 526297"/>
                <a:gd name="connsiteY15" fmla="*/ 181501 h 438150"/>
                <a:gd name="connsiteX16" fmla="*/ 42089 w 526297"/>
                <a:gd name="connsiteY16" fmla="*/ 134162 h 438150"/>
                <a:gd name="connsiteX17" fmla="*/ 45518 w 526297"/>
                <a:gd name="connsiteY17" fmla="*/ 134066 h 438150"/>
                <a:gd name="connsiteX18" fmla="*/ 101906 w 526297"/>
                <a:gd name="connsiteY18" fmla="*/ 180834 h 438150"/>
                <a:gd name="connsiteX19" fmla="*/ 121623 w 526297"/>
                <a:gd name="connsiteY19" fmla="*/ 286371 h 438150"/>
                <a:gd name="connsiteX20" fmla="*/ 407373 w 526297"/>
                <a:gd name="connsiteY20" fmla="*/ 286371 h 438150"/>
                <a:gd name="connsiteX21" fmla="*/ 427185 w 526297"/>
                <a:gd name="connsiteY21" fmla="*/ 180739 h 438150"/>
                <a:gd name="connsiteX22" fmla="*/ 483573 w 526297"/>
                <a:gd name="connsiteY22" fmla="*/ 133971 h 438150"/>
                <a:gd name="connsiteX23" fmla="*/ 416898 w 526297"/>
                <a:gd name="connsiteY23" fmla="*/ 621 h 438150"/>
                <a:gd name="connsiteX24" fmla="*/ 483573 w 526297"/>
                <a:gd name="connsiteY24" fmla="*/ 67296 h 438150"/>
                <a:gd name="connsiteX25" fmla="*/ 483573 w 526297"/>
                <a:gd name="connsiteY25" fmla="*/ 115397 h 438150"/>
                <a:gd name="connsiteX26" fmla="*/ 476429 w 526297"/>
                <a:gd name="connsiteY26" fmla="*/ 114921 h 438150"/>
                <a:gd name="connsiteX27" fmla="*/ 412040 w 526297"/>
                <a:gd name="connsiteY27" fmla="*/ 166451 h 438150"/>
                <a:gd name="connsiteX28" fmla="*/ 411564 w 526297"/>
                <a:gd name="connsiteY28" fmla="*/ 168737 h 438150"/>
                <a:gd name="connsiteX29" fmla="*/ 393086 w 526297"/>
                <a:gd name="connsiteY29" fmla="*/ 267321 h 438150"/>
                <a:gd name="connsiteX30" fmla="*/ 135911 w 526297"/>
                <a:gd name="connsiteY30" fmla="*/ 267321 h 438150"/>
                <a:gd name="connsiteX31" fmla="*/ 117432 w 526297"/>
                <a:gd name="connsiteY31" fmla="*/ 168737 h 438150"/>
                <a:gd name="connsiteX32" fmla="*/ 52567 w 526297"/>
                <a:gd name="connsiteY32" fmla="*/ 114921 h 438150"/>
                <a:gd name="connsiteX33" fmla="*/ 54948 w 526297"/>
                <a:gd name="connsiteY33" fmla="*/ 67296 h 438150"/>
                <a:gd name="connsiteX34" fmla="*/ 121623 w 526297"/>
                <a:gd name="connsiteY34" fmla="*/ 621 h 438150"/>
                <a:gd name="connsiteX35" fmla="*/ 416898 w 526297"/>
                <a:gd name="connsiteY35" fmla="*/ 621 h 438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26297" h="438150">
                  <a:moveTo>
                    <a:pt x="483573" y="133971"/>
                  </a:moveTo>
                  <a:cubicBezTo>
                    <a:pt x="507957" y="133971"/>
                    <a:pt x="527674" y="153688"/>
                    <a:pt x="527674" y="178072"/>
                  </a:cubicBezTo>
                  <a:cubicBezTo>
                    <a:pt x="527674" y="179215"/>
                    <a:pt x="527674" y="180358"/>
                    <a:pt x="527579" y="181501"/>
                  </a:cubicBezTo>
                  <a:lnTo>
                    <a:pt x="514244" y="355237"/>
                  </a:lnTo>
                  <a:cubicBezTo>
                    <a:pt x="513101" y="370096"/>
                    <a:pt x="500718" y="381621"/>
                    <a:pt x="485764" y="381621"/>
                  </a:cubicBezTo>
                  <a:lnTo>
                    <a:pt x="454998" y="381621"/>
                  </a:lnTo>
                  <a:lnTo>
                    <a:pt x="454998" y="438771"/>
                  </a:lnTo>
                  <a:lnTo>
                    <a:pt x="435948" y="438771"/>
                  </a:lnTo>
                  <a:lnTo>
                    <a:pt x="435948" y="381621"/>
                  </a:lnTo>
                  <a:lnTo>
                    <a:pt x="93048" y="381621"/>
                  </a:lnTo>
                  <a:lnTo>
                    <a:pt x="93048" y="438771"/>
                  </a:lnTo>
                  <a:lnTo>
                    <a:pt x="73998" y="438771"/>
                  </a:lnTo>
                  <a:lnTo>
                    <a:pt x="73998" y="381621"/>
                  </a:lnTo>
                  <a:lnTo>
                    <a:pt x="43328" y="381621"/>
                  </a:lnTo>
                  <a:cubicBezTo>
                    <a:pt x="28373" y="381621"/>
                    <a:pt x="15991" y="370096"/>
                    <a:pt x="14848" y="355237"/>
                  </a:cubicBezTo>
                  <a:lnTo>
                    <a:pt x="1513" y="181501"/>
                  </a:lnTo>
                  <a:cubicBezTo>
                    <a:pt x="-392" y="157212"/>
                    <a:pt x="17801" y="135971"/>
                    <a:pt x="42089" y="134162"/>
                  </a:cubicBezTo>
                  <a:cubicBezTo>
                    <a:pt x="43232" y="134066"/>
                    <a:pt x="44375" y="134066"/>
                    <a:pt x="45518" y="134066"/>
                  </a:cubicBezTo>
                  <a:cubicBezTo>
                    <a:pt x="73141" y="134066"/>
                    <a:pt x="96858" y="153688"/>
                    <a:pt x="101906" y="180834"/>
                  </a:cubicBezTo>
                  <a:lnTo>
                    <a:pt x="121623" y="286371"/>
                  </a:lnTo>
                  <a:lnTo>
                    <a:pt x="407373" y="286371"/>
                  </a:lnTo>
                  <a:lnTo>
                    <a:pt x="427185" y="180739"/>
                  </a:lnTo>
                  <a:cubicBezTo>
                    <a:pt x="432233" y="153592"/>
                    <a:pt x="455951" y="133971"/>
                    <a:pt x="483573" y="133971"/>
                  </a:cubicBezTo>
                  <a:close/>
                  <a:moveTo>
                    <a:pt x="416898" y="621"/>
                  </a:moveTo>
                  <a:cubicBezTo>
                    <a:pt x="453760" y="621"/>
                    <a:pt x="483573" y="30434"/>
                    <a:pt x="483573" y="67296"/>
                  </a:cubicBezTo>
                  <a:lnTo>
                    <a:pt x="483573" y="115397"/>
                  </a:lnTo>
                  <a:cubicBezTo>
                    <a:pt x="481192" y="115112"/>
                    <a:pt x="478811" y="114921"/>
                    <a:pt x="476429" y="114921"/>
                  </a:cubicBezTo>
                  <a:cubicBezTo>
                    <a:pt x="445473" y="114921"/>
                    <a:pt x="418803" y="136448"/>
                    <a:pt x="412040" y="166451"/>
                  </a:cubicBezTo>
                  <a:lnTo>
                    <a:pt x="411564" y="168737"/>
                  </a:lnTo>
                  <a:lnTo>
                    <a:pt x="393086" y="267321"/>
                  </a:lnTo>
                  <a:lnTo>
                    <a:pt x="135911" y="267321"/>
                  </a:lnTo>
                  <a:lnTo>
                    <a:pt x="117432" y="168737"/>
                  </a:lnTo>
                  <a:cubicBezTo>
                    <a:pt x="111622" y="137495"/>
                    <a:pt x="84285" y="114921"/>
                    <a:pt x="52567" y="114921"/>
                  </a:cubicBezTo>
                  <a:lnTo>
                    <a:pt x="54948" y="67296"/>
                  </a:lnTo>
                  <a:cubicBezTo>
                    <a:pt x="54948" y="30434"/>
                    <a:pt x="84761" y="621"/>
                    <a:pt x="121623" y="621"/>
                  </a:cubicBezTo>
                  <a:lnTo>
                    <a:pt x="416898" y="621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5715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 fontScale="7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3765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27" name="任意多边形: 形状 26"/>
            <p:cNvSpPr/>
            <p:nvPr/>
          </p:nvSpPr>
          <p:spPr>
            <a:xfrm>
              <a:off x="5958739" y="3976325"/>
              <a:ext cx="274522" cy="300918"/>
            </a:xfrm>
            <a:custGeom>
              <a:avLst/>
              <a:gdLst>
                <a:gd name="connsiteX0" fmla="*/ 248770 w 495300"/>
                <a:gd name="connsiteY0" fmla="*/ 621 h 542925"/>
                <a:gd name="connsiteX1" fmla="*/ 496420 w 495300"/>
                <a:gd name="connsiteY1" fmla="*/ 248271 h 542925"/>
                <a:gd name="connsiteX2" fmla="*/ 323827 w 495300"/>
                <a:gd name="connsiteY2" fmla="*/ 484396 h 542925"/>
                <a:gd name="connsiteX3" fmla="*/ 346973 w 495300"/>
                <a:gd name="connsiteY3" fmla="*/ 524496 h 542925"/>
                <a:gd name="connsiteX4" fmla="*/ 420220 w 495300"/>
                <a:gd name="connsiteY4" fmla="*/ 524496 h 542925"/>
                <a:gd name="connsiteX5" fmla="*/ 420220 w 495300"/>
                <a:gd name="connsiteY5" fmla="*/ 543546 h 542925"/>
                <a:gd name="connsiteX6" fmla="*/ 77320 w 495300"/>
                <a:gd name="connsiteY6" fmla="*/ 543546 h 542925"/>
                <a:gd name="connsiteX7" fmla="*/ 77320 w 495300"/>
                <a:gd name="connsiteY7" fmla="*/ 524496 h 542925"/>
                <a:gd name="connsiteX8" fmla="*/ 150567 w 495300"/>
                <a:gd name="connsiteY8" fmla="*/ 524496 h 542925"/>
                <a:gd name="connsiteX9" fmla="*/ 173713 w 495300"/>
                <a:gd name="connsiteY9" fmla="*/ 484396 h 542925"/>
                <a:gd name="connsiteX10" fmla="*/ 1120 w 495300"/>
                <a:gd name="connsiteY10" fmla="*/ 248271 h 542925"/>
                <a:gd name="connsiteX11" fmla="*/ 248770 w 495300"/>
                <a:gd name="connsiteY11" fmla="*/ 621 h 542925"/>
                <a:gd name="connsiteX12" fmla="*/ 192763 w 495300"/>
                <a:gd name="connsiteY12" fmla="*/ 489539 h 542925"/>
                <a:gd name="connsiteX13" fmla="*/ 172570 w 495300"/>
                <a:gd name="connsiteY13" fmla="*/ 524496 h 542925"/>
                <a:gd name="connsiteX14" fmla="*/ 324970 w 495300"/>
                <a:gd name="connsiteY14" fmla="*/ 524496 h 542925"/>
                <a:gd name="connsiteX15" fmla="*/ 304777 w 495300"/>
                <a:gd name="connsiteY15" fmla="*/ 489539 h 542925"/>
                <a:gd name="connsiteX16" fmla="*/ 248770 w 495300"/>
                <a:gd name="connsiteY16" fmla="*/ 495921 h 542925"/>
                <a:gd name="connsiteX17" fmla="*/ 192763 w 495300"/>
                <a:gd name="connsiteY17" fmla="*/ 489539 h 542925"/>
                <a:gd name="connsiteX18" fmla="*/ 248770 w 495300"/>
                <a:gd name="connsiteY18" fmla="*/ 143496 h 542925"/>
                <a:gd name="connsiteX19" fmla="*/ 143995 w 495300"/>
                <a:gd name="connsiteY19" fmla="*/ 248271 h 542925"/>
                <a:gd name="connsiteX20" fmla="*/ 248770 w 495300"/>
                <a:gd name="connsiteY20" fmla="*/ 353046 h 542925"/>
                <a:gd name="connsiteX21" fmla="*/ 353545 w 495300"/>
                <a:gd name="connsiteY21" fmla="*/ 248271 h 542925"/>
                <a:gd name="connsiteX22" fmla="*/ 248770 w 495300"/>
                <a:gd name="connsiteY22" fmla="*/ 143496 h 542925"/>
                <a:gd name="connsiteX23" fmla="*/ 367833 w 495300"/>
                <a:gd name="connsiteY23" fmla="*/ 114921 h 542925"/>
                <a:gd name="connsiteX24" fmla="*/ 353545 w 495300"/>
                <a:gd name="connsiteY24" fmla="*/ 129209 h 542925"/>
                <a:gd name="connsiteX25" fmla="*/ 367833 w 495300"/>
                <a:gd name="connsiteY25" fmla="*/ 143496 h 542925"/>
                <a:gd name="connsiteX26" fmla="*/ 382120 w 495300"/>
                <a:gd name="connsiteY26" fmla="*/ 129209 h 542925"/>
                <a:gd name="connsiteX27" fmla="*/ 367833 w 495300"/>
                <a:gd name="connsiteY27" fmla="*/ 114921 h 542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495300" h="542925">
                  <a:moveTo>
                    <a:pt x="248770" y="621"/>
                  </a:moveTo>
                  <a:cubicBezTo>
                    <a:pt x="385549" y="621"/>
                    <a:pt x="496420" y="111492"/>
                    <a:pt x="496420" y="248271"/>
                  </a:cubicBezTo>
                  <a:cubicBezTo>
                    <a:pt x="496420" y="358856"/>
                    <a:pt x="423935" y="452582"/>
                    <a:pt x="323827" y="484396"/>
                  </a:cubicBezTo>
                  <a:lnTo>
                    <a:pt x="346973" y="524496"/>
                  </a:lnTo>
                  <a:lnTo>
                    <a:pt x="420220" y="524496"/>
                  </a:lnTo>
                  <a:lnTo>
                    <a:pt x="420220" y="543546"/>
                  </a:lnTo>
                  <a:lnTo>
                    <a:pt x="77320" y="543546"/>
                  </a:lnTo>
                  <a:lnTo>
                    <a:pt x="77320" y="524496"/>
                  </a:lnTo>
                  <a:lnTo>
                    <a:pt x="150567" y="524496"/>
                  </a:lnTo>
                  <a:lnTo>
                    <a:pt x="173713" y="484396"/>
                  </a:lnTo>
                  <a:cubicBezTo>
                    <a:pt x="73605" y="452582"/>
                    <a:pt x="1120" y="358856"/>
                    <a:pt x="1120" y="248271"/>
                  </a:cubicBezTo>
                  <a:cubicBezTo>
                    <a:pt x="1120" y="111492"/>
                    <a:pt x="111991" y="621"/>
                    <a:pt x="248770" y="621"/>
                  </a:cubicBezTo>
                  <a:close/>
                  <a:moveTo>
                    <a:pt x="192763" y="489539"/>
                  </a:moveTo>
                  <a:lnTo>
                    <a:pt x="172570" y="524496"/>
                  </a:lnTo>
                  <a:lnTo>
                    <a:pt x="324970" y="524496"/>
                  </a:lnTo>
                  <a:lnTo>
                    <a:pt x="304777" y="489539"/>
                  </a:lnTo>
                  <a:cubicBezTo>
                    <a:pt x="286775" y="493730"/>
                    <a:pt x="268010" y="495921"/>
                    <a:pt x="248770" y="495921"/>
                  </a:cubicBezTo>
                  <a:cubicBezTo>
                    <a:pt x="229530" y="495921"/>
                    <a:pt x="210765" y="493730"/>
                    <a:pt x="192763" y="489539"/>
                  </a:cubicBezTo>
                  <a:close/>
                  <a:moveTo>
                    <a:pt x="248770" y="143496"/>
                  </a:moveTo>
                  <a:cubicBezTo>
                    <a:pt x="190858" y="143496"/>
                    <a:pt x="143995" y="190359"/>
                    <a:pt x="143995" y="248271"/>
                  </a:cubicBezTo>
                  <a:cubicBezTo>
                    <a:pt x="143995" y="306183"/>
                    <a:pt x="190858" y="353046"/>
                    <a:pt x="248770" y="353046"/>
                  </a:cubicBezTo>
                  <a:cubicBezTo>
                    <a:pt x="306682" y="353046"/>
                    <a:pt x="353545" y="306183"/>
                    <a:pt x="353545" y="248271"/>
                  </a:cubicBezTo>
                  <a:cubicBezTo>
                    <a:pt x="353545" y="190359"/>
                    <a:pt x="306682" y="143496"/>
                    <a:pt x="248770" y="143496"/>
                  </a:cubicBezTo>
                  <a:close/>
                  <a:moveTo>
                    <a:pt x="367833" y="114921"/>
                  </a:moveTo>
                  <a:cubicBezTo>
                    <a:pt x="359927" y="114921"/>
                    <a:pt x="353545" y="121303"/>
                    <a:pt x="353545" y="129209"/>
                  </a:cubicBezTo>
                  <a:cubicBezTo>
                    <a:pt x="353545" y="137114"/>
                    <a:pt x="359927" y="143496"/>
                    <a:pt x="367833" y="143496"/>
                  </a:cubicBezTo>
                  <a:cubicBezTo>
                    <a:pt x="375738" y="143496"/>
                    <a:pt x="382120" y="137114"/>
                    <a:pt x="382120" y="129209"/>
                  </a:cubicBezTo>
                  <a:cubicBezTo>
                    <a:pt x="382120" y="121303"/>
                    <a:pt x="375738" y="114921"/>
                    <a:pt x="367833" y="114921"/>
                  </a:cubicBezTo>
                  <a:close/>
                </a:path>
              </a:pathLst>
            </a:custGeom>
            <a:solidFill>
              <a:srgbClr val="FFFFFF"/>
            </a:solidFill>
            <a:ln w="5715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3765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</p:grpSp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THINKCELLSHAPEDONOTDELETE" val="tc3JWICArRGOUzWgcxeJV6g"/>
</p:tagLst>
</file>

<file path=ppt/tags/tag100.xml><?xml version="1.0" encoding="utf-8"?>
<p:tagLst xmlns:p="http://schemas.openxmlformats.org/presentationml/2006/main">
  <p:tag name="PA" val="v4.1.3"/>
</p:tagLst>
</file>

<file path=ppt/tags/tag101.xml><?xml version="1.0" encoding="utf-8"?>
<p:tagLst xmlns:p="http://schemas.openxmlformats.org/presentationml/2006/main">
  <p:tag name="PA" val="v4.1.3"/>
</p:tagLst>
</file>

<file path=ppt/tags/tag102.xml><?xml version="1.0" encoding="utf-8"?>
<p:tagLst xmlns:p="http://schemas.openxmlformats.org/presentationml/2006/main">
  <p:tag name="PA" val="v4.1.3"/>
</p:tagLst>
</file>

<file path=ppt/tags/tag103.xml><?xml version="1.0" encoding="utf-8"?>
<p:tagLst xmlns:p="http://schemas.openxmlformats.org/presentationml/2006/main">
  <p:tag name="PA" val="v4.1.3"/>
</p:tagLst>
</file>

<file path=ppt/tags/tag104.xml><?xml version="1.0" encoding="utf-8"?>
<p:tagLst xmlns:p="http://schemas.openxmlformats.org/presentationml/2006/main">
  <p:tag name="MH" val="20190519151247"/>
  <p:tag name="MH_LIBRARY" val="GRAPHIC"/>
  <p:tag name="MH_TYPE" val="Other"/>
  <p:tag name="MH_ORDER" val="1"/>
</p:tagLst>
</file>

<file path=ppt/tags/tag105.xml><?xml version="1.0" encoding="utf-8"?>
<p:tagLst xmlns:p="http://schemas.openxmlformats.org/presentationml/2006/main">
  <p:tag name="MH" val="20190519151247"/>
  <p:tag name="MH_LIBRARY" val="GRAPHIC"/>
  <p:tag name="MH_TYPE" val="Other"/>
  <p:tag name="MH_ORDER" val="2"/>
</p:tagLst>
</file>

<file path=ppt/tags/tag106.xml><?xml version="1.0" encoding="utf-8"?>
<p:tagLst xmlns:p="http://schemas.openxmlformats.org/presentationml/2006/main">
  <p:tag name="MH" val="20190519151247"/>
  <p:tag name="MH_LIBRARY" val="GRAPHIC"/>
  <p:tag name="MH_TYPE" val="Other"/>
  <p:tag name="MH_ORDER" val="3"/>
</p:tagLst>
</file>

<file path=ppt/tags/tag107.xml><?xml version="1.0" encoding="utf-8"?>
<p:tagLst xmlns:p="http://schemas.openxmlformats.org/presentationml/2006/main">
  <p:tag name="MH" val="20190519151247"/>
  <p:tag name="MH_LIBRARY" val="GRAPHIC"/>
  <p:tag name="MH_TYPE" val="Other"/>
  <p:tag name="MH_ORDER" val="4"/>
</p:tagLst>
</file>

<file path=ppt/tags/tag108.xml><?xml version="1.0" encoding="utf-8"?>
<p:tagLst xmlns:p="http://schemas.openxmlformats.org/presentationml/2006/main">
  <p:tag name="MH" val="20190519151247"/>
  <p:tag name="MH_LIBRARY" val="GRAPHIC"/>
  <p:tag name="MH_TYPE" val="Other"/>
  <p:tag name="MH_ORDER" val="5"/>
</p:tagLst>
</file>

<file path=ppt/tags/tag109.xml><?xml version="1.0" encoding="utf-8"?>
<p:tagLst xmlns:p="http://schemas.openxmlformats.org/presentationml/2006/main">
  <p:tag name="MH" val="20190519151247"/>
  <p:tag name="MH_LIBRARY" val="GRAPHIC"/>
  <p:tag name="MH_TYPE" val="Other"/>
  <p:tag name="MH_ORDER" val="6"/>
</p:tagLst>
</file>

<file path=ppt/tags/tag11.xml><?xml version="1.0" encoding="utf-8"?>
<p:tagLst xmlns:p="http://schemas.openxmlformats.org/presentationml/2006/main">
  <p:tag name="THINKCELLSHAPEDONOTDELETE" val="thinkcellActiveDocDoNotDelete"/>
</p:tagLst>
</file>

<file path=ppt/tags/tag110.xml><?xml version="1.0" encoding="utf-8"?>
<p:tagLst xmlns:p="http://schemas.openxmlformats.org/presentationml/2006/main">
  <p:tag name="MH" val="20190519151247"/>
  <p:tag name="MH_LIBRARY" val="GRAPHIC"/>
  <p:tag name="MH_TYPE" val="Other"/>
  <p:tag name="MH_ORDER" val="7"/>
</p:tagLst>
</file>

<file path=ppt/tags/tag111.xml><?xml version="1.0" encoding="utf-8"?>
<p:tagLst xmlns:p="http://schemas.openxmlformats.org/presentationml/2006/main">
  <p:tag name="MH" val="20190519151247"/>
  <p:tag name="MH_LIBRARY" val="GRAPHIC"/>
  <p:tag name="MH_TYPE" val="Other"/>
  <p:tag name="MH_ORDER" val="8"/>
</p:tagLst>
</file>

<file path=ppt/tags/tag112.xml><?xml version="1.0" encoding="utf-8"?>
<p:tagLst xmlns:p="http://schemas.openxmlformats.org/presentationml/2006/main">
  <p:tag name="MH" val="20190519151247"/>
  <p:tag name="MH_LIBRARY" val="GRAPHIC"/>
  <p:tag name="MH_TYPE" val="Other"/>
  <p:tag name="MH_ORDER" val="9"/>
</p:tagLst>
</file>

<file path=ppt/tags/tag113.xml><?xml version="1.0" encoding="utf-8"?>
<p:tagLst xmlns:p="http://schemas.openxmlformats.org/presentationml/2006/main">
  <p:tag name="MH" val="20190519151247"/>
  <p:tag name="MH_LIBRARY" val="GRAPHIC"/>
  <p:tag name="MH_TYPE" val="Other"/>
  <p:tag name="MH_ORDER" val="10"/>
</p:tagLst>
</file>

<file path=ppt/tags/tag114.xml><?xml version="1.0" encoding="utf-8"?>
<p:tagLst xmlns:p="http://schemas.openxmlformats.org/presentationml/2006/main">
  <p:tag name="MH" val="20190519151247"/>
  <p:tag name="MH_LIBRARY" val="GRAPHIC"/>
  <p:tag name="MH_TYPE" val="Other"/>
  <p:tag name="MH_ORDER" val="11"/>
</p:tagLst>
</file>

<file path=ppt/tags/tag115.xml><?xml version="1.0" encoding="utf-8"?>
<p:tagLst xmlns:p="http://schemas.openxmlformats.org/presentationml/2006/main">
  <p:tag name="MH" val="20190519151247"/>
  <p:tag name="MH_LIBRARY" val="GRAPHIC"/>
  <p:tag name="MH_TYPE" val="Other"/>
  <p:tag name="MH_ORDER" val="13"/>
</p:tagLst>
</file>

<file path=ppt/tags/tag116.xml><?xml version="1.0" encoding="utf-8"?>
<p:tagLst xmlns:p="http://schemas.openxmlformats.org/presentationml/2006/main">
  <p:tag name="MH" val="20190519151247"/>
  <p:tag name="MH_LIBRARY" val="GRAPHIC"/>
  <p:tag name="MH_TYPE" val="Other"/>
  <p:tag name="MH_ORDER" val="14"/>
</p:tagLst>
</file>

<file path=ppt/tags/tag117.xml><?xml version="1.0" encoding="utf-8"?>
<p:tagLst xmlns:p="http://schemas.openxmlformats.org/presentationml/2006/main">
  <p:tag name="MH" val="20190519151247"/>
  <p:tag name="MH_LIBRARY" val="GRAPHIC"/>
  <p:tag name="MH_TYPE" val="Other"/>
  <p:tag name="MH_ORDER" val="15"/>
</p:tagLst>
</file>

<file path=ppt/tags/tag118.xml><?xml version="1.0" encoding="utf-8"?>
<p:tagLst xmlns:p="http://schemas.openxmlformats.org/presentationml/2006/main">
  <p:tag name="MH" val="20190519151247"/>
  <p:tag name="MH_LIBRARY" val="GRAPHIC"/>
  <p:tag name="MH_TYPE" val="Other"/>
  <p:tag name="MH_ORDER" val="16"/>
</p:tagLst>
</file>

<file path=ppt/tags/tag119.xml><?xml version="1.0" encoding="utf-8"?>
<p:tagLst xmlns:p="http://schemas.openxmlformats.org/presentationml/2006/main">
  <p:tag name="MH" val="20190519151247"/>
  <p:tag name="MH_LIBRARY" val="GRAPHIC"/>
  <p:tag name="MH_TYPE" val="Other"/>
  <p:tag name="MH_ORDER" val="17"/>
</p:tagLst>
</file>

<file path=ppt/tags/tag12.xml><?xml version="1.0" encoding="utf-8"?>
<p:tagLst xmlns:p="http://schemas.openxmlformats.org/presentationml/2006/main">
  <p:tag name="THINKCELLSHAPEDONOTDELETE" val="tP2g6F_FgQmWgvO7pRubLvQ"/>
</p:tagLst>
</file>

<file path=ppt/tags/tag120.xml><?xml version="1.0" encoding="utf-8"?>
<p:tagLst xmlns:p="http://schemas.openxmlformats.org/presentationml/2006/main">
  <p:tag name="MH" val="20190519151247"/>
  <p:tag name="MH_LIBRARY" val="GRAPHIC"/>
  <p:tag name="MH_TYPE" val="Other"/>
  <p:tag name="MH_ORDER" val="18"/>
</p:tagLst>
</file>

<file path=ppt/tags/tag121.xml><?xml version="1.0" encoding="utf-8"?>
<p:tagLst xmlns:p="http://schemas.openxmlformats.org/presentationml/2006/main">
  <p:tag name="commondata" val="eyJoZGlkIjoiY2Y3MTVmNjY5NGMwYjk3MzZhYTdkYmI0M2QzMTM0NmEifQ=="/>
</p:tagLst>
</file>

<file path=ppt/tags/tag13.xml><?xml version="1.0" encoding="utf-8"?>
<p:tagLst xmlns:p="http://schemas.openxmlformats.org/presentationml/2006/main">
  <p:tag name="THINKCELLSHAPEDONOTDELETE" val="thinkcellActiveDocDoNotDelete"/>
</p:tagLst>
</file>

<file path=ppt/tags/tag14.xml><?xml version="1.0" encoding="utf-8"?>
<p:tagLst xmlns:p="http://schemas.openxmlformats.org/presentationml/2006/main">
  <p:tag name="THINKCELLSHAPEDONOTDELETE" val="tP2g6F_FgQmWgvO7pRubLvQ"/>
</p:tagLst>
</file>

<file path=ppt/tags/tag15.xml><?xml version="1.0" encoding="utf-8"?>
<p:tagLst xmlns:p="http://schemas.openxmlformats.org/presentationml/2006/main">
  <p:tag name="THINKCELLSHAPEDONOTDELETE" val="thinkcellActiveDocDoNotDelete"/>
</p:tagLst>
</file>

<file path=ppt/tags/tag16.xml><?xml version="1.0" encoding="utf-8"?>
<p:tagLst xmlns:p="http://schemas.openxmlformats.org/presentationml/2006/main">
  <p:tag name="EE4P_INTELLIGENT_ELEMENT" val="{Name}"/>
</p:tagLst>
</file>

<file path=ppt/tags/tag17.xml><?xml version="1.0" encoding="utf-8"?>
<p:tagLst xmlns:p="http://schemas.openxmlformats.org/presentationml/2006/main">
  <p:tag name="THINKCELLSHAPEDONOTDELETE" val="thinkcellActiveDocDoNotDelete"/>
</p:tagLst>
</file>

<file path=ppt/tags/tag18.xml><?xml version="1.0" encoding="utf-8"?>
<p:tagLst xmlns:p="http://schemas.openxmlformats.org/presentationml/2006/main">
  <p:tag name="THINKCELLSHAPEDONOTDELETE" val="tomR7ZrdbSp6sj4BiaRrhMA"/>
</p:tagLst>
</file>

<file path=ppt/tags/tag19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P2g6F_FgQmWgvO7pRubLvQ"/>
</p:tagLst>
</file>

<file path=ppt/tags/tag20.xml><?xml version="1.0" encoding="utf-8"?>
<p:tagLst xmlns:p="http://schemas.openxmlformats.org/presentationml/2006/main">
  <p:tag name="THINKCELLSHAPEDONOTDELETE" val="thinkcellActiveDocDoNotDelete"/>
</p:tagLst>
</file>

<file path=ppt/tags/tag21.xml><?xml version="1.0" encoding="utf-8"?>
<p:tagLst xmlns:p="http://schemas.openxmlformats.org/presentationml/2006/main">
  <p:tag name="EE4P_INTELLIGENT_ELEMENT" val="{Name}"/>
</p:tagLst>
</file>

<file path=ppt/tags/tag22.xml><?xml version="1.0" encoding="utf-8"?>
<p:tagLst xmlns:p="http://schemas.openxmlformats.org/presentationml/2006/main">
  <p:tag name="THINKCELLSHAPEDONOTDELETE" val="thinkcellActiveDocDoNotDelete"/>
</p:tagLst>
</file>

<file path=ppt/tags/tag23.xml><?xml version="1.0" encoding="utf-8"?>
<p:tagLst xmlns:p="http://schemas.openxmlformats.org/presentationml/2006/main">
  <p:tag name="EE4P_INTELLIGENT_ELEMENT" val="{Name}"/>
</p:tagLst>
</file>

<file path=ppt/tags/tag24.xml><?xml version="1.0" encoding="utf-8"?>
<p:tagLst xmlns:p="http://schemas.openxmlformats.org/presentationml/2006/main">
  <p:tag name="THINKCELLSHAPEDONOTDELETE" val="thinkcellActiveDocDoNotDelete"/>
</p:tagLst>
</file>

<file path=ppt/tags/tag25.xml><?xml version="1.0" encoding="utf-8"?>
<p:tagLst xmlns:p="http://schemas.openxmlformats.org/presentationml/2006/main">
  <p:tag name="EE4P_INTELLIGENT_ELEMENT" val="{Name}"/>
</p:tagLst>
</file>

<file path=ppt/tags/tag26.xml><?xml version="1.0" encoding="utf-8"?>
<p:tagLst xmlns:p="http://schemas.openxmlformats.org/presentationml/2006/main">
  <p:tag name="THINKCELLSHAPEDONOTDELETE" val="thinkcellActiveDocDoNotDelete"/>
</p:tagLst>
</file>

<file path=ppt/tags/tag27.xml><?xml version="1.0" encoding="utf-8"?>
<p:tagLst xmlns:p="http://schemas.openxmlformats.org/presentationml/2006/main">
  <p:tag name="THINKCELLSHAPEDONOTDELETE" val="thinkcellActiveDocDoNotDelete"/>
</p:tagLst>
</file>

<file path=ppt/tags/tag28.xml><?xml version="1.0" encoding="utf-8"?>
<p:tagLst xmlns:p="http://schemas.openxmlformats.org/presentationml/2006/main">
  <p:tag name="THINKCELLSHAPEDONOTDELETE" val="thinkcellActiveDocDoNotDelete"/>
</p:tagLst>
</file>

<file path=ppt/tags/tag29.xml><?xml version="1.0" encoding="utf-8"?>
<p:tagLst xmlns:p="http://schemas.openxmlformats.org/presentationml/2006/main">
  <p:tag name="THINKCELLSHAPEDONOTDELETE" val="tomR7ZrdbSp6sj4BiaRrhMA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30.xml><?xml version="1.0" encoding="utf-8"?>
<p:tagLst xmlns:p="http://schemas.openxmlformats.org/presentationml/2006/main">
  <p:tag name="THINKCELLSHAPEDONOTDELETE" val="thinkcellActiveDocDoNotDelete"/>
</p:tagLst>
</file>

<file path=ppt/tags/tag31.xml><?xml version="1.0" encoding="utf-8"?>
<p:tagLst xmlns:p="http://schemas.openxmlformats.org/presentationml/2006/main">
  <p:tag name="THINKCELLSHAPEDONOTDELETE" val="thinkcellActiveDocDoNotDelete"/>
</p:tagLst>
</file>

<file path=ppt/tags/tag32.xml><?xml version="1.0" encoding="utf-8"?>
<p:tagLst xmlns:p="http://schemas.openxmlformats.org/presentationml/2006/main">
  <p:tag name="EE4P_INTELLIGENT_ELEMENT" val="{Name}"/>
</p:tagLst>
</file>

<file path=ppt/tags/tag33.xml><?xml version="1.0" encoding="utf-8"?>
<p:tagLst xmlns:p="http://schemas.openxmlformats.org/presentationml/2006/main">
  <p:tag name="THINKCELLSHAPEDONOTDELETE" val="thinkcellActiveDocDoNotDelete"/>
</p:tagLst>
</file>

<file path=ppt/tags/tag34.xml><?xml version="1.0" encoding="utf-8"?>
<p:tagLst xmlns:p="http://schemas.openxmlformats.org/presentationml/2006/main">
  <p:tag name="EE4P_INTELLIGENT_ELEMENT" val="{Name}"/>
</p:tagLst>
</file>

<file path=ppt/tags/tag35.xml><?xml version="1.0" encoding="utf-8"?>
<p:tagLst xmlns:p="http://schemas.openxmlformats.org/presentationml/2006/main">
  <p:tag name="THINKCELLSHAPEDONOTDELETE" val="thinkcellActiveDocDoNotDelete"/>
</p:tagLst>
</file>

<file path=ppt/tags/tag36.xml><?xml version="1.0" encoding="utf-8"?>
<p:tagLst xmlns:p="http://schemas.openxmlformats.org/presentationml/2006/main">
  <p:tag name="EE4P_INTELLIGENT_ELEMENT" val="{Name}"/>
</p:tagLst>
</file>

<file path=ppt/tags/tag37.xml><?xml version="1.0" encoding="utf-8"?>
<p:tagLst xmlns:p="http://schemas.openxmlformats.org/presentationml/2006/main">
  <p:tag name="THINKCELLSHAPEDONOTDELETE" val="thinkcellActiveDocDoNotDelete"/>
</p:tagLst>
</file>

<file path=ppt/tags/tag38.xml><?xml version="1.0" encoding="utf-8"?>
<p:tagLst xmlns:p="http://schemas.openxmlformats.org/presentationml/2006/main">
  <p:tag name="THINKCELLSHAPEDONOTDELETE" val="thinkcellActiveDocDoNotDelete"/>
</p:tagLst>
</file>

<file path=ppt/tags/tag39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THINKCELLSHAPEDONOTDELETE" val="tc3JWICArRGOUzWgcxeJV6g"/>
</p:tagLst>
</file>

<file path=ppt/tags/tag40.xml><?xml version="1.0" encoding="utf-8"?>
<p:tagLst xmlns:p="http://schemas.openxmlformats.org/presentationml/2006/main">
  <p:tag name="THINKCELLSHAPEDONOTDELETE" val="tomR7ZrdbSp6sj4BiaRrhMA"/>
</p:tagLst>
</file>

<file path=ppt/tags/tag41.xml><?xml version="1.0" encoding="utf-8"?>
<p:tagLst xmlns:p="http://schemas.openxmlformats.org/presentationml/2006/main">
  <p:tag name="THINKCELLSHAPEDONOTDELETE" val="thinkcellActiveDocDoNotDelete"/>
</p:tagLst>
</file>

<file path=ppt/tags/tag42.xml><?xml version="1.0" encoding="utf-8"?>
<p:tagLst xmlns:p="http://schemas.openxmlformats.org/presentationml/2006/main">
  <p:tag name="THINKCELLSHAPEDONOTDELETE" val="tP2g6F_FgQmWgvO7pRubLvQ"/>
</p:tagLst>
</file>

<file path=ppt/tags/tag43.xml><?xml version="1.0" encoding="utf-8"?>
<p:tagLst xmlns:p="http://schemas.openxmlformats.org/presentationml/2006/main">
  <p:tag name="THINKCELLSHAPEDONOTDELETE" val="thinkcellActiveDocDoNotDelete"/>
</p:tagLst>
</file>

<file path=ppt/tags/tag44.xml><?xml version="1.0" encoding="utf-8"?>
<p:tagLst xmlns:p="http://schemas.openxmlformats.org/presentationml/2006/main">
  <p:tag name="THINKCELLSHAPEDONOTDELETE" val="tc3JWICArRGOUzWgcxeJV6g"/>
</p:tagLst>
</file>

<file path=ppt/tags/tag45.xml><?xml version="1.0" encoding="utf-8"?>
<p:tagLst xmlns:p="http://schemas.openxmlformats.org/presentationml/2006/main">
  <p:tag name="THINKCELLSHAPEDONOTDELETE" val="thinkcellActiveDocDoNotDelete"/>
</p:tagLst>
</file>

<file path=ppt/tags/tag46.xml><?xml version="1.0" encoding="utf-8"?>
<p:tagLst xmlns:p="http://schemas.openxmlformats.org/presentationml/2006/main">
  <p:tag name="EE4P_INTELLIGENT_ELEMENT" val="{Name}"/>
</p:tagLst>
</file>

<file path=ppt/tags/tag47.xml><?xml version="1.0" encoding="utf-8"?>
<p:tagLst xmlns:p="http://schemas.openxmlformats.org/presentationml/2006/main">
  <p:tag name="THINKCELLSHAPEDONOTDELETE" val="thinkcellActiveDocDoNotDelete"/>
</p:tagLst>
</file>

<file path=ppt/tags/tag48.xml><?xml version="1.0" encoding="utf-8"?>
<p:tagLst xmlns:p="http://schemas.openxmlformats.org/presentationml/2006/main">
  <p:tag name="THINKCELLSHAPEDONOTDELETE" val="thinkcellActiveDocDoNotDelete"/>
</p:tagLst>
</file>

<file path=ppt/tags/tag49.xml><?xml version="1.0" encoding="utf-8"?>
<p:tagLst xmlns:p="http://schemas.openxmlformats.org/presentationml/2006/main">
  <p:tag name="THINKCELLSHAPEDONOTDELETE" val="tomR7ZrdbSp6sj4BiaRrhMA"/>
</p:tagLst>
</file>

<file path=ppt/tags/tag5.xml><?xml version="1.0" encoding="utf-8"?>
<p:tagLst xmlns:p="http://schemas.openxmlformats.org/presentationml/2006/main">
  <p:tag name="THINKCELLSHAPEDONOTDELETE" val="thinkcellActiveDocDoNotDelete"/>
</p:tagLst>
</file>

<file path=ppt/tags/tag50.xml><?xml version="1.0" encoding="utf-8"?>
<p:tagLst xmlns:p="http://schemas.openxmlformats.org/presentationml/2006/main">
  <p:tag name="THINKCELLSHAPEDONOTDELETE" val="thinkcellActiveDocDoNotDelete"/>
</p:tagLst>
</file>

<file path=ppt/tags/tag51.xml><?xml version="1.0" encoding="utf-8"?>
<p:tagLst xmlns:p="http://schemas.openxmlformats.org/presentationml/2006/main">
  <p:tag name="THINKCELLSHAPEDONOTDELETE" val="tP2g6F_FgQmWgvO7pRubLvQ"/>
</p:tagLst>
</file>

<file path=ppt/tags/tag52.xml><?xml version="1.0" encoding="utf-8"?>
<p:tagLst xmlns:p="http://schemas.openxmlformats.org/presentationml/2006/main">
  <p:tag name="THINKCELLSHAPEDONOTDELETE" val="thinkcellActiveDocDoNotDelete"/>
</p:tagLst>
</file>

<file path=ppt/tags/tag53.xml><?xml version="1.0" encoding="utf-8"?>
<p:tagLst xmlns:p="http://schemas.openxmlformats.org/presentationml/2006/main">
  <p:tag name="THINKCELLSHAPEDONOTDELETE" val="tc3JWICArRGOUzWgcxeJV6g"/>
</p:tagLst>
</file>

<file path=ppt/tags/tag54.xml><?xml version="1.0" encoding="utf-8"?>
<p:tagLst xmlns:p="http://schemas.openxmlformats.org/presentationml/2006/main">
  <p:tag name="THINKCELLSHAPEDONOTDELETE" val="thinkcellActiveDocDoNotDelete"/>
</p:tagLst>
</file>

<file path=ppt/tags/tag55.xml><?xml version="1.0" encoding="utf-8"?>
<p:tagLst xmlns:p="http://schemas.openxmlformats.org/presentationml/2006/main">
  <p:tag name="EE4P_INTELLIGENT_ELEMENT" val="{Name}"/>
</p:tagLst>
</file>

<file path=ppt/tags/tag56.xml><?xml version="1.0" encoding="utf-8"?>
<p:tagLst xmlns:p="http://schemas.openxmlformats.org/presentationml/2006/main">
  <p:tag name="THINKCELLSHAPEDONOTDELETE" val="thinkcellActiveDocDoNotDelete"/>
</p:tagLst>
</file>

<file path=ppt/tags/tag57.xml><?xml version="1.0" encoding="utf-8"?>
<p:tagLst xmlns:p="http://schemas.openxmlformats.org/presentationml/2006/main">
  <p:tag name="THINKCELLSHAPEDONOTDELETE" val="tomR7ZrdbSp6sj4BiaRrhMA"/>
</p:tagLst>
</file>

<file path=ppt/tags/tag58.xml><?xml version="1.0" encoding="utf-8"?>
<p:tagLst xmlns:p="http://schemas.openxmlformats.org/presentationml/2006/main">
  <p:tag name="KSO_WM_BEAUTIFY_FLAG" val=""/>
</p:tagLst>
</file>

<file path=ppt/tags/tag59.xml><?xml version="1.0" encoding="utf-8"?>
<p:tagLst xmlns:p="http://schemas.openxmlformats.org/presentationml/2006/main">
  <p:tag name="KSO_WM_BEAUTIFY_FLAG" val=""/>
</p:tagLst>
</file>

<file path=ppt/tags/tag6.xml><?xml version="1.0" encoding="utf-8"?>
<p:tagLst xmlns:p="http://schemas.openxmlformats.org/presentationml/2006/main">
  <p:tag name="EE4P_INTELLIGENT_ELEMENT" val="{Name}"/>
</p:tagLst>
</file>

<file path=ppt/tags/tag60.xml><?xml version="1.0" encoding="utf-8"?>
<p:tagLst xmlns:p="http://schemas.openxmlformats.org/presentationml/2006/main">
  <p:tag name="KSO_WM_BEAUTIFY_FLAG" val=""/>
</p:tagLst>
</file>

<file path=ppt/tags/tag61.xml><?xml version="1.0" encoding="utf-8"?>
<p:tagLst xmlns:p="http://schemas.openxmlformats.org/presentationml/2006/main">
  <p:tag name="KSO_WM_BEAUTIFY_FLAG" val=""/>
</p:tagLst>
</file>

<file path=ppt/tags/tag62.xml><?xml version="1.0" encoding="utf-8"?>
<p:tagLst xmlns:p="http://schemas.openxmlformats.org/presentationml/2006/main">
  <p:tag name="KSO_WM_BEAUTIFY_FLAG" val=""/>
</p:tagLst>
</file>

<file path=ppt/tags/tag63.xml><?xml version="1.0" encoding="utf-8"?>
<p:tagLst xmlns:p="http://schemas.openxmlformats.org/presentationml/2006/main">
  <p:tag name="KSO_WM_BEAUTIFY_FLAG" val=""/>
</p:tagLst>
</file>

<file path=ppt/tags/tag64.xml><?xml version="1.0" encoding="utf-8"?>
<p:tagLst xmlns:p="http://schemas.openxmlformats.org/presentationml/2006/main">
  <p:tag name="KSO_WM_BEAUTIFY_FLAG" val=""/>
</p:tagLst>
</file>

<file path=ppt/tags/tag65.xml><?xml version="1.0" encoding="utf-8"?>
<p:tagLst xmlns:p="http://schemas.openxmlformats.org/presentationml/2006/main">
  <p:tag name="KSO_WM_BEAUTIFY_FLAG" val=""/>
</p:tagLst>
</file>

<file path=ppt/tags/tag66.xml><?xml version="1.0" encoding="utf-8"?>
<p:tagLst xmlns:p="http://schemas.openxmlformats.org/presentationml/2006/main">
  <p:tag name="KSO_WM_BEAUTIFY_FLAG" val=""/>
</p:tagLst>
</file>

<file path=ppt/tags/tag67.xml><?xml version="1.0" encoding="utf-8"?>
<p:tagLst xmlns:p="http://schemas.openxmlformats.org/presentationml/2006/main">
  <p:tag name="KSO_WM_BEAUTIFY_FLAG" val=""/>
</p:tagLst>
</file>

<file path=ppt/tags/tag68.xml><?xml version="1.0" encoding="utf-8"?>
<p:tagLst xmlns:p="http://schemas.openxmlformats.org/presentationml/2006/main">
  <p:tag name="KSO_WM_BEAUTIFY_FLAG" val=""/>
</p:tagLst>
</file>

<file path=ppt/tags/tag69.xml><?xml version="1.0" encoding="utf-8"?>
<p:tagLst xmlns:p="http://schemas.openxmlformats.org/presentationml/2006/main">
  <p:tag name="KSO_WM_BEAUTIFY_FLAG" val=""/>
</p:tagLst>
</file>

<file path=ppt/tags/tag7.xml><?xml version="1.0" encoding="utf-8"?>
<p:tagLst xmlns:p="http://schemas.openxmlformats.org/presentationml/2006/main">
  <p:tag name="THINKCELLSHAPEDONOTDELETE" val="thinkcellActiveDocDoNotDelete"/>
</p:tagLst>
</file>

<file path=ppt/tags/tag70.xml><?xml version="1.0" encoding="utf-8"?>
<p:tagLst xmlns:p="http://schemas.openxmlformats.org/presentationml/2006/main">
  <p:tag name="KSO_WM_BEAUTIFY_FLAG" val=""/>
</p:tagLst>
</file>

<file path=ppt/tags/tag71.xml><?xml version="1.0" encoding="utf-8"?>
<p:tagLst xmlns:p="http://schemas.openxmlformats.org/presentationml/2006/main">
  <p:tag name="KSO_WM_BEAUTIFY_FLAG" val=""/>
</p:tagLst>
</file>

<file path=ppt/tags/tag72.xml><?xml version="1.0" encoding="utf-8"?>
<p:tagLst xmlns:p="http://schemas.openxmlformats.org/presentationml/2006/main">
  <p:tag name="KSO_WM_BEAUTIFY_FLAG" val=""/>
</p:tagLst>
</file>

<file path=ppt/tags/tag73.xml><?xml version="1.0" encoding="utf-8"?>
<p:tagLst xmlns:p="http://schemas.openxmlformats.org/presentationml/2006/main">
  <p:tag name="KSO_WM_BEAUTIFY_FLAG" val=""/>
</p:tagLst>
</file>

<file path=ppt/tags/tag74.xml><?xml version="1.0" encoding="utf-8"?>
<p:tagLst xmlns:p="http://schemas.openxmlformats.org/presentationml/2006/main">
  <p:tag name="KSO_WM_BEAUTIFY_FLAG" val=""/>
</p:tagLst>
</file>

<file path=ppt/tags/tag75.xml><?xml version="1.0" encoding="utf-8"?>
<p:tagLst xmlns:p="http://schemas.openxmlformats.org/presentationml/2006/main">
  <p:tag name="KSO_WM_BEAUTIFY_FLAG" val=""/>
</p:tagLst>
</file>

<file path=ppt/tags/tag76.xml><?xml version="1.0" encoding="utf-8"?>
<p:tagLst xmlns:p="http://schemas.openxmlformats.org/presentationml/2006/main">
  <p:tag name="KSO_WM_BEAUTIFY_FLAG" val=""/>
</p:tagLst>
</file>

<file path=ppt/tags/tag77.xml><?xml version="1.0" encoding="utf-8"?>
<p:tagLst xmlns:p="http://schemas.openxmlformats.org/presentationml/2006/main">
  <p:tag name="KSO_WM_BEAUTIFY_FLAG" val=""/>
</p:tagLst>
</file>

<file path=ppt/tags/tag78.xml><?xml version="1.0" encoding="utf-8"?>
<p:tagLst xmlns:p="http://schemas.openxmlformats.org/presentationml/2006/main">
  <p:tag name="KSO_WM_BEAUTIFY_FLAG" val=""/>
</p:tagLst>
</file>

<file path=ppt/tags/tag79.xml><?xml version="1.0" encoding="utf-8"?>
<p:tagLst xmlns:p="http://schemas.openxmlformats.org/presentationml/2006/main">
  <p:tag name="KSO_WM_BEAUTIFY_FLAG" val=""/>
</p:tagLst>
</file>

<file path=ppt/tags/tag8.xml><?xml version="1.0" encoding="utf-8"?>
<p:tagLst xmlns:p="http://schemas.openxmlformats.org/presentationml/2006/main">
  <p:tag name="THINKCELLSHAPEDONOTDELETE" val="tomR7ZrdbSp6sj4BiaRrhMA"/>
</p:tagLst>
</file>

<file path=ppt/tags/tag80.xml><?xml version="1.0" encoding="utf-8"?>
<p:tagLst xmlns:p="http://schemas.openxmlformats.org/presentationml/2006/main">
  <p:tag name="KSO_WM_BEAUTIFY_FLAG" val=""/>
</p:tagLst>
</file>

<file path=ppt/tags/tag81.xml><?xml version="1.0" encoding="utf-8"?>
<p:tagLst xmlns:p="http://schemas.openxmlformats.org/presentationml/2006/main">
  <p:tag name="KSO_WM_BEAUTIFY_FLAG" val=""/>
</p:tagLst>
</file>

<file path=ppt/tags/tag82.xml><?xml version="1.0" encoding="utf-8"?>
<p:tagLst xmlns:p="http://schemas.openxmlformats.org/presentationml/2006/main">
  <p:tag name="KSO_WM_BEAUTIFY_FLAG" val=""/>
</p:tagLst>
</file>

<file path=ppt/tags/tag83.xml><?xml version="1.0" encoding="utf-8"?>
<p:tagLst xmlns:p="http://schemas.openxmlformats.org/presentationml/2006/main">
  <p:tag name="KSO_WM_BEAUTIFY_FLAG" val=""/>
</p:tagLst>
</file>

<file path=ppt/tags/tag84.xml><?xml version="1.0" encoding="utf-8"?>
<p:tagLst xmlns:p="http://schemas.openxmlformats.org/presentationml/2006/main">
  <p:tag name="KSO_WM_BEAUTIFY_FLAG" val=""/>
</p:tagLst>
</file>

<file path=ppt/tags/tag85.xml><?xml version="1.0" encoding="utf-8"?>
<p:tagLst xmlns:p="http://schemas.openxmlformats.org/presentationml/2006/main">
  <p:tag name="KSO_WM_BEAUTIFY_FLAG" val=""/>
</p:tagLst>
</file>

<file path=ppt/tags/tag86.xml><?xml version="1.0" encoding="utf-8"?>
<p:tagLst xmlns:p="http://schemas.openxmlformats.org/presentationml/2006/main">
  <p:tag name="KSO_WM_BEAUTIFY_FLAG" val=""/>
</p:tagLst>
</file>

<file path=ppt/tags/tag87.xml><?xml version="1.0" encoding="utf-8"?>
<p:tagLst xmlns:p="http://schemas.openxmlformats.org/presentationml/2006/main">
  <p:tag name="KSO_WM_BEAUTIFY_FLAG" val=""/>
</p:tagLst>
</file>

<file path=ppt/tags/tag88.xml><?xml version="1.0" encoding="utf-8"?>
<p:tagLst xmlns:p="http://schemas.openxmlformats.org/presentationml/2006/main">
  <p:tag name="KSO_WM_BEAUTIFY_FLAG" val=""/>
</p:tagLst>
</file>

<file path=ppt/tags/tag89.xml><?xml version="1.0" encoding="utf-8"?>
<p:tagLst xmlns:p="http://schemas.openxmlformats.org/presentationml/2006/main">
  <p:tag name="KSO_WM_BEAUTIFY_FLAG" val=""/>
</p:tagLst>
</file>

<file path=ppt/tags/tag9.xml><?xml version="1.0" encoding="utf-8"?>
<p:tagLst xmlns:p="http://schemas.openxmlformats.org/presentationml/2006/main">
  <p:tag name="THINKCELLSHAPEDONOTDELETE" val="thinkcellActiveDocDoNotDelete"/>
</p:tagLst>
</file>

<file path=ppt/tags/tag90.xml><?xml version="1.0" encoding="utf-8"?>
<p:tagLst xmlns:p="http://schemas.openxmlformats.org/presentationml/2006/main">
  <p:tag name="KSO_WM_BEAUTIFY_FLAG" val=""/>
</p:tagLst>
</file>

<file path=ppt/tags/tag91.xml><?xml version="1.0" encoding="utf-8"?>
<p:tagLst xmlns:p="http://schemas.openxmlformats.org/presentationml/2006/main">
  <p:tag name="KSO_WM_BEAUTIFY_FLAG" val=""/>
</p:tagLst>
</file>

<file path=ppt/tags/tag92.xml><?xml version="1.0" encoding="utf-8"?>
<p:tagLst xmlns:p="http://schemas.openxmlformats.org/presentationml/2006/main">
  <p:tag name="KSO_WM_BEAUTIFY_FLAG" val=""/>
</p:tagLst>
</file>

<file path=ppt/tags/tag93.xml><?xml version="1.0" encoding="utf-8"?>
<p:tagLst xmlns:p="http://schemas.openxmlformats.org/presentationml/2006/main">
  <p:tag name="KSO_WM_BEAUTIFY_FLAG" val=""/>
</p:tagLst>
</file>

<file path=ppt/tags/tag94.xml><?xml version="1.0" encoding="utf-8"?>
<p:tagLst xmlns:p="http://schemas.openxmlformats.org/presentationml/2006/main">
  <p:tag name="KSO_WM_BEAUTIFY_FLAG" val=""/>
</p:tagLst>
</file>

<file path=ppt/tags/tag95.xml><?xml version="1.0" encoding="utf-8"?>
<p:tagLst xmlns:p="http://schemas.openxmlformats.org/presentationml/2006/main">
  <p:tag name="KSO_WM_BEAUTIFY_FLAG" val=""/>
</p:tagLst>
</file>

<file path=ppt/tags/tag96.xml><?xml version="1.0" encoding="utf-8"?>
<p:tagLst xmlns:p="http://schemas.openxmlformats.org/presentationml/2006/main">
  <p:tag name="KSO_WM_BEAUTIFY_FLAG" val=""/>
</p:tagLst>
</file>

<file path=ppt/tags/tag97.xml><?xml version="1.0" encoding="utf-8"?>
<p:tagLst xmlns:p="http://schemas.openxmlformats.org/presentationml/2006/main">
  <p:tag name="KSO_WM_BEAUTIFY_FLAG" val=""/>
</p:tagLst>
</file>

<file path=ppt/tags/tag98.xml><?xml version="1.0" encoding="utf-8"?>
<p:tagLst xmlns:p="http://schemas.openxmlformats.org/presentationml/2006/main">
  <p:tag name="KSO_WM_BEAUTIFY_FLAG" val=""/>
</p:tagLst>
</file>

<file path=ppt/tags/tag99.xml><?xml version="1.0" encoding="utf-8"?>
<p:tagLst xmlns:p="http://schemas.openxmlformats.org/presentationml/2006/main">
  <p:tag name="TABLE_ENDDRAG_ORIGIN_RECT" val="562*145"/>
  <p:tag name="TABLE_ENDDRAG_RECT" val="231*170*562*145"/>
</p:tagLst>
</file>

<file path=ppt/theme/theme1.xml><?xml version="1.0" encoding="utf-8"?>
<a:theme xmlns:a="http://schemas.openxmlformats.org/drawingml/2006/main" name="1_主题5">
  <a:themeElements>
    <a:clrScheme name="2019机要模板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05A23"/>
      </a:accent1>
      <a:accent2>
        <a:srgbClr val="F05A23"/>
      </a:accent2>
      <a:accent3>
        <a:srgbClr val="FECEAF"/>
      </a:accent3>
      <a:accent4>
        <a:srgbClr val="FECEAF"/>
      </a:accent4>
      <a:accent5>
        <a:srgbClr val="7F7F7F"/>
      </a:accent5>
      <a:accent6>
        <a:srgbClr val="5B9BD5"/>
      </a:accent6>
      <a:hlink>
        <a:srgbClr val="0563C1"/>
      </a:hlink>
      <a:folHlink>
        <a:srgbClr val="954F72"/>
      </a:folHlink>
    </a:clrScheme>
    <a:fontScheme name="font">
      <a:majorFont>
        <a:latin typeface="Arial"/>
        <a:ea typeface="华文楷体"/>
        <a:cs typeface=""/>
      </a:majorFont>
      <a:minorFont>
        <a:latin typeface="Arial"/>
        <a:ea typeface="华文楷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grpFill/>
        <a:ln w="0">
          <a:noFill/>
          <a:prstDash val="solid"/>
          <a:round/>
        </a:ln>
      </a:spPr>
      <a:bodyPr vert="horz" wrap="square" lIns="91440" tIns="45720" rIns="91440" bIns="45720" numCol="1" anchor="t" anchorCtr="0" compatLnSpc="1"/>
      <a:lstStyle>
        <a:defPPr>
          <a:defRPr/>
        </a:defPPr>
      </a:lstStyle>
    </a:spDef>
    <a:lnDef>
      <a:spPr>
        <a:ln>
          <a:solidFill>
            <a:schemeClr val="bg1">
              <a:lumMod val="75000"/>
            </a:scheme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91440" tIns="45720" rIns="91440" bIns="45720" rtlCol="0">
        <a:normAutofit/>
      </a:bodyPr>
      <a:lstStyle>
        <a:defPPr marL="285750" indent="-179705">
          <a:buFont typeface="Arial" panose="020B0604020202090204" pitchFamily="34" charset="0"/>
          <a:buChar char="•"/>
          <a:defRPr sz="1800" b="1" dirty="0" smtClean="0"/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中国平安">
  <a:themeElements>
    <a:clrScheme name="自定义 2">
      <a:dk1>
        <a:srgbClr val="000000"/>
      </a:dk1>
      <a:lt1>
        <a:srgbClr val="FFFFFF"/>
      </a:lt1>
      <a:dk2>
        <a:srgbClr val="323232"/>
      </a:dk2>
      <a:lt2>
        <a:srgbClr val="E5DCD8"/>
      </a:lt2>
      <a:accent1>
        <a:srgbClr val="F25822"/>
      </a:accent1>
      <a:accent2>
        <a:srgbClr val="B19C7D"/>
      </a:accent2>
      <a:accent3>
        <a:srgbClr val="C02C04"/>
      </a:accent3>
      <a:accent4>
        <a:srgbClr val="7D5D50"/>
      </a:accent4>
      <a:accent5>
        <a:srgbClr val="B27D49"/>
      </a:accent5>
      <a:accent6>
        <a:srgbClr val="00713D"/>
      </a:accent6>
      <a:hlink>
        <a:srgbClr val="D35615"/>
      </a:hlink>
      <a:folHlink>
        <a:srgbClr val="B06A01"/>
      </a:folHlink>
    </a:clrScheme>
    <a:fontScheme name="自定义 11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lnSpc>
            <a:spcPct val="120000"/>
          </a:lnSpc>
          <a:defRPr kern="600" spc="160" dirty="0" smtClean="0"/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5_主题5">
  <a:themeElements>
    <a:clrScheme name="平安橙">
      <a:dk1>
        <a:srgbClr val="000000"/>
      </a:dk1>
      <a:lt1>
        <a:srgbClr val="FFFFFF"/>
      </a:lt1>
      <a:dk2>
        <a:srgbClr val="F05A23"/>
      </a:dk2>
      <a:lt2>
        <a:srgbClr val="FFFFFF"/>
      </a:lt2>
      <a:accent1>
        <a:srgbClr val="F05A23"/>
      </a:accent1>
      <a:accent2>
        <a:srgbClr val="FE8637"/>
      </a:accent2>
      <a:accent3>
        <a:srgbClr val="FEB687"/>
      </a:accent3>
      <a:accent4>
        <a:srgbClr val="FECEAF"/>
      </a:accent4>
      <a:accent5>
        <a:srgbClr val="FEE6D7"/>
      </a:accent5>
      <a:accent6>
        <a:srgbClr val="ABABAB"/>
      </a:accent6>
      <a:hlink>
        <a:srgbClr val="FE8637"/>
      </a:hlink>
      <a:folHlink>
        <a:srgbClr val="7F7F7F"/>
      </a:folHlink>
    </a:clrScheme>
    <a:fontScheme name="font">
      <a:majorFont>
        <a:latin typeface="Arial"/>
        <a:ea typeface="华文楷体"/>
        <a:cs typeface=""/>
      </a:majorFont>
      <a:minorFont>
        <a:latin typeface="Arial"/>
        <a:ea typeface="华文楷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ysClr val="window" lastClr="FFFFFF"/>
        </a:solidFill>
        <a:ln w="9525" cap="flat" cmpd="sng" algn="ctr">
          <a:solidFill>
            <a:schemeClr val="accent1">
              <a:lumMod val="60000"/>
              <a:lumOff val="40000"/>
            </a:schemeClr>
          </a:solidFill>
          <a:prstDash val="solid"/>
          <a:miter lim="800000"/>
        </a:ln>
      </a:spPr>
      <a:bodyPr rot="0" spcFirstLastPara="0" vertOverflow="overflow" horzOverflow="overflow" vert="horz" wrap="square" lIns="36000" tIns="108000" rIns="36000" bIns="0" numCol="1" spcCol="0" rtlCol="0" fromWordArt="0" anchor="t" anchorCtr="0" forceAA="0" compatLnSpc="1">
        <a:noAutofit/>
      </a:bodyPr>
      <a:lstStyle>
        <a:defPPr marL="0" marR="0" indent="0" algn="ctr" defTabSz="914400" rtl="0" eaLnBrk="1" fontAlgn="auto" latinLnBrk="0" hangingPunct="1">
          <a:lnSpc>
            <a:spcPct val="100000"/>
          </a:lnSpc>
          <a:spcBef>
            <a:spcPts val="0"/>
          </a:spcBef>
          <a:buClrTx/>
          <a:buSzTx/>
          <a:buFontTx/>
          <a:buNone/>
          <a:defRPr sz="1100" b="1" kern="0">
            <a:solidFill>
              <a:prstClr val="black"/>
            </a:solidFill>
            <a:latin typeface="Arial" panose="020B0604020202090204"/>
            <a:ea typeface="华文楷体" panose="02010600040101010101" pitchFamily="2" charset="-122"/>
            <a:sym typeface="Arial" panose="020B0604020202090204" pitchFamily="34" charset="0"/>
          </a:defRPr>
        </a:defPPr>
      </a:lstStyle>
    </a:spDef>
    <a:lnDef>
      <a:spPr>
        <a:ln>
          <a:solidFill>
            <a:schemeClr val="accent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none" lIns="90000" tIns="45720" rIns="91440" bIns="45720" rtlCol="0" anchor="ctr" anchorCtr="1">
        <a:spAutoFit/>
      </a:bodyPr>
      <a:lstStyle>
        <a:defPPr algn="l">
          <a:defRPr sz="1600" smtClean="0">
            <a:latin typeface="+mn-ea"/>
          </a:defRPr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PingAn 16:9">
  <a:themeElements>
    <a:clrScheme name="PingAn">
      <a:dk1>
        <a:sysClr val="windowText" lastClr="000000"/>
      </a:dk1>
      <a:lt1>
        <a:sysClr val="window" lastClr="FFFFFF"/>
      </a:lt1>
      <a:dk2>
        <a:srgbClr val="575F6D"/>
      </a:dk2>
      <a:lt2>
        <a:srgbClr val="E3E4E6"/>
      </a:lt2>
      <a:accent1>
        <a:srgbClr val="FE8637"/>
      </a:accent1>
      <a:accent2>
        <a:srgbClr val="B32C16"/>
      </a:accent2>
      <a:accent3>
        <a:srgbClr val="FFCC00"/>
      </a:accent3>
      <a:accent4>
        <a:srgbClr val="B96400"/>
      </a:accent4>
      <a:accent5>
        <a:srgbClr val="777C84"/>
      </a:accent5>
      <a:accent6>
        <a:srgbClr val="5B9BD5"/>
      </a:accent6>
      <a:hlink>
        <a:srgbClr val="7598D9"/>
      </a:hlink>
      <a:folHlink>
        <a:srgbClr val="3B435B"/>
      </a:folHlink>
    </a:clrScheme>
    <a:fontScheme name="Ping An">
      <a:majorFont>
        <a:latin typeface="Arial"/>
        <a:ea typeface="华文楷体"/>
        <a:cs typeface=""/>
      </a:majorFont>
      <a:minorFont>
        <a:latin typeface="Arial"/>
        <a:ea typeface="华文楷体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9525" cap="rnd" cmpd="sng" algn="ctr">
          <a:noFill/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PingAn 16:9">
  <a:themeElements>
    <a:clrScheme name="PingAn">
      <a:dk1>
        <a:sysClr val="windowText" lastClr="000000"/>
      </a:dk1>
      <a:lt1>
        <a:sysClr val="window" lastClr="FFFFFF"/>
      </a:lt1>
      <a:dk2>
        <a:srgbClr val="575F6D"/>
      </a:dk2>
      <a:lt2>
        <a:srgbClr val="E3E4E6"/>
      </a:lt2>
      <a:accent1>
        <a:srgbClr val="FE8637"/>
      </a:accent1>
      <a:accent2>
        <a:srgbClr val="B32C16"/>
      </a:accent2>
      <a:accent3>
        <a:srgbClr val="FFCC00"/>
      </a:accent3>
      <a:accent4>
        <a:srgbClr val="B96400"/>
      </a:accent4>
      <a:accent5>
        <a:srgbClr val="777C84"/>
      </a:accent5>
      <a:accent6>
        <a:srgbClr val="5B9BD5"/>
      </a:accent6>
      <a:hlink>
        <a:srgbClr val="7598D9"/>
      </a:hlink>
      <a:folHlink>
        <a:srgbClr val="3B435B"/>
      </a:folHlink>
    </a:clrScheme>
    <a:fontScheme name="Ping An">
      <a:majorFont>
        <a:latin typeface="Arial"/>
        <a:ea typeface="华文楷体"/>
        <a:cs typeface=""/>
      </a:majorFont>
      <a:minorFont>
        <a:latin typeface="Arial"/>
        <a:ea typeface="华文楷体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9525" cap="rnd" cmpd="sng" algn="ctr">
          <a:noFill/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2_主题5">
  <a:themeElements>
    <a:clrScheme name="2019机要模板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05A23"/>
      </a:accent1>
      <a:accent2>
        <a:srgbClr val="F05A23"/>
      </a:accent2>
      <a:accent3>
        <a:srgbClr val="FECEAF"/>
      </a:accent3>
      <a:accent4>
        <a:srgbClr val="FECEAF"/>
      </a:accent4>
      <a:accent5>
        <a:srgbClr val="7F7F7F"/>
      </a:accent5>
      <a:accent6>
        <a:srgbClr val="5B9BD5"/>
      </a:accent6>
      <a:hlink>
        <a:srgbClr val="0563C1"/>
      </a:hlink>
      <a:folHlink>
        <a:srgbClr val="954F72"/>
      </a:folHlink>
    </a:clrScheme>
    <a:fontScheme name="font">
      <a:majorFont>
        <a:latin typeface="Arial"/>
        <a:ea typeface="华文楷体"/>
        <a:cs typeface=""/>
      </a:majorFont>
      <a:minorFont>
        <a:latin typeface="Arial"/>
        <a:ea typeface="华文楷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chemeClr val="accent1">
            <a:lumMod val="40000"/>
            <a:lumOff val="60000"/>
          </a:schemeClr>
        </a:solidFill>
        <a:ln w="0">
          <a:noFill/>
          <a:prstDash val="solid"/>
          <a:round/>
        </a:ln>
      </a:spPr>
      <a:bodyPr vert="horz" wrap="square" lIns="91440" tIns="45720" rIns="91440" bIns="45720" numCol="1" rtlCol="0" anchor="t" anchorCtr="0" compatLnSpc="1"/>
      <a:lstStyle>
        <a:defPPr>
          <a:defRPr/>
        </a:defPPr>
      </a:lstStyle>
    </a:spDef>
    <a:lnDef>
      <a:spPr>
        <a:ln>
          <a:solidFill>
            <a:schemeClr val="bg1">
              <a:lumMod val="75000"/>
            </a:scheme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91440" tIns="45720" rIns="91440" bIns="45720" rtlCol="0">
        <a:normAutofit/>
      </a:bodyPr>
      <a:lstStyle>
        <a:defPPr marL="285750" indent="-179705">
          <a:buFont typeface="Arial" panose="020B0604020202090204" pitchFamily="34" charset="0"/>
          <a:buChar char="•"/>
          <a:defRPr sz="1800" b="1" dirty="0" smtClean="0"/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3_主题5">
  <a:themeElements>
    <a:clrScheme name="2019机要模板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05A23"/>
      </a:accent1>
      <a:accent2>
        <a:srgbClr val="F05A23"/>
      </a:accent2>
      <a:accent3>
        <a:srgbClr val="FECEAF"/>
      </a:accent3>
      <a:accent4>
        <a:srgbClr val="FECEAF"/>
      </a:accent4>
      <a:accent5>
        <a:srgbClr val="7F7F7F"/>
      </a:accent5>
      <a:accent6>
        <a:srgbClr val="5B9BD5"/>
      </a:accent6>
      <a:hlink>
        <a:srgbClr val="0563C1"/>
      </a:hlink>
      <a:folHlink>
        <a:srgbClr val="954F72"/>
      </a:folHlink>
    </a:clrScheme>
    <a:fontScheme name="font">
      <a:majorFont>
        <a:latin typeface="Arial"/>
        <a:ea typeface="华文楷体"/>
        <a:cs typeface=""/>
      </a:majorFont>
      <a:minorFont>
        <a:latin typeface="Arial"/>
        <a:ea typeface="华文楷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chemeClr val="accent1">
            <a:lumMod val="40000"/>
            <a:lumOff val="60000"/>
          </a:schemeClr>
        </a:solidFill>
        <a:ln w="0">
          <a:noFill/>
          <a:prstDash val="solid"/>
          <a:round/>
        </a:ln>
      </a:spPr>
      <a:bodyPr vert="horz" wrap="square" lIns="91440" tIns="45720" rIns="91440" bIns="45720" numCol="1" rtlCol="0" anchor="t" anchorCtr="0" compatLnSpc="1"/>
      <a:lstStyle>
        <a:defPPr>
          <a:defRPr/>
        </a:defPPr>
      </a:lstStyle>
    </a:spDef>
    <a:lnDef>
      <a:spPr>
        <a:ln>
          <a:solidFill>
            <a:schemeClr val="bg1">
              <a:lumMod val="75000"/>
            </a:scheme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91440" tIns="45720" rIns="91440" bIns="45720" rtlCol="0">
        <a:normAutofit/>
      </a:bodyPr>
      <a:lstStyle>
        <a:defPPr marL="285750" indent="-179705">
          <a:buFont typeface="Arial" panose="020B0604020202090204" pitchFamily="34" charset="0"/>
          <a:buChar char="•"/>
          <a:defRPr sz="1800" b="1" dirty="0" smtClean="0"/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个人工作总结</Template>
  <TotalTime>0</TotalTime>
  <Words>12902</Words>
  <Application>WPS 文字</Application>
  <PresentationFormat>宽屏</PresentationFormat>
  <Paragraphs>2741</Paragraphs>
  <Slides>54</Slides>
  <Notes>53</Notes>
  <HiddenSlides>0</HiddenSlides>
  <MMClips>0</MMClips>
  <ScaleCrop>false</ScaleCrop>
  <HeadingPairs>
    <vt:vector size="8" baseType="variant">
      <vt:variant>
        <vt:lpstr>已用的字体</vt:lpstr>
      </vt:variant>
      <vt:variant>
        <vt:i4>34</vt:i4>
      </vt:variant>
      <vt:variant>
        <vt:lpstr>主题</vt:lpstr>
      </vt:variant>
      <vt:variant>
        <vt:i4>7</vt:i4>
      </vt:variant>
      <vt:variant>
        <vt:lpstr>嵌入 OLE 服务器</vt:lpstr>
      </vt:variant>
      <vt:variant>
        <vt:i4>34</vt:i4>
      </vt:variant>
      <vt:variant>
        <vt:lpstr>幻灯片标题</vt:lpstr>
      </vt:variant>
      <vt:variant>
        <vt:i4>54</vt:i4>
      </vt:variant>
    </vt:vector>
  </HeadingPairs>
  <TitlesOfParts>
    <vt:vector size="129" baseType="lpstr">
      <vt:lpstr>Arial</vt:lpstr>
      <vt:lpstr>宋体</vt:lpstr>
      <vt:lpstr>Wingdings</vt:lpstr>
      <vt:lpstr>华文楷体</vt:lpstr>
      <vt:lpstr>微软雅黑</vt:lpstr>
      <vt:lpstr>Arial</vt:lpstr>
      <vt:lpstr>等线</vt:lpstr>
      <vt:lpstr>Trebuchet MS</vt:lpstr>
      <vt:lpstr>汉仪旗黑</vt:lpstr>
      <vt:lpstr>Arial Unicode MS</vt:lpstr>
      <vt:lpstr>Impact</vt:lpstr>
      <vt:lpstr>Calibri</vt:lpstr>
      <vt:lpstr>Helvetica Neue</vt:lpstr>
      <vt:lpstr>汉仪书宋二KW</vt:lpstr>
      <vt:lpstr>楷体</vt:lpstr>
      <vt:lpstr>汉仪楷体KW</vt:lpstr>
      <vt:lpstr>等线 Light</vt:lpstr>
      <vt:lpstr>汉仪中等线KW</vt:lpstr>
      <vt:lpstr>Noto Sans S Chinese Regular</vt:lpstr>
      <vt:lpstr>Times New Roman</vt:lpstr>
      <vt:lpstr>宋体</vt:lpstr>
      <vt:lpstr>黑体</vt:lpstr>
      <vt:lpstr>微软雅黑</vt:lpstr>
      <vt:lpstr>苹方-简</vt:lpstr>
      <vt:lpstr>汉仪中黑KW</vt:lpstr>
      <vt:lpstr>Noto Sans SC</vt:lpstr>
      <vt:lpstr>Noto Sans SC</vt:lpstr>
      <vt:lpstr>Noto Sans SC</vt:lpstr>
      <vt:lpstr>Noto Sans S Chinese Regular</vt:lpstr>
      <vt:lpstr>楷体</vt:lpstr>
      <vt:lpstr>等线</vt:lpstr>
      <vt:lpstr>等线 Light</vt:lpstr>
      <vt:lpstr>黑体</vt:lpstr>
      <vt:lpstr>汉仪君黑</vt:lpstr>
      <vt:lpstr>1_主题5</vt:lpstr>
      <vt:lpstr>中国平安</vt:lpstr>
      <vt:lpstr>5_主题5</vt:lpstr>
      <vt:lpstr>PingAn 16:9</vt:lpstr>
      <vt:lpstr>1_PingAn 16:9</vt:lpstr>
      <vt:lpstr>2_主题5</vt:lpstr>
      <vt:lpstr>3_主题5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Equation.KSEE3</vt:lpstr>
      <vt:lpstr>Equation.KSEE3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PAI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Windows 用户</dc:creator>
  <cp:lastModifiedBy>跳跃的灵魂.｡oOＯ〇</cp:lastModifiedBy>
  <cp:revision>791</cp:revision>
  <cp:lastPrinted>2024-08-27T15:52:06Z</cp:lastPrinted>
  <dcterms:created xsi:type="dcterms:W3CDTF">2024-08-27T15:52:06Z</dcterms:created>
  <dcterms:modified xsi:type="dcterms:W3CDTF">2024-08-27T15:52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5450602A51F345299916C74D70BC9264</vt:lpwstr>
  </property>
  <property fmtid="{D5CDD505-2E9C-101B-9397-08002B2CF9AE}" pid="3" name="KSOProductBuildVer">
    <vt:lpwstr>2052-6.5.2.8766</vt:lpwstr>
  </property>
</Properties>
</file>